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2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2.xml" ContentType="application/vnd.openxmlformats-officedocument.presentationml.notesSlide+xml"/>
  <Override PartName="/ppt/tags/tag72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</p:sldMasterIdLst>
  <p:notesMasterIdLst>
    <p:notesMasterId r:id="rId11"/>
  </p:notesMasterIdLst>
  <p:sldIdLst>
    <p:sldId id="277" r:id="rId5"/>
    <p:sldId id="2147483644" r:id="rId6"/>
    <p:sldId id="2147481027" r:id="rId7"/>
    <p:sldId id="279" r:id="rId8"/>
    <p:sldId id="274" r:id="rId9"/>
    <p:sldId id="267" r:id="rId10"/>
  </p:sldIdLst>
  <p:sldSz cx="12192000" cy="6858000"/>
  <p:notesSz cx="6858000" cy="9144000"/>
  <p:embeddedFontLst>
    <p:embeddedFont>
      <p:font typeface="Avenir Next LT Pro" panose="020B0504020202020204" pitchFamily="34" charset="0"/>
      <p:regular r:id="rId12"/>
      <p:bold r:id="rId13"/>
      <p:italic r:id="rId14"/>
      <p:boldItalic r:id="rId15"/>
    </p:embeddedFont>
    <p:embeddedFont>
      <p:font typeface="Inter" panose="020B0604020202020204" charset="0"/>
      <p:regular r:id="rId16"/>
      <p:bold r:id="rId17"/>
      <p:italic r:id="rId18"/>
      <p:boldItalic r:id="rId19"/>
    </p:embeddedFont>
    <p:embeddedFont>
      <p:font typeface="Inter Italic" panose="020B0604020202020204" charset="0"/>
      <p:bold r:id="rId20"/>
      <p:italic r:id="rId21"/>
      <p:boldItalic r:id="rId22"/>
    </p:embeddedFont>
    <p:embeddedFont>
      <p:font typeface="Oscine" panose="020B0604020202020204" charset="0"/>
      <p:bold r:id="rId23"/>
    </p:embeddedFont>
    <p:embeddedFont>
      <p:font typeface="Oscine Trial" panose="020B0604020202020204" charset="0"/>
      <p:regular r:id="rId24"/>
      <p:bold r:id="rId25"/>
      <p:italic r:id="rId26"/>
      <p:boldItalic r:id="rId27"/>
    </p:embeddedFont>
    <p:embeddedFont>
      <p:font typeface="Poppins" panose="00000500000000000000" pitchFamily="2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2D6685-D13D-49C9-8156-F49D33D9E44A}">
          <p14:sldIdLst>
            <p14:sldId id="277"/>
            <p14:sldId id="2147483644"/>
            <p14:sldId id="2147481027"/>
            <p14:sldId id="279"/>
            <p14:sldId id="274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DD4C210-0E92-FA31-0A7E-A164AC7AB60A}" name="Mar Soro" initials="MS" userId="S::mar.soro@bupa.com::8167898a-3b3a-44a3-8161-0f89eef1415f" providerId="AD"/>
  <p188:author id="{27FCC037-AC2B-D77E-FB46-C55D359926C6}" name="Mar Soro" initials="MS" userId="S::mar.soro_bupa.com#ext#@rbcom.onmicrosoft.com::b4bedd43-5a6f-454f-8dcc-19cf4fa75c23" providerId="AD"/>
  <p188:author id="{B25DE23B-5941-6BCF-DD7D-C202FBB2076D}" name="Henry Dehe" initials="HD" userId="S::Henry.Dehe@modeeconomics.com::486ba08c-df1d-4b91-8f12-fb0e9c47d517" providerId="AD"/>
  <p188:author id="{E6971B55-B338-0E99-2AAE-A6A8154B19D4}" name="Adam, Marjorie /FR" initials="AM" userId="S::marjorie.adam_sanofi.com#ext#@rbcom.onmicrosoft.com::e3a50b60-6876-470f-9e41-20a8153f73db" providerId="AD"/>
  <p188:author id="{EF38D169-54EB-83CB-5496-CFFE1F37B0A8}" name="Karl Astbury" initials="KA" userId="S::kastbury_resilientcitiesnetwork.org#ext#@rbcom.onmicrosoft.com::5cbd9e3c-484d-4527-8a0a-1ad316a98c3e" providerId="AD"/>
  <p188:author id="{F4F7A3BA-AC60-A4F5-7497-FE0F18D914B7}" name="Alice Vandermosten" initials="AV" userId="S::Alice.Vandermosten@modeeconomics.com::1d3d0dbe-a5e7-4c72-b37a-14d85dcd0e65" providerId="AD"/>
  <p188:author id="{082A26E5-046A-AD6B-E96B-CFE30C9AB4A7}" name="Taylor Claire" initials="CT" userId="S::Claire.TAYLOR@ucb.com::0effe371-374a-452c-93f5-e2aa76f937f5" providerId="AD"/>
  <p188:author id="{1E19F1EC-C170-A793-3B6F-605FC9EA1A12}" name="Nelli Vanninen" initials="NV" userId="S::nelli.vanninen@modeeconomics.com::2ee5c8e3-3bc8-486b-bcc7-cd4bac57238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9793"/>
    <a:srgbClr val="96C2D5"/>
    <a:srgbClr val="E5E8F0"/>
    <a:srgbClr val="00217D"/>
    <a:srgbClr val="E6E9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FB08D8-54D5-4DCB-BB1A-FBD02D30DBC3}" v="4" dt="2026-03-27T16:18:07.1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60" y="14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font" Target="fonts/font15.fntdata"/><Relationship Id="rId21" Type="http://schemas.openxmlformats.org/officeDocument/2006/relationships/font" Target="fonts/font10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font" Target="fonts/font1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3.fntdata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font" Target="fonts/font17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8.fntdata"/><Relationship Id="rId31" Type="http://schemas.openxmlformats.org/officeDocument/2006/relationships/font" Target="fonts/font20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font" Target="fonts/font16.fntdata"/><Relationship Id="rId30" Type="http://schemas.openxmlformats.org/officeDocument/2006/relationships/font" Target="fonts/font19.fntdata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DDD5E-79FB-4FA9-A25E-E36091472463}" type="datetimeFigureOut">
              <a:rPr lang="en-GB" smtClean="0"/>
              <a:t>27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51B961-0924-4D7A-93A7-9EE67A6137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963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F7DFF-ABDA-3963-B69E-9379FCBE8B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DE52AE-B2CA-7379-45D6-239DB608C7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3B4506-3D0D-C139-066B-A3482688E9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1AA7CE-82C4-FB99-C331-447353323B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8E228-5A44-4608-8064-C80F8644E27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1361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ECBC7-8DD0-2C3E-087D-C1AFEBDDA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D66943-1A33-DA2F-C77D-526A5E2C2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6A045F-2E89-8461-478B-15BE8DF44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98BF0-E462-ABF7-FDBB-3E86CFFE06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2CEB0A-581B-384A-B6EB-4078B798169C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4683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11" Type="http://schemas.openxmlformats.org/officeDocument/2006/relationships/image" Target="../media/image9.svg"/><Relationship Id="rId5" Type="http://schemas.openxmlformats.org/officeDocument/2006/relationships/image" Target="../media/image3.svg"/><Relationship Id="rId10" Type="http://schemas.openxmlformats.org/officeDocument/2006/relationships/image" Target="../media/image8.svg"/><Relationship Id="rId4" Type="http://schemas.openxmlformats.org/officeDocument/2006/relationships/image" Target="../media/image2.emf"/><Relationship Id="rId9" Type="http://schemas.openxmlformats.org/officeDocument/2006/relationships/image" Target="../media/image7.svg"/><Relationship Id="rId14" Type="http://schemas.openxmlformats.org/officeDocument/2006/relationships/image" Target="../media/image12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19.svg"/><Relationship Id="rId3" Type="http://schemas.openxmlformats.org/officeDocument/2006/relationships/image" Target="../media/image13.svg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5.svg"/><Relationship Id="rId11" Type="http://schemas.openxmlformats.org/officeDocument/2006/relationships/image" Target="../media/image17.svg"/><Relationship Id="rId5" Type="http://schemas.openxmlformats.org/officeDocument/2006/relationships/image" Target="../media/image14.svg"/><Relationship Id="rId10" Type="http://schemas.openxmlformats.org/officeDocument/2006/relationships/image" Target="../media/image7.svg"/><Relationship Id="rId4" Type="http://schemas.openxmlformats.org/officeDocument/2006/relationships/image" Target="../media/image3.svg"/><Relationship Id="rId9" Type="http://schemas.openxmlformats.org/officeDocument/2006/relationships/image" Target="../media/image16.svg"/><Relationship Id="rId14" Type="http://schemas.openxmlformats.org/officeDocument/2006/relationships/image" Target="../media/image20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svg"/><Relationship Id="rId12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11" Type="http://schemas.openxmlformats.org/officeDocument/2006/relationships/image" Target="../media/image7.svg"/><Relationship Id="rId5" Type="http://schemas.openxmlformats.org/officeDocument/2006/relationships/image" Target="../media/image3.svg"/><Relationship Id="rId10" Type="http://schemas.openxmlformats.org/officeDocument/2006/relationships/image" Target="../media/image11.svg"/><Relationship Id="rId4" Type="http://schemas.openxmlformats.org/officeDocument/2006/relationships/image" Target="../media/image2.emf"/><Relationship Id="rId9" Type="http://schemas.openxmlformats.org/officeDocument/2006/relationships/image" Target="../media/image10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2.emf"/><Relationship Id="rId3" Type="http://schemas.openxmlformats.org/officeDocument/2006/relationships/image" Target="../media/image16.svg"/><Relationship Id="rId7" Type="http://schemas.openxmlformats.org/officeDocument/2006/relationships/image" Target="../media/image19.svg"/><Relationship Id="rId12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8.svg"/><Relationship Id="rId11" Type="http://schemas.openxmlformats.org/officeDocument/2006/relationships/image" Target="../media/image15.svg"/><Relationship Id="rId5" Type="http://schemas.openxmlformats.org/officeDocument/2006/relationships/image" Target="../media/image17.svg"/><Relationship Id="rId10" Type="http://schemas.openxmlformats.org/officeDocument/2006/relationships/image" Target="../media/image14.svg"/><Relationship Id="rId4" Type="http://schemas.openxmlformats.org/officeDocument/2006/relationships/image" Target="../media/image7.svg"/><Relationship Id="rId9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23.svg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21.svg"/><Relationship Id="rId5" Type="http://schemas.openxmlformats.org/officeDocument/2006/relationships/image" Target="../media/image24.svg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23.svg"/><Relationship Id="rId5" Type="http://schemas.openxmlformats.org/officeDocument/2006/relationships/image" Target="../media/image25.sv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26.svg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svg"/><Relationship Id="rId12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svg"/><Relationship Id="rId11" Type="http://schemas.openxmlformats.org/officeDocument/2006/relationships/image" Target="../media/image7.svg"/><Relationship Id="rId5" Type="http://schemas.openxmlformats.org/officeDocument/2006/relationships/image" Target="../media/image3.svg"/><Relationship Id="rId10" Type="http://schemas.openxmlformats.org/officeDocument/2006/relationships/image" Target="../media/image11.svg"/><Relationship Id="rId4" Type="http://schemas.openxmlformats.org/officeDocument/2006/relationships/image" Target="../media/image2.emf"/><Relationship Id="rId9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14.sv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4.sv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4.sv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15.svg"/><Relationship Id="rId4" Type="http://schemas.openxmlformats.org/officeDocument/2006/relationships/image" Target="../media/image14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.emf"/><Relationship Id="rId9" Type="http://schemas.openxmlformats.org/officeDocument/2006/relationships/image" Target="../media/image31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15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7.svg"/><Relationship Id="rId12" Type="http://schemas.openxmlformats.org/officeDocument/2006/relationships/image" Target="../media/image1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svg"/><Relationship Id="rId11" Type="http://schemas.openxmlformats.org/officeDocument/2006/relationships/image" Target="../media/image3.svg"/><Relationship Id="rId5" Type="http://schemas.openxmlformats.org/officeDocument/2006/relationships/image" Target="../media/image16.sv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9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13">
            <a:extLst>
              <a:ext uri="{FF2B5EF4-FFF2-40B4-BE49-F238E27FC236}">
                <a16:creationId xmlns:a16="http://schemas.microsoft.com/office/drawing/2014/main" id="{5BD3AC9C-FB08-A6E0-0799-E8F6CAAF3463}"/>
              </a:ext>
            </a:extLst>
          </p:cNvPr>
          <p:cNvSpPr/>
          <p:nvPr/>
        </p:nvSpPr>
        <p:spPr>
          <a:xfrm>
            <a:off x="-27265" y="3429000"/>
            <a:ext cx="2411269" cy="3424593"/>
          </a:xfrm>
          <a:custGeom>
            <a:avLst/>
            <a:gdLst>
              <a:gd name="connsiteX0" fmla="*/ 4519015 w 4519015"/>
              <a:gd name="connsiteY0" fmla="*/ 3424593 h 3424592"/>
              <a:gd name="connsiteX1" fmla="*/ 3592440 w 4519015"/>
              <a:gd name="connsiteY1" fmla="*/ 3424593 h 3424592"/>
              <a:gd name="connsiteX2" fmla="*/ 3592440 w 4519015"/>
              <a:gd name="connsiteY2" fmla="*/ 1660795 h 3424592"/>
              <a:gd name="connsiteX3" fmla="*/ 2856628 w 4519015"/>
              <a:gd name="connsiteY3" fmla="*/ 925835 h 3424592"/>
              <a:gd name="connsiteX4" fmla="*/ 0 w 4519015"/>
              <a:gd name="connsiteY4" fmla="*/ 925835 h 3424592"/>
              <a:gd name="connsiteX5" fmla="*/ 0 w 4519015"/>
              <a:gd name="connsiteY5" fmla="*/ 0 h 3424592"/>
              <a:gd name="connsiteX6" fmla="*/ 2859735 w 4519015"/>
              <a:gd name="connsiteY6" fmla="*/ 0 h 3424592"/>
              <a:gd name="connsiteX7" fmla="*/ 4518949 w 4519015"/>
              <a:gd name="connsiteY7" fmla="*/ 1660795 h 3424592"/>
              <a:gd name="connsiteX8" fmla="*/ 4518949 w 4519015"/>
              <a:gd name="connsiteY8" fmla="*/ 3424593 h 3424592"/>
              <a:gd name="connsiteX0" fmla="*/ 4519015 w 4519015"/>
              <a:gd name="connsiteY0" fmla="*/ 3424593 h 3424593"/>
              <a:gd name="connsiteX1" fmla="*/ 3592440 w 4519015"/>
              <a:gd name="connsiteY1" fmla="*/ 3424593 h 3424593"/>
              <a:gd name="connsiteX2" fmla="*/ 3592440 w 4519015"/>
              <a:gd name="connsiteY2" fmla="*/ 1660795 h 3424593"/>
              <a:gd name="connsiteX3" fmla="*/ 2856628 w 4519015"/>
              <a:gd name="connsiteY3" fmla="*/ 925835 h 3424593"/>
              <a:gd name="connsiteX4" fmla="*/ 0 w 4519015"/>
              <a:gd name="connsiteY4" fmla="*/ 925835 h 3424593"/>
              <a:gd name="connsiteX5" fmla="*/ 2090057 w 4519015"/>
              <a:gd name="connsiteY5" fmla="*/ 0 h 3424593"/>
              <a:gd name="connsiteX6" fmla="*/ 2859735 w 4519015"/>
              <a:gd name="connsiteY6" fmla="*/ 0 h 3424593"/>
              <a:gd name="connsiteX7" fmla="*/ 4518949 w 4519015"/>
              <a:gd name="connsiteY7" fmla="*/ 1660795 h 3424593"/>
              <a:gd name="connsiteX8" fmla="*/ 4518949 w 4519015"/>
              <a:gd name="connsiteY8" fmla="*/ 3424593 h 3424593"/>
              <a:gd name="connsiteX9" fmla="*/ 4519015 w 4519015"/>
              <a:gd name="connsiteY9" fmla="*/ 3424593 h 3424593"/>
              <a:gd name="connsiteX0" fmla="*/ 2428958 w 2428958"/>
              <a:gd name="connsiteY0" fmla="*/ 3424593 h 3424593"/>
              <a:gd name="connsiteX1" fmla="*/ 1502383 w 2428958"/>
              <a:gd name="connsiteY1" fmla="*/ 3424593 h 3424593"/>
              <a:gd name="connsiteX2" fmla="*/ 1502383 w 2428958"/>
              <a:gd name="connsiteY2" fmla="*/ 1660795 h 3424593"/>
              <a:gd name="connsiteX3" fmla="*/ 766571 w 2428958"/>
              <a:gd name="connsiteY3" fmla="*/ 925835 h 3424593"/>
              <a:gd name="connsiteX4" fmla="*/ 14514 w 2428958"/>
              <a:gd name="connsiteY4" fmla="*/ 918578 h 3424593"/>
              <a:gd name="connsiteX5" fmla="*/ 0 w 2428958"/>
              <a:gd name="connsiteY5" fmla="*/ 0 h 3424593"/>
              <a:gd name="connsiteX6" fmla="*/ 769678 w 2428958"/>
              <a:gd name="connsiteY6" fmla="*/ 0 h 3424593"/>
              <a:gd name="connsiteX7" fmla="*/ 2428892 w 2428958"/>
              <a:gd name="connsiteY7" fmla="*/ 1660795 h 3424593"/>
              <a:gd name="connsiteX8" fmla="*/ 2428892 w 2428958"/>
              <a:gd name="connsiteY8" fmla="*/ 3424593 h 3424593"/>
              <a:gd name="connsiteX9" fmla="*/ 2428958 w 2428958"/>
              <a:gd name="connsiteY9" fmla="*/ 3424593 h 3424593"/>
              <a:gd name="connsiteX0" fmla="*/ 2414444 w 2414444"/>
              <a:gd name="connsiteY0" fmla="*/ 3424593 h 3424593"/>
              <a:gd name="connsiteX1" fmla="*/ 1487869 w 2414444"/>
              <a:gd name="connsiteY1" fmla="*/ 3424593 h 3424593"/>
              <a:gd name="connsiteX2" fmla="*/ 1487869 w 2414444"/>
              <a:gd name="connsiteY2" fmla="*/ 1660795 h 3424593"/>
              <a:gd name="connsiteX3" fmla="*/ 752057 w 2414444"/>
              <a:gd name="connsiteY3" fmla="*/ 925835 h 3424593"/>
              <a:gd name="connsiteX4" fmla="*/ 0 w 2414444"/>
              <a:gd name="connsiteY4" fmla="*/ 918578 h 3424593"/>
              <a:gd name="connsiteX5" fmla="*/ 4536 w 2414444"/>
              <a:gd name="connsiteY5" fmla="*/ 0 h 3424593"/>
              <a:gd name="connsiteX6" fmla="*/ 755164 w 2414444"/>
              <a:gd name="connsiteY6" fmla="*/ 0 h 3424593"/>
              <a:gd name="connsiteX7" fmla="*/ 2414378 w 2414444"/>
              <a:gd name="connsiteY7" fmla="*/ 1660795 h 3424593"/>
              <a:gd name="connsiteX8" fmla="*/ 2414378 w 2414444"/>
              <a:gd name="connsiteY8" fmla="*/ 3424593 h 3424593"/>
              <a:gd name="connsiteX9" fmla="*/ 2414444 w 2414444"/>
              <a:gd name="connsiteY9" fmla="*/ 3424593 h 3424593"/>
              <a:gd name="connsiteX0" fmla="*/ 2411269 w 2411269"/>
              <a:gd name="connsiteY0" fmla="*/ 3424593 h 3424593"/>
              <a:gd name="connsiteX1" fmla="*/ 1484694 w 2411269"/>
              <a:gd name="connsiteY1" fmla="*/ 3424593 h 3424593"/>
              <a:gd name="connsiteX2" fmla="*/ 1484694 w 2411269"/>
              <a:gd name="connsiteY2" fmla="*/ 1660795 h 3424593"/>
              <a:gd name="connsiteX3" fmla="*/ 748882 w 2411269"/>
              <a:gd name="connsiteY3" fmla="*/ 925835 h 3424593"/>
              <a:gd name="connsiteX4" fmla="*/ 0 w 2411269"/>
              <a:gd name="connsiteY4" fmla="*/ 918578 h 3424593"/>
              <a:gd name="connsiteX5" fmla="*/ 1361 w 2411269"/>
              <a:gd name="connsiteY5" fmla="*/ 0 h 3424593"/>
              <a:gd name="connsiteX6" fmla="*/ 751989 w 2411269"/>
              <a:gd name="connsiteY6" fmla="*/ 0 h 3424593"/>
              <a:gd name="connsiteX7" fmla="*/ 2411203 w 2411269"/>
              <a:gd name="connsiteY7" fmla="*/ 1660795 h 3424593"/>
              <a:gd name="connsiteX8" fmla="*/ 2411203 w 2411269"/>
              <a:gd name="connsiteY8" fmla="*/ 3424593 h 3424593"/>
              <a:gd name="connsiteX9" fmla="*/ 2411269 w 2411269"/>
              <a:gd name="connsiteY9" fmla="*/ 3424593 h 342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11269" h="3424593">
                <a:moveTo>
                  <a:pt x="2411269" y="3424593"/>
                </a:moveTo>
                <a:lnTo>
                  <a:pt x="1484694" y="3424593"/>
                </a:lnTo>
                <a:lnTo>
                  <a:pt x="1484694" y="1660795"/>
                </a:lnTo>
                <a:cubicBezTo>
                  <a:pt x="1484694" y="1258232"/>
                  <a:pt x="1154610" y="928610"/>
                  <a:pt x="748882" y="925835"/>
                </a:cubicBezTo>
                <a:lnTo>
                  <a:pt x="0" y="918578"/>
                </a:lnTo>
                <a:cubicBezTo>
                  <a:pt x="454" y="612385"/>
                  <a:pt x="907" y="306193"/>
                  <a:pt x="1361" y="0"/>
                </a:cubicBezTo>
                <a:lnTo>
                  <a:pt x="751989" y="0"/>
                </a:lnTo>
                <a:cubicBezTo>
                  <a:pt x="1668316" y="6211"/>
                  <a:pt x="2411203" y="751213"/>
                  <a:pt x="2411203" y="1660795"/>
                </a:cubicBezTo>
                <a:lnTo>
                  <a:pt x="2411203" y="3424593"/>
                </a:lnTo>
                <a:lnTo>
                  <a:pt x="2411269" y="3424593"/>
                </a:lnTo>
                <a:close/>
              </a:path>
            </a:pathLst>
          </a:custGeom>
          <a:solidFill>
            <a:schemeClr val="accent3"/>
          </a:solidFill>
          <a:ln w="66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Graphic 12">
            <a:extLst>
              <a:ext uri="{FF2B5EF4-FFF2-40B4-BE49-F238E27FC236}">
                <a16:creationId xmlns:a16="http://schemas.microsoft.com/office/drawing/2014/main" id="{C231D64E-E7E5-7B2F-3388-EA53B0264519}"/>
              </a:ext>
            </a:extLst>
          </p:cNvPr>
          <p:cNvSpPr/>
          <p:nvPr/>
        </p:nvSpPr>
        <p:spPr>
          <a:xfrm>
            <a:off x="2426" y="260350"/>
            <a:ext cx="4880740" cy="6604431"/>
          </a:xfrm>
          <a:custGeom>
            <a:avLst/>
            <a:gdLst>
              <a:gd name="connsiteX0" fmla="*/ 8005575 w 8005574"/>
              <a:gd name="connsiteY0" fmla="*/ 6066771 h 6066770"/>
              <a:gd name="connsiteX1" fmla="*/ 6364118 w 8005574"/>
              <a:gd name="connsiteY1" fmla="*/ 6066771 h 6066770"/>
              <a:gd name="connsiteX2" fmla="*/ 6364118 w 8005574"/>
              <a:gd name="connsiteY2" fmla="*/ 2942149 h 6066770"/>
              <a:gd name="connsiteX3" fmla="*/ 5060604 w 8005574"/>
              <a:gd name="connsiteY3" fmla="*/ 1640145 h 6066770"/>
              <a:gd name="connsiteX4" fmla="*/ 0 w 8005574"/>
              <a:gd name="connsiteY4" fmla="*/ 1640145 h 6066770"/>
              <a:gd name="connsiteX5" fmla="*/ 0 w 8005574"/>
              <a:gd name="connsiteY5" fmla="*/ 0 h 6066770"/>
              <a:gd name="connsiteX6" fmla="*/ 5066109 w 8005574"/>
              <a:gd name="connsiteY6" fmla="*/ 0 h 6066770"/>
              <a:gd name="connsiteX7" fmla="*/ 8005458 w 8005574"/>
              <a:gd name="connsiteY7" fmla="*/ 2942149 h 6066770"/>
              <a:gd name="connsiteX8" fmla="*/ 8005458 w 8005574"/>
              <a:gd name="connsiteY8" fmla="*/ 6066771 h 6066770"/>
              <a:gd name="connsiteX0" fmla="*/ 8005575 w 8005575"/>
              <a:gd name="connsiteY0" fmla="*/ 6066771 h 6066771"/>
              <a:gd name="connsiteX1" fmla="*/ 6364118 w 8005575"/>
              <a:gd name="connsiteY1" fmla="*/ 6066771 h 6066771"/>
              <a:gd name="connsiteX2" fmla="*/ 6364118 w 8005575"/>
              <a:gd name="connsiteY2" fmla="*/ 2942149 h 6066771"/>
              <a:gd name="connsiteX3" fmla="*/ 5060604 w 8005575"/>
              <a:gd name="connsiteY3" fmla="*/ 1640145 h 6066771"/>
              <a:gd name="connsiteX4" fmla="*/ 0 w 8005575"/>
              <a:gd name="connsiteY4" fmla="*/ 1640145 h 6066771"/>
              <a:gd name="connsiteX5" fmla="*/ 3108960 w 8005575"/>
              <a:gd name="connsiteY5" fmla="*/ 0 h 6066771"/>
              <a:gd name="connsiteX6" fmla="*/ 5066109 w 8005575"/>
              <a:gd name="connsiteY6" fmla="*/ 0 h 6066771"/>
              <a:gd name="connsiteX7" fmla="*/ 8005458 w 8005575"/>
              <a:gd name="connsiteY7" fmla="*/ 2942149 h 6066771"/>
              <a:gd name="connsiteX8" fmla="*/ 8005458 w 8005575"/>
              <a:gd name="connsiteY8" fmla="*/ 6066771 h 6066771"/>
              <a:gd name="connsiteX9" fmla="*/ 8005575 w 800557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677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042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1905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80740 w 4880740"/>
              <a:gd name="connsiteY0" fmla="*/ 6057246 h 6066771"/>
              <a:gd name="connsiteX1" fmla="*/ 3236108 w 4880740"/>
              <a:gd name="connsiteY1" fmla="*/ 6060421 h 6066771"/>
              <a:gd name="connsiteX2" fmla="*/ 3236108 w 4880740"/>
              <a:gd name="connsiteY2" fmla="*/ 2942149 h 6066771"/>
              <a:gd name="connsiteX3" fmla="*/ 1932594 w 4880740"/>
              <a:gd name="connsiteY3" fmla="*/ 1640145 h 6066771"/>
              <a:gd name="connsiteX4" fmla="*/ 0 w 4880740"/>
              <a:gd name="connsiteY4" fmla="*/ 1640145 h 6066771"/>
              <a:gd name="connsiteX5" fmla="*/ 0 w 4880740"/>
              <a:gd name="connsiteY5" fmla="*/ 0 h 6066771"/>
              <a:gd name="connsiteX6" fmla="*/ 1938099 w 4880740"/>
              <a:gd name="connsiteY6" fmla="*/ 0 h 6066771"/>
              <a:gd name="connsiteX7" fmla="*/ 4877448 w 4880740"/>
              <a:gd name="connsiteY7" fmla="*/ 2942149 h 6066771"/>
              <a:gd name="connsiteX8" fmla="*/ 4877448 w 4880740"/>
              <a:gd name="connsiteY8" fmla="*/ 6066771 h 6066771"/>
              <a:gd name="connsiteX9" fmla="*/ 4880740 w 4880740"/>
              <a:gd name="connsiteY9" fmla="*/ 6057246 h 6066771"/>
              <a:gd name="connsiteX0" fmla="*/ 4880740 w 4880740"/>
              <a:gd name="connsiteY0" fmla="*/ 605724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057246 h 6604431"/>
              <a:gd name="connsiteX0" fmla="*/ 4880740 w 4880740"/>
              <a:gd name="connsiteY0" fmla="*/ 660125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601256 h 66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80740" h="6604431">
                <a:moveTo>
                  <a:pt x="4880740" y="6601256"/>
                </a:moveTo>
                <a:lnTo>
                  <a:pt x="3236108" y="6604431"/>
                </a:lnTo>
                <a:lnTo>
                  <a:pt x="3236108" y="2942149"/>
                </a:lnTo>
                <a:cubicBezTo>
                  <a:pt x="3236108" y="2228997"/>
                  <a:pt x="2651354" y="1645061"/>
                  <a:pt x="1932594" y="1640145"/>
                </a:cubicBezTo>
                <a:lnTo>
                  <a:pt x="0" y="1640145"/>
                </a:lnTo>
                <a:lnTo>
                  <a:pt x="0" y="0"/>
                </a:lnTo>
                <a:lnTo>
                  <a:pt x="1938099" y="0"/>
                </a:lnTo>
                <a:cubicBezTo>
                  <a:pt x="3561401" y="11002"/>
                  <a:pt x="4877448" y="1330797"/>
                  <a:pt x="4877448" y="2942149"/>
                </a:cubicBezTo>
                <a:lnTo>
                  <a:pt x="4877448" y="6066771"/>
                </a:lnTo>
                <a:cubicBezTo>
                  <a:pt x="4878545" y="6244933"/>
                  <a:pt x="4879643" y="6423094"/>
                  <a:pt x="4880740" y="6601256"/>
                </a:cubicBezTo>
                <a:close/>
              </a:path>
            </a:pathLst>
          </a:custGeom>
          <a:solidFill>
            <a:srgbClr val="630BA8"/>
          </a:solidFill>
          <a:ln w="117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058173-E383-7A26-F1A4-83E104E6AA1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7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058173-E383-7A26-F1A4-83E104E6A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21500" y="2319604"/>
            <a:ext cx="4765676" cy="2146126"/>
          </a:xfrm>
        </p:spPr>
        <p:txBody>
          <a:bodyPr vert="horz" anchor="ctr"/>
          <a:lstStyle>
            <a:lvl1pPr algn="l" rtl="0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E588CE3-C114-1F17-5294-7F8B1B16C5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21500" y="4635355"/>
            <a:ext cx="4765675" cy="50400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Inter Italic" panose="02000503000000020004" pitchFamily="2" charset="0"/>
                <a:ea typeface="Inter Italic" panose="02000503000000020004" pitchFamily="2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6C4C33-B4BC-9E99-C5BA-78831DB79E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21500" y="5437199"/>
            <a:ext cx="1907381" cy="157966"/>
          </a:xfrm>
          <a:effectLst/>
        </p:spPr>
        <p:txBody>
          <a:bodyPr vert="horz" wrap="square" anchor="t">
            <a:noAutofit/>
          </a:bodyPr>
          <a:lstStyle>
            <a:lvl1pPr marL="0" indent="0" algn="l" rtl="0">
              <a:lnSpc>
                <a:spcPct val="100000"/>
              </a:lnSpc>
              <a:buFont typeface="Arial" panose="020B0604020202020204" pitchFamily="34" charset="0"/>
              <a:buChar char="​"/>
              <a:defRPr sz="900" b="0" i="1" u="none" strike="noStrike">
                <a:solidFill>
                  <a:schemeClr val="bg1">
                    <a:lumMod val="100000"/>
                  </a:schemeClr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2pPr>
            <a:lvl3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3pPr>
            <a:lvl4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4pPr>
            <a:lvl5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5pPr>
            <a:lvl6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6pPr>
            <a:lvl7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7pPr>
            <a:lvl8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8pPr>
            <a:lvl9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9pPr>
          </a:lstStyle>
          <a:p>
            <a:pPr lvl="0"/>
            <a:r>
              <a:rPr lang="en-GB"/>
              <a:t>Click to add Name and Sur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4ED17-DCDF-EC9D-C57C-5BADF23A2EE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6921500" y="5195841"/>
            <a:ext cx="1907381" cy="180000"/>
          </a:xfrm>
        </p:spPr>
        <p:txBody>
          <a:bodyPr lIns="0" tIns="0" rIns="0" bIns="0"/>
          <a:lstStyle>
            <a:lvl1pPr algn="l" rtl="0">
              <a:defRPr sz="900" b="1" i="1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123F54-0327-7398-4E80-7C70DA55E1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6832" y="800100"/>
            <a:ext cx="5776548" cy="5786438"/>
          </a:xfrm>
          <a:custGeom>
            <a:avLst/>
            <a:gdLst>
              <a:gd name="connsiteX0" fmla="*/ 2663134 w 5776548"/>
              <a:gd name="connsiteY0" fmla="*/ 0 h 5786438"/>
              <a:gd name="connsiteX1" fmla="*/ 2663196 w 5776548"/>
              <a:gd name="connsiteY1" fmla="*/ 0 h 5786438"/>
              <a:gd name="connsiteX2" fmla="*/ 2764633 w 5776548"/>
              <a:gd name="connsiteY2" fmla="*/ 2137 h 5786438"/>
              <a:gd name="connsiteX3" fmla="*/ 2764633 w 5776548"/>
              <a:gd name="connsiteY3" fmla="*/ 0 h 5786438"/>
              <a:gd name="connsiteX4" fmla="*/ 2764800 w 5776548"/>
              <a:gd name="connsiteY4" fmla="*/ 0 h 5786438"/>
              <a:gd name="connsiteX5" fmla="*/ 3121212 w 5776548"/>
              <a:gd name="connsiteY5" fmla="*/ 2030 h 5786438"/>
              <a:gd name="connsiteX6" fmla="*/ 4046324 w 5776548"/>
              <a:gd name="connsiteY6" fmla="*/ 927288 h 5786438"/>
              <a:gd name="connsiteX7" fmla="*/ 4045040 w 5776548"/>
              <a:gd name="connsiteY7" fmla="*/ 1743598 h 5786438"/>
              <a:gd name="connsiteX8" fmla="*/ 4848117 w 5776548"/>
              <a:gd name="connsiteY8" fmla="*/ 1742315 h 5786438"/>
              <a:gd name="connsiteX9" fmla="*/ 5774514 w 5776548"/>
              <a:gd name="connsiteY9" fmla="*/ 2666290 h 5786438"/>
              <a:gd name="connsiteX10" fmla="*/ 5776548 w 5776548"/>
              <a:gd name="connsiteY10" fmla="*/ 3022429 h 5786438"/>
              <a:gd name="connsiteX11" fmla="*/ 5776441 w 5776548"/>
              <a:gd name="connsiteY11" fmla="*/ 3022429 h 5786438"/>
              <a:gd name="connsiteX12" fmla="*/ 5774300 w 5776548"/>
              <a:gd name="connsiteY12" fmla="*/ 3022429 h 5786438"/>
              <a:gd name="connsiteX13" fmla="*/ 5776441 w 5776548"/>
              <a:gd name="connsiteY13" fmla="*/ 3123787 h 5786438"/>
              <a:gd name="connsiteX14" fmla="*/ 4851329 w 5776548"/>
              <a:gd name="connsiteY14" fmla="*/ 4049044 h 5786438"/>
              <a:gd name="connsiteX15" fmla="*/ 4044932 w 5776548"/>
              <a:gd name="connsiteY15" fmla="*/ 4050327 h 5786438"/>
              <a:gd name="connsiteX16" fmla="*/ 4046217 w 5776548"/>
              <a:gd name="connsiteY16" fmla="*/ 4866958 h 5786438"/>
              <a:gd name="connsiteX17" fmla="*/ 3306428 w 5776548"/>
              <a:gd name="connsiteY17" fmla="*/ 5773165 h 5786438"/>
              <a:gd name="connsiteX18" fmla="*/ 3220683 w 5776548"/>
              <a:gd name="connsiteY18" fmla="*/ 5786438 h 5786438"/>
              <a:gd name="connsiteX19" fmla="*/ 2552196 w 5776548"/>
              <a:gd name="connsiteY19" fmla="*/ 5786438 h 5786438"/>
              <a:gd name="connsiteX20" fmla="*/ 2476634 w 5776548"/>
              <a:gd name="connsiteY20" fmla="*/ 5774564 h 5786438"/>
              <a:gd name="connsiteX21" fmla="*/ 1736647 w 5776548"/>
              <a:gd name="connsiteY21" fmla="*/ 4870272 h 5786438"/>
              <a:gd name="connsiteX22" fmla="*/ 1735362 w 5776548"/>
              <a:gd name="connsiteY22" fmla="*/ 4050327 h 5786438"/>
              <a:gd name="connsiteX23" fmla="*/ 925113 w 5776548"/>
              <a:gd name="connsiteY23" fmla="*/ 4049044 h 5786438"/>
              <a:gd name="connsiteX24" fmla="*/ 0 w 5776548"/>
              <a:gd name="connsiteY24" fmla="*/ 3123787 h 5786438"/>
              <a:gd name="connsiteX25" fmla="*/ 2141 w 5776548"/>
              <a:gd name="connsiteY25" fmla="*/ 3022429 h 5786438"/>
              <a:gd name="connsiteX26" fmla="*/ 0 w 5776548"/>
              <a:gd name="connsiteY26" fmla="*/ 3022429 h 5786438"/>
              <a:gd name="connsiteX27" fmla="*/ 2034 w 5776548"/>
              <a:gd name="connsiteY27" fmla="*/ 2666290 h 5786438"/>
              <a:gd name="connsiteX28" fmla="*/ 928538 w 5776548"/>
              <a:gd name="connsiteY28" fmla="*/ 1742422 h 5786438"/>
              <a:gd name="connsiteX29" fmla="*/ 1735469 w 5776548"/>
              <a:gd name="connsiteY29" fmla="*/ 1743705 h 5786438"/>
              <a:gd name="connsiteX30" fmla="*/ 1736754 w 5776548"/>
              <a:gd name="connsiteY30" fmla="*/ 923974 h 5786438"/>
              <a:gd name="connsiteX31" fmla="*/ 2568573 w 5776548"/>
              <a:gd name="connsiteY31" fmla="*/ 5249 h 5786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776548" h="5786438">
                <a:moveTo>
                  <a:pt x="2663134" y="0"/>
                </a:moveTo>
                <a:lnTo>
                  <a:pt x="2663196" y="0"/>
                </a:lnTo>
                <a:lnTo>
                  <a:pt x="2764633" y="2137"/>
                </a:lnTo>
                <a:lnTo>
                  <a:pt x="2764633" y="0"/>
                </a:lnTo>
                <a:lnTo>
                  <a:pt x="2764800" y="0"/>
                </a:lnTo>
                <a:lnTo>
                  <a:pt x="3121212" y="2030"/>
                </a:lnTo>
                <a:cubicBezTo>
                  <a:pt x="3628621" y="2779"/>
                  <a:pt x="4043648" y="417081"/>
                  <a:pt x="4046324" y="927288"/>
                </a:cubicBezTo>
                <a:lnTo>
                  <a:pt x="4045040" y="1743598"/>
                </a:lnTo>
                <a:lnTo>
                  <a:pt x="4848117" y="1742315"/>
                </a:lnTo>
                <a:cubicBezTo>
                  <a:pt x="5358845" y="1744988"/>
                  <a:pt x="5773765" y="2159504"/>
                  <a:pt x="5774514" y="2666290"/>
                </a:cubicBezTo>
                <a:lnTo>
                  <a:pt x="5776548" y="3022429"/>
                </a:lnTo>
                <a:lnTo>
                  <a:pt x="5776441" y="3022429"/>
                </a:lnTo>
                <a:lnTo>
                  <a:pt x="5774300" y="3022429"/>
                </a:lnTo>
                <a:lnTo>
                  <a:pt x="5776441" y="3123787"/>
                </a:lnTo>
                <a:cubicBezTo>
                  <a:pt x="5773765" y="3633886"/>
                  <a:pt x="5358738" y="4048296"/>
                  <a:pt x="4851329" y="4049044"/>
                </a:cubicBezTo>
                <a:lnTo>
                  <a:pt x="4044932" y="4050327"/>
                </a:lnTo>
                <a:lnTo>
                  <a:pt x="4046217" y="4866958"/>
                </a:lnTo>
                <a:cubicBezTo>
                  <a:pt x="4043876" y="5313296"/>
                  <a:pt x="3725828" y="5686370"/>
                  <a:pt x="3306428" y="5773165"/>
                </a:cubicBezTo>
                <a:lnTo>
                  <a:pt x="3220683" y="5786438"/>
                </a:lnTo>
                <a:lnTo>
                  <a:pt x="2552196" y="5786438"/>
                </a:lnTo>
                <a:lnTo>
                  <a:pt x="2476634" y="5774564"/>
                </a:lnTo>
                <a:cubicBezTo>
                  <a:pt x="2055058" y="5686504"/>
                  <a:pt x="1737303" y="5313710"/>
                  <a:pt x="1736647" y="4870272"/>
                </a:cubicBezTo>
                <a:lnTo>
                  <a:pt x="1735362" y="4050327"/>
                </a:lnTo>
                <a:lnTo>
                  <a:pt x="925113" y="4049044"/>
                </a:lnTo>
                <a:cubicBezTo>
                  <a:pt x="417703" y="4048296"/>
                  <a:pt x="2676" y="3633993"/>
                  <a:pt x="0" y="3123787"/>
                </a:cubicBezTo>
                <a:cubicBezTo>
                  <a:pt x="0" y="3123787"/>
                  <a:pt x="2141" y="3022429"/>
                  <a:pt x="2141" y="3022429"/>
                </a:cubicBezTo>
                <a:lnTo>
                  <a:pt x="0" y="3022429"/>
                </a:lnTo>
                <a:lnTo>
                  <a:pt x="2034" y="2666290"/>
                </a:lnTo>
                <a:cubicBezTo>
                  <a:pt x="2783" y="2159504"/>
                  <a:pt x="417596" y="1744988"/>
                  <a:pt x="928538" y="1742422"/>
                </a:cubicBezTo>
                <a:lnTo>
                  <a:pt x="1735469" y="1743705"/>
                </a:lnTo>
                <a:lnTo>
                  <a:pt x="1736754" y="923974"/>
                </a:lnTo>
                <a:cubicBezTo>
                  <a:pt x="1737457" y="448862"/>
                  <a:pt x="2102082" y="54847"/>
                  <a:pt x="2568573" y="5249"/>
                </a:cubicBezTo>
                <a:close/>
              </a:path>
            </a:pathLst>
          </a:custGeom>
          <a:solidFill>
            <a:srgbClr val="E5E8F0"/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B44AF53-28BF-6B36-994C-F7B8361906FA}"/>
              </a:ext>
            </a:extLst>
          </p:cNvPr>
          <p:cNvGrpSpPr/>
          <p:nvPr userDrawn="1"/>
        </p:nvGrpSpPr>
        <p:grpSpPr>
          <a:xfrm>
            <a:off x="6921500" y="242618"/>
            <a:ext cx="2532466" cy="1137708"/>
            <a:chOff x="1753986" y="2707575"/>
            <a:chExt cx="6648078" cy="2986643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6C11F77-B6DF-D000-A727-84FDD46A235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375500B5-77EB-1FC9-0B31-E3457127EF7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2D9D6482-7B34-8169-6AF1-BA865EB6FE8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18EB3E0-DA3E-6920-6409-17B9CBB4E073}"/>
              </a:ext>
            </a:extLst>
          </p:cNvPr>
          <p:cNvGrpSpPr/>
          <p:nvPr userDrawn="1"/>
        </p:nvGrpSpPr>
        <p:grpSpPr>
          <a:xfrm>
            <a:off x="10033000" y="808305"/>
            <a:ext cx="1655083" cy="599436"/>
            <a:chOff x="6456005" y="2022640"/>
            <a:chExt cx="2016068" cy="730177"/>
          </a:xfrm>
        </p:grpSpPr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7A2D8328-6B25-E55D-0D5A-35541016ED7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545981" y="2282647"/>
              <a:ext cx="926092" cy="47017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71DC441-9982-712D-CA88-A3E3B3CEE3C1}"/>
                </a:ext>
              </a:extLst>
            </p:cNvPr>
            <p:cNvSpPr txBox="1"/>
            <p:nvPr/>
          </p:nvSpPr>
          <p:spPr>
            <a:xfrm>
              <a:off x="6456042" y="2022640"/>
              <a:ext cx="968503" cy="1874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bg1"/>
                  </a:solidFill>
                  <a:latin typeface="Oscine Trial" panose="020B0506040202020204" pitchFamily="34" charset="0"/>
                  <a:cs typeface="Oscine Trial" panose="020B0506040202020204" pitchFamily="34" charset="0"/>
                </a:rPr>
                <a:t>Partnership of: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1F622FE-3707-6324-0359-892248FE7F97}"/>
                </a:ext>
              </a:extLst>
            </p:cNvPr>
            <p:cNvGrpSpPr/>
            <p:nvPr/>
          </p:nvGrpSpPr>
          <p:grpSpPr>
            <a:xfrm>
              <a:off x="6456005" y="2282607"/>
              <a:ext cx="858056" cy="467696"/>
              <a:chOff x="6456005" y="2282607"/>
              <a:chExt cx="858056" cy="467696"/>
            </a:xfrm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1B0518B-DF1E-2155-00C9-D3EC6774E495}"/>
                  </a:ext>
                </a:extLst>
              </p:cNvPr>
              <p:cNvSpPr/>
              <p:nvPr/>
            </p:nvSpPr>
            <p:spPr>
              <a:xfrm>
                <a:off x="6456005" y="2282607"/>
                <a:ext cx="462117" cy="467696"/>
              </a:xfrm>
              <a:custGeom>
                <a:avLst/>
                <a:gdLst>
                  <a:gd name="connsiteX0" fmla="*/ 253854 w 462117"/>
                  <a:gd name="connsiteY0" fmla="*/ 894 h 467696"/>
                  <a:gd name="connsiteX1" fmla="*/ 326147 w 462117"/>
                  <a:gd name="connsiteY1" fmla="*/ 20449 h 467696"/>
                  <a:gd name="connsiteX2" fmla="*/ 435695 w 462117"/>
                  <a:gd name="connsiteY2" fmla="*/ 125062 h 467696"/>
                  <a:gd name="connsiteX3" fmla="*/ 459863 w 462117"/>
                  <a:gd name="connsiteY3" fmla="*/ 201358 h 467696"/>
                  <a:gd name="connsiteX4" fmla="*/ 437384 w 462117"/>
                  <a:gd name="connsiteY4" fmla="*/ 338669 h 467696"/>
                  <a:gd name="connsiteX5" fmla="*/ 281927 w 462117"/>
                  <a:gd name="connsiteY5" fmla="*/ 461875 h 467696"/>
                  <a:gd name="connsiteX6" fmla="*/ 221243 w 462117"/>
                  <a:gd name="connsiteY6" fmla="*/ 467431 h 467696"/>
                  <a:gd name="connsiteX7" fmla="*/ 83833 w 462117"/>
                  <a:gd name="connsiteY7" fmla="*/ 413896 h 467696"/>
                  <a:gd name="connsiteX8" fmla="*/ 6685 w 462117"/>
                  <a:gd name="connsiteY8" fmla="*/ 289835 h 467696"/>
                  <a:gd name="connsiteX9" fmla="*/ 36 w 462117"/>
                  <a:gd name="connsiteY9" fmla="*/ 238544 h 467696"/>
                  <a:gd name="connsiteX10" fmla="*/ 43201 w 462117"/>
                  <a:gd name="connsiteY10" fmla="*/ 97600 h 467696"/>
                  <a:gd name="connsiteX11" fmla="*/ 174806 w 462117"/>
                  <a:gd name="connsiteY11" fmla="*/ 6771 h 467696"/>
                  <a:gd name="connsiteX12" fmla="*/ 214383 w 462117"/>
                  <a:gd name="connsiteY12" fmla="*/ 467 h 467696"/>
                  <a:gd name="connsiteX13" fmla="*/ 253959 w 462117"/>
                  <a:gd name="connsiteY13" fmla="*/ 894 h 467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117" h="467696">
                    <a:moveTo>
                      <a:pt x="253854" y="894"/>
                    </a:moveTo>
                    <a:cubicBezTo>
                      <a:pt x="279077" y="3352"/>
                      <a:pt x="303140" y="9763"/>
                      <a:pt x="326147" y="20449"/>
                    </a:cubicBezTo>
                    <a:cubicBezTo>
                      <a:pt x="374272" y="42782"/>
                      <a:pt x="410788" y="77831"/>
                      <a:pt x="435695" y="125062"/>
                    </a:cubicBezTo>
                    <a:cubicBezTo>
                      <a:pt x="448254" y="148998"/>
                      <a:pt x="456275" y="174430"/>
                      <a:pt x="459863" y="201358"/>
                    </a:cubicBezTo>
                    <a:cubicBezTo>
                      <a:pt x="466195" y="249443"/>
                      <a:pt x="459336" y="295498"/>
                      <a:pt x="437384" y="338669"/>
                    </a:cubicBezTo>
                    <a:cubicBezTo>
                      <a:pt x="404245" y="403638"/>
                      <a:pt x="352109" y="444671"/>
                      <a:pt x="281927" y="461875"/>
                    </a:cubicBezTo>
                    <a:cubicBezTo>
                      <a:pt x="261980" y="466790"/>
                      <a:pt x="241611" y="468393"/>
                      <a:pt x="221243" y="467431"/>
                    </a:cubicBezTo>
                    <a:cubicBezTo>
                      <a:pt x="169635" y="464867"/>
                      <a:pt x="123620" y="447342"/>
                      <a:pt x="83833" y="413896"/>
                    </a:cubicBezTo>
                    <a:cubicBezTo>
                      <a:pt x="44784" y="381091"/>
                      <a:pt x="19138" y="339630"/>
                      <a:pt x="6685" y="289835"/>
                    </a:cubicBezTo>
                    <a:cubicBezTo>
                      <a:pt x="2463" y="273059"/>
                      <a:pt x="352" y="255855"/>
                      <a:pt x="36" y="238544"/>
                    </a:cubicBezTo>
                    <a:cubicBezTo>
                      <a:pt x="-809" y="186825"/>
                      <a:pt x="13333" y="139594"/>
                      <a:pt x="43201" y="97600"/>
                    </a:cubicBezTo>
                    <a:cubicBezTo>
                      <a:pt x="76128" y="51224"/>
                      <a:pt x="120243" y="21090"/>
                      <a:pt x="174806" y="6771"/>
                    </a:cubicBezTo>
                    <a:cubicBezTo>
                      <a:pt x="187787" y="3352"/>
                      <a:pt x="200979" y="1322"/>
                      <a:pt x="214383" y="467"/>
                    </a:cubicBezTo>
                    <a:cubicBezTo>
                      <a:pt x="232007" y="-709"/>
                      <a:pt x="251321" y="681"/>
                      <a:pt x="253959" y="894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61135BAB-1126-97C4-F6E1-613BE4D4885E}"/>
                  </a:ext>
                </a:extLst>
              </p:cNvPr>
              <p:cNvSpPr/>
              <p:nvPr/>
            </p:nvSpPr>
            <p:spPr>
              <a:xfrm>
                <a:off x="6501000" y="2497322"/>
                <a:ext cx="43587" cy="46375"/>
              </a:xfrm>
              <a:custGeom>
                <a:avLst/>
                <a:gdLst>
                  <a:gd name="connsiteX0" fmla="*/ 27545 w 43587"/>
                  <a:gd name="connsiteY0" fmla="*/ 46269 h 46375"/>
                  <a:gd name="connsiteX1" fmla="*/ 18680 w 43587"/>
                  <a:gd name="connsiteY1" fmla="*/ 29920 h 46375"/>
                  <a:gd name="connsiteX2" fmla="*/ 14459 w 43587"/>
                  <a:gd name="connsiteY2" fmla="*/ 29920 h 46375"/>
                  <a:gd name="connsiteX3" fmla="*/ 14459 w 43587"/>
                  <a:gd name="connsiteY3" fmla="*/ 46269 h 46375"/>
                  <a:gd name="connsiteX4" fmla="*/ 0 w 43587"/>
                  <a:gd name="connsiteY4" fmla="*/ 46269 h 46375"/>
                  <a:gd name="connsiteX5" fmla="*/ 0 w 43587"/>
                  <a:gd name="connsiteY5" fmla="*/ 0 h 46375"/>
                  <a:gd name="connsiteX6" fmla="*/ 24696 w 43587"/>
                  <a:gd name="connsiteY6" fmla="*/ 0 h 46375"/>
                  <a:gd name="connsiteX7" fmla="*/ 28601 w 43587"/>
                  <a:gd name="connsiteY7" fmla="*/ 214 h 46375"/>
                  <a:gd name="connsiteX8" fmla="*/ 39682 w 43587"/>
                  <a:gd name="connsiteY8" fmla="*/ 6518 h 46375"/>
                  <a:gd name="connsiteX9" fmla="*/ 41793 w 43587"/>
                  <a:gd name="connsiteY9" fmla="*/ 14853 h 46375"/>
                  <a:gd name="connsiteX10" fmla="*/ 36410 w 43587"/>
                  <a:gd name="connsiteY10" fmla="*/ 25752 h 46375"/>
                  <a:gd name="connsiteX11" fmla="*/ 32400 w 43587"/>
                  <a:gd name="connsiteY11" fmla="*/ 27676 h 46375"/>
                  <a:gd name="connsiteX12" fmla="*/ 43587 w 43587"/>
                  <a:gd name="connsiteY12" fmla="*/ 46376 h 46375"/>
                  <a:gd name="connsiteX13" fmla="*/ 27440 w 43587"/>
                  <a:gd name="connsiteY13" fmla="*/ 46376 h 46375"/>
                  <a:gd name="connsiteX14" fmla="*/ 26595 w 43587"/>
                  <a:gd name="connsiteY14" fmla="*/ 11754 h 46375"/>
                  <a:gd name="connsiteX15" fmla="*/ 25223 w 43587"/>
                  <a:gd name="connsiteY15" fmla="*/ 10579 h 46375"/>
                  <a:gd name="connsiteX16" fmla="*/ 20369 w 43587"/>
                  <a:gd name="connsiteY16" fmla="*/ 9617 h 46375"/>
                  <a:gd name="connsiteX17" fmla="*/ 14459 w 43587"/>
                  <a:gd name="connsiteY17" fmla="*/ 9617 h 46375"/>
                  <a:gd name="connsiteX18" fmla="*/ 14459 w 43587"/>
                  <a:gd name="connsiteY18" fmla="*/ 20410 h 46375"/>
                  <a:gd name="connsiteX19" fmla="*/ 20474 w 43587"/>
                  <a:gd name="connsiteY19" fmla="*/ 20410 h 46375"/>
                  <a:gd name="connsiteX20" fmla="*/ 27123 w 43587"/>
                  <a:gd name="connsiteY20" fmla="*/ 17097 h 46375"/>
                  <a:gd name="connsiteX21" fmla="*/ 27440 w 43587"/>
                  <a:gd name="connsiteY21" fmla="*/ 15067 h 46375"/>
                  <a:gd name="connsiteX22" fmla="*/ 26490 w 43587"/>
                  <a:gd name="connsiteY22" fmla="*/ 11754 h 4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587" h="46375">
                    <a:moveTo>
                      <a:pt x="27545" y="46269"/>
                    </a:moveTo>
                    <a:lnTo>
                      <a:pt x="18680" y="29920"/>
                    </a:lnTo>
                    <a:lnTo>
                      <a:pt x="14459" y="29920"/>
                    </a:lnTo>
                    <a:lnTo>
                      <a:pt x="14459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24696" y="0"/>
                    </a:lnTo>
                    <a:cubicBezTo>
                      <a:pt x="25962" y="0"/>
                      <a:pt x="27334" y="0"/>
                      <a:pt x="28601" y="214"/>
                    </a:cubicBezTo>
                    <a:cubicBezTo>
                      <a:pt x="30606" y="427"/>
                      <a:pt x="36410" y="962"/>
                      <a:pt x="39682" y="6518"/>
                    </a:cubicBezTo>
                    <a:cubicBezTo>
                      <a:pt x="40421" y="7907"/>
                      <a:pt x="41793" y="10793"/>
                      <a:pt x="41793" y="14853"/>
                    </a:cubicBezTo>
                    <a:cubicBezTo>
                      <a:pt x="41793" y="19234"/>
                      <a:pt x="40104" y="23188"/>
                      <a:pt x="36410" y="25752"/>
                    </a:cubicBezTo>
                    <a:cubicBezTo>
                      <a:pt x="35461" y="26394"/>
                      <a:pt x="34616" y="26821"/>
                      <a:pt x="32400" y="27676"/>
                    </a:cubicBezTo>
                    <a:lnTo>
                      <a:pt x="43587" y="46376"/>
                    </a:lnTo>
                    <a:lnTo>
                      <a:pt x="27440" y="46376"/>
                    </a:lnTo>
                    <a:close/>
                    <a:moveTo>
                      <a:pt x="26595" y="11754"/>
                    </a:moveTo>
                    <a:cubicBezTo>
                      <a:pt x="26173" y="11113"/>
                      <a:pt x="25540" y="10686"/>
                      <a:pt x="25223" y="10579"/>
                    </a:cubicBezTo>
                    <a:cubicBezTo>
                      <a:pt x="23746" y="9724"/>
                      <a:pt x="22057" y="9617"/>
                      <a:pt x="20369" y="9617"/>
                    </a:cubicBezTo>
                    <a:lnTo>
                      <a:pt x="14459" y="9617"/>
                    </a:lnTo>
                    <a:lnTo>
                      <a:pt x="14459" y="20410"/>
                    </a:lnTo>
                    <a:lnTo>
                      <a:pt x="20474" y="20410"/>
                    </a:lnTo>
                    <a:cubicBezTo>
                      <a:pt x="23113" y="20410"/>
                      <a:pt x="26068" y="20089"/>
                      <a:pt x="27123" y="17097"/>
                    </a:cubicBezTo>
                    <a:cubicBezTo>
                      <a:pt x="27123" y="16883"/>
                      <a:pt x="27440" y="16029"/>
                      <a:pt x="27440" y="15067"/>
                    </a:cubicBezTo>
                    <a:cubicBezTo>
                      <a:pt x="27440" y="13998"/>
                      <a:pt x="27123" y="12716"/>
                      <a:pt x="26490" y="11754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84075A9B-AA92-93D7-B20C-F38CC8453CE5}"/>
                  </a:ext>
                </a:extLst>
              </p:cNvPr>
              <p:cNvSpPr/>
              <p:nvPr/>
            </p:nvSpPr>
            <p:spPr>
              <a:xfrm>
                <a:off x="6551658" y="2497322"/>
                <a:ext cx="38099" cy="46269"/>
              </a:xfrm>
              <a:custGeom>
                <a:avLst/>
                <a:gdLst>
                  <a:gd name="connsiteX0" fmla="*/ 0 w 38099"/>
                  <a:gd name="connsiteY0" fmla="*/ 46269 h 46269"/>
                  <a:gd name="connsiteX1" fmla="*/ 0 w 38099"/>
                  <a:gd name="connsiteY1" fmla="*/ 0 h 46269"/>
                  <a:gd name="connsiteX2" fmla="*/ 36199 w 38099"/>
                  <a:gd name="connsiteY2" fmla="*/ 0 h 46269"/>
                  <a:gd name="connsiteX3" fmla="*/ 36199 w 38099"/>
                  <a:gd name="connsiteY3" fmla="*/ 10151 h 46269"/>
                  <a:gd name="connsiteX4" fmla="*/ 14459 w 38099"/>
                  <a:gd name="connsiteY4" fmla="*/ 10151 h 46269"/>
                  <a:gd name="connsiteX5" fmla="*/ 14459 w 38099"/>
                  <a:gd name="connsiteY5" fmla="*/ 16990 h 46269"/>
                  <a:gd name="connsiteX6" fmla="*/ 34722 w 38099"/>
                  <a:gd name="connsiteY6" fmla="*/ 16990 h 46269"/>
                  <a:gd name="connsiteX7" fmla="*/ 34722 w 38099"/>
                  <a:gd name="connsiteY7" fmla="*/ 27035 h 46269"/>
                  <a:gd name="connsiteX8" fmla="*/ 14459 w 38099"/>
                  <a:gd name="connsiteY8" fmla="*/ 27035 h 46269"/>
                  <a:gd name="connsiteX9" fmla="*/ 14459 w 38099"/>
                  <a:gd name="connsiteY9" fmla="*/ 36224 h 46269"/>
                  <a:gd name="connsiteX10" fmla="*/ 38099 w 38099"/>
                  <a:gd name="connsiteY10" fmla="*/ 36224 h 46269"/>
                  <a:gd name="connsiteX11" fmla="*/ 38099 w 38099"/>
                  <a:gd name="connsiteY11" fmla="*/ 46269 h 46269"/>
                  <a:gd name="connsiteX12" fmla="*/ 0 w 38099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6199" y="0"/>
                    </a:lnTo>
                    <a:lnTo>
                      <a:pt x="36199" y="10151"/>
                    </a:lnTo>
                    <a:lnTo>
                      <a:pt x="14459" y="10151"/>
                    </a:lnTo>
                    <a:lnTo>
                      <a:pt x="14459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459" y="27035"/>
                    </a:lnTo>
                    <a:lnTo>
                      <a:pt x="14459" y="36224"/>
                    </a:lnTo>
                    <a:lnTo>
                      <a:pt x="38099" y="36224"/>
                    </a:lnTo>
                    <a:lnTo>
                      <a:pt x="3809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B03C58C8-75D2-495B-3539-E775DA43D74D}"/>
                  </a:ext>
                </a:extLst>
              </p:cNvPr>
              <p:cNvSpPr/>
              <p:nvPr/>
            </p:nvSpPr>
            <p:spPr>
              <a:xfrm>
                <a:off x="6595878" y="2495719"/>
                <a:ext cx="44959" cy="49261"/>
              </a:xfrm>
              <a:custGeom>
                <a:avLst/>
                <a:gdLst>
                  <a:gd name="connsiteX0" fmla="*/ 38838 w 44959"/>
                  <a:gd name="connsiteY0" fmla="*/ 44987 h 49261"/>
                  <a:gd name="connsiteX1" fmla="*/ 23324 w 44959"/>
                  <a:gd name="connsiteY1" fmla="*/ 49261 h 49261"/>
                  <a:gd name="connsiteX2" fmla="*/ 4855 w 44959"/>
                  <a:gd name="connsiteY2" fmla="*/ 44025 h 49261"/>
                  <a:gd name="connsiteX3" fmla="*/ 0 w 44959"/>
                  <a:gd name="connsiteY3" fmla="*/ 39003 h 49261"/>
                  <a:gd name="connsiteX4" fmla="*/ 11081 w 44959"/>
                  <a:gd name="connsiteY4" fmla="*/ 31843 h 49261"/>
                  <a:gd name="connsiteX5" fmla="*/ 13298 w 44959"/>
                  <a:gd name="connsiteY5" fmla="*/ 34622 h 49261"/>
                  <a:gd name="connsiteX6" fmla="*/ 23852 w 44959"/>
                  <a:gd name="connsiteY6" fmla="*/ 37934 h 49261"/>
                  <a:gd name="connsiteX7" fmla="*/ 30817 w 44959"/>
                  <a:gd name="connsiteY7" fmla="*/ 34408 h 49261"/>
                  <a:gd name="connsiteX8" fmla="*/ 30500 w 44959"/>
                  <a:gd name="connsiteY8" fmla="*/ 33339 h 49261"/>
                  <a:gd name="connsiteX9" fmla="*/ 28284 w 44959"/>
                  <a:gd name="connsiteY9" fmla="*/ 31630 h 49261"/>
                  <a:gd name="connsiteX10" fmla="*/ 19630 w 44959"/>
                  <a:gd name="connsiteY10" fmla="*/ 29813 h 49261"/>
                  <a:gd name="connsiteX11" fmla="*/ 7810 w 44959"/>
                  <a:gd name="connsiteY11" fmla="*/ 25005 h 49261"/>
                  <a:gd name="connsiteX12" fmla="*/ 3905 w 44959"/>
                  <a:gd name="connsiteY12" fmla="*/ 15601 h 49261"/>
                  <a:gd name="connsiteX13" fmla="*/ 5593 w 44959"/>
                  <a:gd name="connsiteY13" fmla="*/ 8549 h 49261"/>
                  <a:gd name="connsiteX14" fmla="*/ 24063 w 44959"/>
                  <a:gd name="connsiteY14" fmla="*/ 0 h 49261"/>
                  <a:gd name="connsiteX15" fmla="*/ 41160 w 44959"/>
                  <a:gd name="connsiteY15" fmla="*/ 5022 h 49261"/>
                  <a:gd name="connsiteX16" fmla="*/ 44642 w 44959"/>
                  <a:gd name="connsiteY16" fmla="*/ 8228 h 49261"/>
                  <a:gd name="connsiteX17" fmla="*/ 35566 w 44959"/>
                  <a:gd name="connsiteY17" fmla="*/ 15922 h 49261"/>
                  <a:gd name="connsiteX18" fmla="*/ 34300 w 44959"/>
                  <a:gd name="connsiteY18" fmla="*/ 14426 h 49261"/>
                  <a:gd name="connsiteX19" fmla="*/ 23640 w 44959"/>
                  <a:gd name="connsiteY19" fmla="*/ 11220 h 49261"/>
                  <a:gd name="connsiteX20" fmla="*/ 20158 w 44959"/>
                  <a:gd name="connsiteY20" fmla="*/ 11754 h 49261"/>
                  <a:gd name="connsiteX21" fmla="*/ 18364 w 44959"/>
                  <a:gd name="connsiteY21" fmla="*/ 14212 h 49261"/>
                  <a:gd name="connsiteX22" fmla="*/ 19524 w 44959"/>
                  <a:gd name="connsiteY22" fmla="*/ 16349 h 49261"/>
                  <a:gd name="connsiteX23" fmla="*/ 24590 w 44959"/>
                  <a:gd name="connsiteY23" fmla="*/ 17845 h 49261"/>
                  <a:gd name="connsiteX24" fmla="*/ 35038 w 44959"/>
                  <a:gd name="connsiteY24" fmla="*/ 20196 h 49261"/>
                  <a:gd name="connsiteX25" fmla="*/ 44959 w 44959"/>
                  <a:gd name="connsiteY25" fmla="*/ 32912 h 49261"/>
                  <a:gd name="connsiteX26" fmla="*/ 38943 w 44959"/>
                  <a:gd name="connsiteY26" fmla="*/ 44987 h 4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4959" h="49261">
                    <a:moveTo>
                      <a:pt x="38838" y="44987"/>
                    </a:moveTo>
                    <a:cubicBezTo>
                      <a:pt x="32928" y="49368"/>
                      <a:pt x="25224" y="49261"/>
                      <a:pt x="23324" y="49261"/>
                    </a:cubicBezTo>
                    <a:cubicBezTo>
                      <a:pt x="16675" y="49261"/>
                      <a:pt x="10343" y="48192"/>
                      <a:pt x="4855" y="44025"/>
                    </a:cubicBezTo>
                    <a:cubicBezTo>
                      <a:pt x="2744" y="42422"/>
                      <a:pt x="1583" y="41033"/>
                      <a:pt x="0" y="39003"/>
                    </a:cubicBezTo>
                    <a:lnTo>
                      <a:pt x="11081" y="31843"/>
                    </a:lnTo>
                    <a:cubicBezTo>
                      <a:pt x="12031" y="33446"/>
                      <a:pt x="12665" y="34087"/>
                      <a:pt x="13298" y="34622"/>
                    </a:cubicBezTo>
                    <a:cubicBezTo>
                      <a:pt x="15831" y="36866"/>
                      <a:pt x="20685" y="37934"/>
                      <a:pt x="23852" y="37934"/>
                    </a:cubicBezTo>
                    <a:cubicBezTo>
                      <a:pt x="27967" y="37934"/>
                      <a:pt x="30817" y="36652"/>
                      <a:pt x="30817" y="34408"/>
                    </a:cubicBezTo>
                    <a:cubicBezTo>
                      <a:pt x="30817" y="33874"/>
                      <a:pt x="30606" y="33446"/>
                      <a:pt x="30500" y="33339"/>
                    </a:cubicBezTo>
                    <a:cubicBezTo>
                      <a:pt x="30184" y="32698"/>
                      <a:pt x="29656" y="32057"/>
                      <a:pt x="28284" y="31630"/>
                    </a:cubicBezTo>
                    <a:cubicBezTo>
                      <a:pt x="26701" y="31095"/>
                      <a:pt x="23746" y="30668"/>
                      <a:pt x="19630" y="29813"/>
                    </a:cubicBezTo>
                    <a:cubicBezTo>
                      <a:pt x="13403" y="28531"/>
                      <a:pt x="10026" y="27035"/>
                      <a:pt x="7810" y="25005"/>
                    </a:cubicBezTo>
                    <a:cubicBezTo>
                      <a:pt x="6438" y="23722"/>
                      <a:pt x="3799" y="20730"/>
                      <a:pt x="3905" y="15601"/>
                    </a:cubicBezTo>
                    <a:cubicBezTo>
                      <a:pt x="3905" y="14319"/>
                      <a:pt x="3905" y="11541"/>
                      <a:pt x="5593" y="8549"/>
                    </a:cubicBezTo>
                    <a:cubicBezTo>
                      <a:pt x="10237" y="-107"/>
                      <a:pt x="22374" y="0"/>
                      <a:pt x="24063" y="0"/>
                    </a:cubicBezTo>
                    <a:cubicBezTo>
                      <a:pt x="26384" y="0"/>
                      <a:pt x="34616" y="107"/>
                      <a:pt x="41160" y="5022"/>
                    </a:cubicBezTo>
                    <a:cubicBezTo>
                      <a:pt x="42637" y="6091"/>
                      <a:pt x="43376" y="6946"/>
                      <a:pt x="44642" y="8228"/>
                    </a:cubicBezTo>
                    <a:lnTo>
                      <a:pt x="35566" y="15922"/>
                    </a:lnTo>
                    <a:cubicBezTo>
                      <a:pt x="34933" y="15174"/>
                      <a:pt x="34616" y="14746"/>
                      <a:pt x="34300" y="14426"/>
                    </a:cubicBezTo>
                    <a:cubicBezTo>
                      <a:pt x="31661" y="11968"/>
                      <a:pt x="27018" y="11220"/>
                      <a:pt x="23640" y="11220"/>
                    </a:cubicBezTo>
                    <a:cubicBezTo>
                      <a:pt x="23324" y="11220"/>
                      <a:pt x="21530" y="11220"/>
                      <a:pt x="20158" y="11754"/>
                    </a:cubicBezTo>
                    <a:cubicBezTo>
                      <a:pt x="19947" y="11861"/>
                      <a:pt x="18364" y="12609"/>
                      <a:pt x="18364" y="14212"/>
                    </a:cubicBezTo>
                    <a:cubicBezTo>
                      <a:pt x="18364" y="15067"/>
                      <a:pt x="18891" y="15815"/>
                      <a:pt x="19524" y="16349"/>
                    </a:cubicBezTo>
                    <a:cubicBezTo>
                      <a:pt x="20685" y="17097"/>
                      <a:pt x="23429" y="17631"/>
                      <a:pt x="24590" y="17845"/>
                    </a:cubicBezTo>
                    <a:cubicBezTo>
                      <a:pt x="26173" y="18059"/>
                      <a:pt x="30500" y="18700"/>
                      <a:pt x="35038" y="20196"/>
                    </a:cubicBezTo>
                    <a:cubicBezTo>
                      <a:pt x="37888" y="21158"/>
                      <a:pt x="44959" y="23615"/>
                      <a:pt x="44959" y="32912"/>
                    </a:cubicBezTo>
                    <a:cubicBezTo>
                      <a:pt x="44959" y="39751"/>
                      <a:pt x="40949" y="43491"/>
                      <a:pt x="38943" y="44987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A72FB75F-CF2F-CAC5-C4EB-8CD6C2AF09BC}"/>
                  </a:ext>
                </a:extLst>
              </p:cNvPr>
              <p:cNvSpPr/>
              <p:nvPr/>
            </p:nvSpPr>
            <p:spPr>
              <a:xfrm>
                <a:off x="6650335" y="2497322"/>
                <a:ext cx="14458" cy="46269"/>
              </a:xfrm>
              <a:custGeom>
                <a:avLst/>
                <a:gdLst>
                  <a:gd name="connsiteX0" fmla="*/ 0 w 14458"/>
                  <a:gd name="connsiteY0" fmla="*/ 0 h 46269"/>
                  <a:gd name="connsiteX1" fmla="*/ 14459 w 14458"/>
                  <a:gd name="connsiteY1" fmla="*/ 0 h 46269"/>
                  <a:gd name="connsiteX2" fmla="*/ 14459 w 14458"/>
                  <a:gd name="connsiteY2" fmla="*/ 46269 h 46269"/>
                  <a:gd name="connsiteX3" fmla="*/ 0 w 14458"/>
                  <a:gd name="connsiteY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269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9C464380-F142-4F17-C747-24BDC11B0FFB}"/>
                  </a:ext>
                </a:extLst>
              </p:cNvPr>
              <p:cNvSpPr/>
              <p:nvPr/>
            </p:nvSpPr>
            <p:spPr>
              <a:xfrm>
                <a:off x="6675453" y="2497322"/>
                <a:ext cx="32083" cy="46269"/>
              </a:xfrm>
              <a:custGeom>
                <a:avLst/>
                <a:gdLst>
                  <a:gd name="connsiteX0" fmla="*/ 0 w 32083"/>
                  <a:gd name="connsiteY0" fmla="*/ 46269 h 46269"/>
                  <a:gd name="connsiteX1" fmla="*/ 0 w 32083"/>
                  <a:gd name="connsiteY1" fmla="*/ 0 h 46269"/>
                  <a:gd name="connsiteX2" fmla="*/ 14353 w 32083"/>
                  <a:gd name="connsiteY2" fmla="*/ 0 h 46269"/>
                  <a:gd name="connsiteX3" fmla="*/ 14353 w 32083"/>
                  <a:gd name="connsiteY3" fmla="*/ 34622 h 46269"/>
                  <a:gd name="connsiteX4" fmla="*/ 32083 w 32083"/>
                  <a:gd name="connsiteY4" fmla="*/ 34622 h 46269"/>
                  <a:gd name="connsiteX5" fmla="*/ 32083 w 32083"/>
                  <a:gd name="connsiteY5" fmla="*/ 46269 h 46269"/>
                  <a:gd name="connsiteX6" fmla="*/ 0 w 32083"/>
                  <a:gd name="connsiteY6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083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14353" y="0"/>
                    </a:lnTo>
                    <a:lnTo>
                      <a:pt x="14353" y="34622"/>
                    </a:lnTo>
                    <a:lnTo>
                      <a:pt x="32083" y="34622"/>
                    </a:lnTo>
                    <a:lnTo>
                      <a:pt x="32083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CE963E7D-144E-20BD-9A25-F27F5956DF20}"/>
                  </a:ext>
                </a:extLst>
              </p:cNvPr>
              <p:cNvSpPr/>
              <p:nvPr/>
            </p:nvSpPr>
            <p:spPr>
              <a:xfrm>
                <a:off x="6715347" y="2497322"/>
                <a:ext cx="14458" cy="46269"/>
              </a:xfrm>
              <a:custGeom>
                <a:avLst/>
                <a:gdLst>
                  <a:gd name="connsiteX0" fmla="*/ 0 w 14458"/>
                  <a:gd name="connsiteY0" fmla="*/ 0 h 46269"/>
                  <a:gd name="connsiteX1" fmla="*/ 14459 w 14458"/>
                  <a:gd name="connsiteY1" fmla="*/ 0 h 46269"/>
                  <a:gd name="connsiteX2" fmla="*/ 14459 w 14458"/>
                  <a:gd name="connsiteY2" fmla="*/ 46269 h 46269"/>
                  <a:gd name="connsiteX3" fmla="*/ 0 w 14458"/>
                  <a:gd name="connsiteY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269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E86767A7-F858-33E8-C658-A6C74CB3112C}"/>
                  </a:ext>
                </a:extLst>
              </p:cNvPr>
              <p:cNvSpPr/>
              <p:nvPr/>
            </p:nvSpPr>
            <p:spPr>
              <a:xfrm>
                <a:off x="6740464" y="2497322"/>
                <a:ext cx="38099" cy="46269"/>
              </a:xfrm>
              <a:custGeom>
                <a:avLst/>
                <a:gdLst>
                  <a:gd name="connsiteX0" fmla="*/ 0 w 38099"/>
                  <a:gd name="connsiteY0" fmla="*/ 46269 h 46269"/>
                  <a:gd name="connsiteX1" fmla="*/ 0 w 38099"/>
                  <a:gd name="connsiteY1" fmla="*/ 0 h 46269"/>
                  <a:gd name="connsiteX2" fmla="*/ 36094 w 38099"/>
                  <a:gd name="connsiteY2" fmla="*/ 0 h 46269"/>
                  <a:gd name="connsiteX3" fmla="*/ 36094 w 38099"/>
                  <a:gd name="connsiteY3" fmla="*/ 10151 h 46269"/>
                  <a:gd name="connsiteX4" fmla="*/ 14459 w 38099"/>
                  <a:gd name="connsiteY4" fmla="*/ 10151 h 46269"/>
                  <a:gd name="connsiteX5" fmla="*/ 14459 w 38099"/>
                  <a:gd name="connsiteY5" fmla="*/ 16990 h 46269"/>
                  <a:gd name="connsiteX6" fmla="*/ 34722 w 38099"/>
                  <a:gd name="connsiteY6" fmla="*/ 16990 h 46269"/>
                  <a:gd name="connsiteX7" fmla="*/ 34722 w 38099"/>
                  <a:gd name="connsiteY7" fmla="*/ 27035 h 46269"/>
                  <a:gd name="connsiteX8" fmla="*/ 14353 w 38099"/>
                  <a:gd name="connsiteY8" fmla="*/ 27035 h 46269"/>
                  <a:gd name="connsiteX9" fmla="*/ 14353 w 38099"/>
                  <a:gd name="connsiteY9" fmla="*/ 36224 h 46269"/>
                  <a:gd name="connsiteX10" fmla="*/ 38099 w 38099"/>
                  <a:gd name="connsiteY10" fmla="*/ 36224 h 46269"/>
                  <a:gd name="connsiteX11" fmla="*/ 38099 w 38099"/>
                  <a:gd name="connsiteY11" fmla="*/ 46269 h 46269"/>
                  <a:gd name="connsiteX12" fmla="*/ 0 w 38099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6094" y="0"/>
                    </a:lnTo>
                    <a:lnTo>
                      <a:pt x="36094" y="10151"/>
                    </a:lnTo>
                    <a:lnTo>
                      <a:pt x="14459" y="10151"/>
                    </a:lnTo>
                    <a:lnTo>
                      <a:pt x="14459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353" y="27035"/>
                    </a:lnTo>
                    <a:lnTo>
                      <a:pt x="14353" y="36224"/>
                    </a:lnTo>
                    <a:lnTo>
                      <a:pt x="38099" y="36224"/>
                    </a:lnTo>
                    <a:lnTo>
                      <a:pt x="3809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5B816250-1DD9-7EDF-D5FC-97E9177CDBAC}"/>
                  </a:ext>
                </a:extLst>
              </p:cNvPr>
              <p:cNvSpPr/>
              <p:nvPr/>
            </p:nvSpPr>
            <p:spPr>
              <a:xfrm>
                <a:off x="6787112" y="2497322"/>
                <a:ext cx="44114" cy="46269"/>
              </a:xfrm>
              <a:custGeom>
                <a:avLst/>
                <a:gdLst>
                  <a:gd name="connsiteX0" fmla="*/ 28495 w 44114"/>
                  <a:gd name="connsiteY0" fmla="*/ 46269 h 46269"/>
                  <a:gd name="connsiteX1" fmla="*/ 13298 w 44114"/>
                  <a:gd name="connsiteY1" fmla="*/ 19341 h 46269"/>
                  <a:gd name="connsiteX2" fmla="*/ 13403 w 44114"/>
                  <a:gd name="connsiteY2" fmla="*/ 46269 h 46269"/>
                  <a:gd name="connsiteX3" fmla="*/ 0 w 44114"/>
                  <a:gd name="connsiteY3" fmla="*/ 46269 h 46269"/>
                  <a:gd name="connsiteX4" fmla="*/ 0 w 44114"/>
                  <a:gd name="connsiteY4" fmla="*/ 0 h 46269"/>
                  <a:gd name="connsiteX5" fmla="*/ 15303 w 44114"/>
                  <a:gd name="connsiteY5" fmla="*/ 0 h 46269"/>
                  <a:gd name="connsiteX6" fmla="*/ 30711 w 44114"/>
                  <a:gd name="connsiteY6" fmla="*/ 26928 h 46269"/>
                  <a:gd name="connsiteX7" fmla="*/ 30606 w 44114"/>
                  <a:gd name="connsiteY7" fmla="*/ 0 h 46269"/>
                  <a:gd name="connsiteX8" fmla="*/ 44115 w 44114"/>
                  <a:gd name="connsiteY8" fmla="*/ 0 h 46269"/>
                  <a:gd name="connsiteX9" fmla="*/ 44115 w 44114"/>
                  <a:gd name="connsiteY9" fmla="*/ 46269 h 46269"/>
                  <a:gd name="connsiteX10" fmla="*/ 28495 w 44114"/>
                  <a:gd name="connsiteY10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114" h="46269">
                    <a:moveTo>
                      <a:pt x="28495" y="46269"/>
                    </a:moveTo>
                    <a:lnTo>
                      <a:pt x="13298" y="19341"/>
                    </a:lnTo>
                    <a:lnTo>
                      <a:pt x="13403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5303" y="0"/>
                    </a:lnTo>
                    <a:lnTo>
                      <a:pt x="30711" y="26928"/>
                    </a:lnTo>
                    <a:lnTo>
                      <a:pt x="30606" y="0"/>
                    </a:lnTo>
                    <a:lnTo>
                      <a:pt x="44115" y="0"/>
                    </a:lnTo>
                    <a:lnTo>
                      <a:pt x="44115" y="46269"/>
                    </a:lnTo>
                    <a:lnTo>
                      <a:pt x="28495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CE9FCB3-164E-DCEF-FBC7-644AA1D1F78C}"/>
                  </a:ext>
                </a:extLst>
              </p:cNvPr>
              <p:cNvSpPr/>
              <p:nvPr/>
            </p:nvSpPr>
            <p:spPr>
              <a:xfrm>
                <a:off x="6838826" y="2497322"/>
                <a:ext cx="37676" cy="46269"/>
              </a:xfrm>
              <a:custGeom>
                <a:avLst/>
                <a:gdLst>
                  <a:gd name="connsiteX0" fmla="*/ 26068 w 37676"/>
                  <a:gd name="connsiteY0" fmla="*/ 11434 h 46269"/>
                  <a:gd name="connsiteX1" fmla="*/ 26068 w 37676"/>
                  <a:gd name="connsiteY1" fmla="*/ 46269 h 46269"/>
                  <a:gd name="connsiteX2" fmla="*/ 11609 w 37676"/>
                  <a:gd name="connsiteY2" fmla="*/ 46269 h 46269"/>
                  <a:gd name="connsiteX3" fmla="*/ 11609 w 37676"/>
                  <a:gd name="connsiteY3" fmla="*/ 11434 h 46269"/>
                  <a:gd name="connsiteX4" fmla="*/ 0 w 37676"/>
                  <a:gd name="connsiteY4" fmla="*/ 11434 h 46269"/>
                  <a:gd name="connsiteX5" fmla="*/ 0 w 37676"/>
                  <a:gd name="connsiteY5" fmla="*/ 0 h 46269"/>
                  <a:gd name="connsiteX6" fmla="*/ 37677 w 37676"/>
                  <a:gd name="connsiteY6" fmla="*/ 0 h 46269"/>
                  <a:gd name="connsiteX7" fmla="*/ 37677 w 37676"/>
                  <a:gd name="connsiteY7" fmla="*/ 11434 h 46269"/>
                  <a:gd name="connsiteX8" fmla="*/ 26068 w 37676"/>
                  <a:gd name="connsiteY8" fmla="*/ 11434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76" h="46269">
                    <a:moveTo>
                      <a:pt x="26068" y="11434"/>
                    </a:moveTo>
                    <a:lnTo>
                      <a:pt x="26068" y="46269"/>
                    </a:lnTo>
                    <a:lnTo>
                      <a:pt x="11609" y="46269"/>
                    </a:lnTo>
                    <a:lnTo>
                      <a:pt x="11609" y="11434"/>
                    </a:lnTo>
                    <a:lnTo>
                      <a:pt x="0" y="11434"/>
                    </a:lnTo>
                    <a:lnTo>
                      <a:pt x="0" y="0"/>
                    </a:lnTo>
                    <a:lnTo>
                      <a:pt x="37677" y="0"/>
                    </a:lnTo>
                    <a:lnTo>
                      <a:pt x="37677" y="11434"/>
                    </a:lnTo>
                    <a:lnTo>
                      <a:pt x="26068" y="11434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8F7784B2-D919-771E-AFA5-560644F0E250}"/>
                  </a:ext>
                </a:extLst>
              </p:cNvPr>
              <p:cNvSpPr/>
              <p:nvPr/>
            </p:nvSpPr>
            <p:spPr>
              <a:xfrm>
                <a:off x="6962727" y="2495826"/>
                <a:ext cx="45803" cy="49367"/>
              </a:xfrm>
              <a:custGeom>
                <a:avLst/>
                <a:gdLst>
                  <a:gd name="connsiteX0" fmla="*/ 42321 w 45803"/>
                  <a:gd name="connsiteY0" fmla="*/ 41460 h 49367"/>
                  <a:gd name="connsiteX1" fmla="*/ 23640 w 45803"/>
                  <a:gd name="connsiteY1" fmla="*/ 49368 h 49367"/>
                  <a:gd name="connsiteX2" fmla="*/ 8232 w 45803"/>
                  <a:gd name="connsiteY2" fmla="*/ 44025 h 49367"/>
                  <a:gd name="connsiteX3" fmla="*/ 0 w 45803"/>
                  <a:gd name="connsiteY3" fmla="*/ 25004 h 49367"/>
                  <a:gd name="connsiteX4" fmla="*/ 4749 w 45803"/>
                  <a:gd name="connsiteY4" fmla="*/ 9617 h 49367"/>
                  <a:gd name="connsiteX5" fmla="*/ 23746 w 45803"/>
                  <a:gd name="connsiteY5" fmla="*/ 0 h 49367"/>
                  <a:gd name="connsiteX6" fmla="*/ 42848 w 45803"/>
                  <a:gd name="connsiteY6" fmla="*/ 8442 h 49367"/>
                  <a:gd name="connsiteX7" fmla="*/ 45803 w 45803"/>
                  <a:gd name="connsiteY7" fmla="*/ 12930 h 49367"/>
                  <a:gd name="connsiteX8" fmla="*/ 33667 w 45803"/>
                  <a:gd name="connsiteY8" fmla="*/ 19021 h 49367"/>
                  <a:gd name="connsiteX9" fmla="*/ 33033 w 45803"/>
                  <a:gd name="connsiteY9" fmla="*/ 17631 h 49367"/>
                  <a:gd name="connsiteX10" fmla="*/ 24168 w 45803"/>
                  <a:gd name="connsiteY10" fmla="*/ 11327 h 49367"/>
                  <a:gd name="connsiteX11" fmla="*/ 18891 w 45803"/>
                  <a:gd name="connsiteY11" fmla="*/ 12930 h 49367"/>
                  <a:gd name="connsiteX12" fmla="*/ 14564 w 45803"/>
                  <a:gd name="connsiteY12" fmla="*/ 24150 h 49367"/>
                  <a:gd name="connsiteX13" fmla="*/ 18786 w 45803"/>
                  <a:gd name="connsiteY13" fmla="*/ 35690 h 49367"/>
                  <a:gd name="connsiteX14" fmla="*/ 24168 w 45803"/>
                  <a:gd name="connsiteY14" fmla="*/ 37507 h 49367"/>
                  <a:gd name="connsiteX15" fmla="*/ 32400 w 45803"/>
                  <a:gd name="connsiteY15" fmla="*/ 32591 h 49367"/>
                  <a:gd name="connsiteX16" fmla="*/ 33455 w 45803"/>
                  <a:gd name="connsiteY16" fmla="*/ 29920 h 49367"/>
                  <a:gd name="connsiteX17" fmla="*/ 45803 w 45803"/>
                  <a:gd name="connsiteY17" fmla="*/ 35904 h 49367"/>
                  <a:gd name="connsiteX18" fmla="*/ 42215 w 45803"/>
                  <a:gd name="connsiteY18" fmla="*/ 41354 h 4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803" h="49367">
                    <a:moveTo>
                      <a:pt x="42321" y="41460"/>
                    </a:moveTo>
                    <a:cubicBezTo>
                      <a:pt x="39577" y="44559"/>
                      <a:pt x="33772" y="49368"/>
                      <a:pt x="23640" y="49368"/>
                    </a:cubicBezTo>
                    <a:cubicBezTo>
                      <a:pt x="17836" y="49368"/>
                      <a:pt x="12665" y="47979"/>
                      <a:pt x="8232" y="44025"/>
                    </a:cubicBezTo>
                    <a:cubicBezTo>
                      <a:pt x="633" y="37507"/>
                      <a:pt x="0" y="28317"/>
                      <a:pt x="0" y="25004"/>
                    </a:cubicBezTo>
                    <a:cubicBezTo>
                      <a:pt x="0" y="22226"/>
                      <a:pt x="317" y="15815"/>
                      <a:pt x="4749" y="9617"/>
                    </a:cubicBezTo>
                    <a:cubicBezTo>
                      <a:pt x="10976" y="641"/>
                      <a:pt x="19736" y="0"/>
                      <a:pt x="23746" y="0"/>
                    </a:cubicBezTo>
                    <a:cubicBezTo>
                      <a:pt x="34194" y="0"/>
                      <a:pt x="40315" y="5450"/>
                      <a:pt x="42848" y="8442"/>
                    </a:cubicBezTo>
                    <a:cubicBezTo>
                      <a:pt x="44220" y="10045"/>
                      <a:pt x="44854" y="11113"/>
                      <a:pt x="45803" y="12930"/>
                    </a:cubicBezTo>
                    <a:lnTo>
                      <a:pt x="33667" y="19021"/>
                    </a:lnTo>
                    <a:cubicBezTo>
                      <a:pt x="33667" y="19021"/>
                      <a:pt x="33244" y="18059"/>
                      <a:pt x="33033" y="17631"/>
                    </a:cubicBezTo>
                    <a:cubicBezTo>
                      <a:pt x="32295" y="16029"/>
                      <a:pt x="29973" y="11327"/>
                      <a:pt x="24168" y="11327"/>
                    </a:cubicBezTo>
                    <a:cubicBezTo>
                      <a:pt x="21530" y="11327"/>
                      <a:pt x="19841" y="12289"/>
                      <a:pt x="18891" y="12930"/>
                    </a:cubicBezTo>
                    <a:cubicBezTo>
                      <a:pt x="14353" y="16349"/>
                      <a:pt x="14564" y="22974"/>
                      <a:pt x="14564" y="24150"/>
                    </a:cubicBezTo>
                    <a:cubicBezTo>
                      <a:pt x="14564" y="30454"/>
                      <a:pt x="16569" y="33874"/>
                      <a:pt x="18786" y="35690"/>
                    </a:cubicBezTo>
                    <a:cubicBezTo>
                      <a:pt x="21002" y="37507"/>
                      <a:pt x="23113" y="37507"/>
                      <a:pt x="24168" y="37507"/>
                    </a:cubicBezTo>
                    <a:cubicBezTo>
                      <a:pt x="29128" y="37507"/>
                      <a:pt x="31450" y="34087"/>
                      <a:pt x="32400" y="32591"/>
                    </a:cubicBezTo>
                    <a:cubicBezTo>
                      <a:pt x="32717" y="31950"/>
                      <a:pt x="32928" y="31309"/>
                      <a:pt x="33455" y="29920"/>
                    </a:cubicBezTo>
                    <a:lnTo>
                      <a:pt x="45803" y="35904"/>
                    </a:lnTo>
                    <a:cubicBezTo>
                      <a:pt x="44220" y="38896"/>
                      <a:pt x="43376" y="40071"/>
                      <a:pt x="42215" y="41354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0CCA2FA3-1EC5-2A49-D945-59F77C2B93F3}"/>
                  </a:ext>
                </a:extLst>
              </p:cNvPr>
              <p:cNvSpPr/>
              <p:nvPr/>
            </p:nvSpPr>
            <p:spPr>
              <a:xfrm>
                <a:off x="7016973" y="2497536"/>
                <a:ext cx="14458" cy="46162"/>
              </a:xfrm>
              <a:custGeom>
                <a:avLst/>
                <a:gdLst>
                  <a:gd name="connsiteX0" fmla="*/ 0 w 14458"/>
                  <a:gd name="connsiteY0" fmla="*/ 0 h 46162"/>
                  <a:gd name="connsiteX1" fmla="*/ 14459 w 14458"/>
                  <a:gd name="connsiteY1" fmla="*/ 0 h 46162"/>
                  <a:gd name="connsiteX2" fmla="*/ 14459 w 14458"/>
                  <a:gd name="connsiteY2" fmla="*/ 46162 h 46162"/>
                  <a:gd name="connsiteX3" fmla="*/ 0 w 1445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162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3124E624-98BB-132D-EFB9-956991DE795D}"/>
                  </a:ext>
                </a:extLst>
              </p:cNvPr>
              <p:cNvSpPr/>
              <p:nvPr/>
            </p:nvSpPr>
            <p:spPr>
              <a:xfrm>
                <a:off x="7039136" y="2497536"/>
                <a:ext cx="37676" cy="46162"/>
              </a:xfrm>
              <a:custGeom>
                <a:avLst/>
                <a:gdLst>
                  <a:gd name="connsiteX0" fmla="*/ 26068 w 37676"/>
                  <a:gd name="connsiteY0" fmla="*/ 11327 h 46162"/>
                  <a:gd name="connsiteX1" fmla="*/ 26068 w 37676"/>
                  <a:gd name="connsiteY1" fmla="*/ 46162 h 46162"/>
                  <a:gd name="connsiteX2" fmla="*/ 11715 w 37676"/>
                  <a:gd name="connsiteY2" fmla="*/ 46162 h 46162"/>
                  <a:gd name="connsiteX3" fmla="*/ 11715 w 37676"/>
                  <a:gd name="connsiteY3" fmla="*/ 11327 h 46162"/>
                  <a:gd name="connsiteX4" fmla="*/ 0 w 37676"/>
                  <a:gd name="connsiteY4" fmla="*/ 11327 h 46162"/>
                  <a:gd name="connsiteX5" fmla="*/ 0 w 37676"/>
                  <a:gd name="connsiteY5" fmla="*/ 0 h 46162"/>
                  <a:gd name="connsiteX6" fmla="*/ 37677 w 37676"/>
                  <a:gd name="connsiteY6" fmla="*/ 0 h 46162"/>
                  <a:gd name="connsiteX7" fmla="*/ 37677 w 37676"/>
                  <a:gd name="connsiteY7" fmla="*/ 11327 h 46162"/>
                  <a:gd name="connsiteX8" fmla="*/ 26068 w 37676"/>
                  <a:gd name="connsiteY8" fmla="*/ 11327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76" h="46162">
                    <a:moveTo>
                      <a:pt x="26068" y="11327"/>
                    </a:moveTo>
                    <a:lnTo>
                      <a:pt x="26068" y="46162"/>
                    </a:lnTo>
                    <a:lnTo>
                      <a:pt x="11715" y="46162"/>
                    </a:lnTo>
                    <a:lnTo>
                      <a:pt x="11715" y="11327"/>
                    </a:lnTo>
                    <a:lnTo>
                      <a:pt x="0" y="11327"/>
                    </a:lnTo>
                    <a:lnTo>
                      <a:pt x="0" y="0"/>
                    </a:lnTo>
                    <a:lnTo>
                      <a:pt x="37677" y="0"/>
                    </a:lnTo>
                    <a:lnTo>
                      <a:pt x="37677" y="11327"/>
                    </a:lnTo>
                    <a:lnTo>
                      <a:pt x="26068" y="11327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077D42F3-A07E-17DF-FF57-D0D7173C107E}"/>
                  </a:ext>
                </a:extLst>
              </p:cNvPr>
              <p:cNvSpPr/>
              <p:nvPr/>
            </p:nvSpPr>
            <p:spPr>
              <a:xfrm>
                <a:off x="7084623" y="2497536"/>
                <a:ext cx="14458" cy="46162"/>
              </a:xfrm>
              <a:custGeom>
                <a:avLst/>
                <a:gdLst>
                  <a:gd name="connsiteX0" fmla="*/ 0 w 14458"/>
                  <a:gd name="connsiteY0" fmla="*/ 0 h 46162"/>
                  <a:gd name="connsiteX1" fmla="*/ 14459 w 14458"/>
                  <a:gd name="connsiteY1" fmla="*/ 0 h 46162"/>
                  <a:gd name="connsiteX2" fmla="*/ 14459 w 14458"/>
                  <a:gd name="connsiteY2" fmla="*/ 46162 h 46162"/>
                  <a:gd name="connsiteX3" fmla="*/ 0 w 1445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162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1EC07367-28F8-632F-3657-36BBA4BB7EEC}"/>
                  </a:ext>
                </a:extLst>
              </p:cNvPr>
              <p:cNvSpPr/>
              <p:nvPr/>
            </p:nvSpPr>
            <p:spPr>
              <a:xfrm>
                <a:off x="7109635" y="2497536"/>
                <a:ext cx="38099" cy="46162"/>
              </a:xfrm>
              <a:custGeom>
                <a:avLst/>
                <a:gdLst>
                  <a:gd name="connsiteX0" fmla="*/ 0 w 38099"/>
                  <a:gd name="connsiteY0" fmla="*/ 46162 h 46162"/>
                  <a:gd name="connsiteX1" fmla="*/ 0 w 38099"/>
                  <a:gd name="connsiteY1" fmla="*/ 0 h 46162"/>
                  <a:gd name="connsiteX2" fmla="*/ 36199 w 38099"/>
                  <a:gd name="connsiteY2" fmla="*/ 0 h 46162"/>
                  <a:gd name="connsiteX3" fmla="*/ 36199 w 38099"/>
                  <a:gd name="connsiteY3" fmla="*/ 10151 h 46162"/>
                  <a:gd name="connsiteX4" fmla="*/ 14564 w 38099"/>
                  <a:gd name="connsiteY4" fmla="*/ 10151 h 46162"/>
                  <a:gd name="connsiteX5" fmla="*/ 14564 w 38099"/>
                  <a:gd name="connsiteY5" fmla="*/ 16990 h 46162"/>
                  <a:gd name="connsiteX6" fmla="*/ 34722 w 38099"/>
                  <a:gd name="connsiteY6" fmla="*/ 16990 h 46162"/>
                  <a:gd name="connsiteX7" fmla="*/ 34722 w 38099"/>
                  <a:gd name="connsiteY7" fmla="*/ 27035 h 46162"/>
                  <a:gd name="connsiteX8" fmla="*/ 14459 w 38099"/>
                  <a:gd name="connsiteY8" fmla="*/ 27035 h 46162"/>
                  <a:gd name="connsiteX9" fmla="*/ 14459 w 38099"/>
                  <a:gd name="connsiteY9" fmla="*/ 36118 h 46162"/>
                  <a:gd name="connsiteX10" fmla="*/ 38099 w 38099"/>
                  <a:gd name="connsiteY10" fmla="*/ 36118 h 46162"/>
                  <a:gd name="connsiteX11" fmla="*/ 38099 w 38099"/>
                  <a:gd name="connsiteY11" fmla="*/ 46162 h 46162"/>
                  <a:gd name="connsiteX12" fmla="*/ 0 w 38099"/>
                  <a:gd name="connsiteY12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162">
                    <a:moveTo>
                      <a:pt x="0" y="46162"/>
                    </a:moveTo>
                    <a:lnTo>
                      <a:pt x="0" y="0"/>
                    </a:lnTo>
                    <a:lnTo>
                      <a:pt x="36199" y="0"/>
                    </a:lnTo>
                    <a:lnTo>
                      <a:pt x="36199" y="10151"/>
                    </a:lnTo>
                    <a:lnTo>
                      <a:pt x="14564" y="10151"/>
                    </a:lnTo>
                    <a:lnTo>
                      <a:pt x="14564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459" y="27035"/>
                    </a:lnTo>
                    <a:lnTo>
                      <a:pt x="14459" y="36118"/>
                    </a:lnTo>
                    <a:lnTo>
                      <a:pt x="38099" y="36118"/>
                    </a:lnTo>
                    <a:lnTo>
                      <a:pt x="3809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46F3702C-1C60-24ED-EEBE-D96CC25BFD3F}"/>
                  </a:ext>
                </a:extLst>
              </p:cNvPr>
              <p:cNvSpPr/>
              <p:nvPr/>
            </p:nvSpPr>
            <p:spPr>
              <a:xfrm>
                <a:off x="7154067" y="2495933"/>
                <a:ext cx="45170" cy="49154"/>
              </a:xfrm>
              <a:custGeom>
                <a:avLst/>
                <a:gdLst>
                  <a:gd name="connsiteX0" fmla="*/ 38732 w 45170"/>
                  <a:gd name="connsiteY0" fmla="*/ 44880 h 49154"/>
                  <a:gd name="connsiteX1" fmla="*/ 23218 w 45170"/>
                  <a:gd name="connsiteY1" fmla="*/ 49154 h 49154"/>
                  <a:gd name="connsiteX2" fmla="*/ 4855 w 45170"/>
                  <a:gd name="connsiteY2" fmla="*/ 43918 h 49154"/>
                  <a:gd name="connsiteX3" fmla="*/ 0 w 45170"/>
                  <a:gd name="connsiteY3" fmla="*/ 39003 h 49154"/>
                  <a:gd name="connsiteX4" fmla="*/ 11081 w 45170"/>
                  <a:gd name="connsiteY4" fmla="*/ 31843 h 49154"/>
                  <a:gd name="connsiteX5" fmla="*/ 13298 w 45170"/>
                  <a:gd name="connsiteY5" fmla="*/ 34622 h 49154"/>
                  <a:gd name="connsiteX6" fmla="*/ 23852 w 45170"/>
                  <a:gd name="connsiteY6" fmla="*/ 37934 h 49154"/>
                  <a:gd name="connsiteX7" fmla="*/ 30817 w 45170"/>
                  <a:gd name="connsiteY7" fmla="*/ 34408 h 49154"/>
                  <a:gd name="connsiteX8" fmla="*/ 30500 w 45170"/>
                  <a:gd name="connsiteY8" fmla="*/ 33339 h 49154"/>
                  <a:gd name="connsiteX9" fmla="*/ 28284 w 45170"/>
                  <a:gd name="connsiteY9" fmla="*/ 31630 h 49154"/>
                  <a:gd name="connsiteX10" fmla="*/ 19736 w 45170"/>
                  <a:gd name="connsiteY10" fmla="*/ 29813 h 49154"/>
                  <a:gd name="connsiteX11" fmla="*/ 7915 w 45170"/>
                  <a:gd name="connsiteY11" fmla="*/ 25005 h 49154"/>
                  <a:gd name="connsiteX12" fmla="*/ 4010 w 45170"/>
                  <a:gd name="connsiteY12" fmla="*/ 15601 h 49154"/>
                  <a:gd name="connsiteX13" fmla="*/ 5699 w 45170"/>
                  <a:gd name="connsiteY13" fmla="*/ 8549 h 49154"/>
                  <a:gd name="connsiteX14" fmla="*/ 24168 w 45170"/>
                  <a:gd name="connsiteY14" fmla="*/ 0 h 49154"/>
                  <a:gd name="connsiteX15" fmla="*/ 41265 w 45170"/>
                  <a:gd name="connsiteY15" fmla="*/ 5022 h 49154"/>
                  <a:gd name="connsiteX16" fmla="*/ 44748 w 45170"/>
                  <a:gd name="connsiteY16" fmla="*/ 8228 h 49154"/>
                  <a:gd name="connsiteX17" fmla="*/ 35672 w 45170"/>
                  <a:gd name="connsiteY17" fmla="*/ 15922 h 49154"/>
                  <a:gd name="connsiteX18" fmla="*/ 34405 w 45170"/>
                  <a:gd name="connsiteY18" fmla="*/ 14426 h 49154"/>
                  <a:gd name="connsiteX19" fmla="*/ 23746 w 45170"/>
                  <a:gd name="connsiteY19" fmla="*/ 11220 h 49154"/>
                  <a:gd name="connsiteX20" fmla="*/ 20369 w 45170"/>
                  <a:gd name="connsiteY20" fmla="*/ 11754 h 49154"/>
                  <a:gd name="connsiteX21" fmla="*/ 18575 w 45170"/>
                  <a:gd name="connsiteY21" fmla="*/ 14212 h 49154"/>
                  <a:gd name="connsiteX22" fmla="*/ 19736 w 45170"/>
                  <a:gd name="connsiteY22" fmla="*/ 16349 h 49154"/>
                  <a:gd name="connsiteX23" fmla="*/ 24801 w 45170"/>
                  <a:gd name="connsiteY23" fmla="*/ 17738 h 49154"/>
                  <a:gd name="connsiteX24" fmla="*/ 35250 w 45170"/>
                  <a:gd name="connsiteY24" fmla="*/ 20089 h 49154"/>
                  <a:gd name="connsiteX25" fmla="*/ 45170 w 45170"/>
                  <a:gd name="connsiteY25" fmla="*/ 32805 h 49154"/>
                  <a:gd name="connsiteX26" fmla="*/ 39154 w 45170"/>
                  <a:gd name="connsiteY26" fmla="*/ 44880 h 4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5170" h="49154">
                    <a:moveTo>
                      <a:pt x="38732" y="44880"/>
                    </a:moveTo>
                    <a:cubicBezTo>
                      <a:pt x="32822" y="49261"/>
                      <a:pt x="25118" y="49154"/>
                      <a:pt x="23218" y="49154"/>
                    </a:cubicBezTo>
                    <a:cubicBezTo>
                      <a:pt x="16569" y="49154"/>
                      <a:pt x="10237" y="48086"/>
                      <a:pt x="4855" y="43918"/>
                    </a:cubicBezTo>
                    <a:cubicBezTo>
                      <a:pt x="2744" y="42315"/>
                      <a:pt x="1583" y="40926"/>
                      <a:pt x="0" y="39003"/>
                    </a:cubicBezTo>
                    <a:lnTo>
                      <a:pt x="11081" y="31843"/>
                    </a:lnTo>
                    <a:cubicBezTo>
                      <a:pt x="12031" y="33446"/>
                      <a:pt x="12664" y="34087"/>
                      <a:pt x="13298" y="34622"/>
                    </a:cubicBezTo>
                    <a:cubicBezTo>
                      <a:pt x="15936" y="36866"/>
                      <a:pt x="20685" y="37934"/>
                      <a:pt x="23852" y="37934"/>
                    </a:cubicBezTo>
                    <a:cubicBezTo>
                      <a:pt x="27967" y="37934"/>
                      <a:pt x="30817" y="36652"/>
                      <a:pt x="30817" y="34408"/>
                    </a:cubicBezTo>
                    <a:cubicBezTo>
                      <a:pt x="30817" y="33874"/>
                      <a:pt x="30606" y="33446"/>
                      <a:pt x="30500" y="33339"/>
                    </a:cubicBezTo>
                    <a:cubicBezTo>
                      <a:pt x="30184" y="32698"/>
                      <a:pt x="29656" y="32057"/>
                      <a:pt x="28284" y="31630"/>
                    </a:cubicBezTo>
                    <a:cubicBezTo>
                      <a:pt x="26701" y="31095"/>
                      <a:pt x="23746" y="30668"/>
                      <a:pt x="19736" y="29813"/>
                    </a:cubicBezTo>
                    <a:cubicBezTo>
                      <a:pt x="13509" y="28531"/>
                      <a:pt x="10132" y="27035"/>
                      <a:pt x="7915" y="25005"/>
                    </a:cubicBezTo>
                    <a:cubicBezTo>
                      <a:pt x="6543" y="23722"/>
                      <a:pt x="3905" y="20730"/>
                      <a:pt x="4010" y="15601"/>
                    </a:cubicBezTo>
                    <a:cubicBezTo>
                      <a:pt x="4010" y="14319"/>
                      <a:pt x="4010" y="11541"/>
                      <a:pt x="5699" y="8549"/>
                    </a:cubicBezTo>
                    <a:cubicBezTo>
                      <a:pt x="10343" y="-107"/>
                      <a:pt x="22479" y="0"/>
                      <a:pt x="24168" y="0"/>
                    </a:cubicBezTo>
                    <a:cubicBezTo>
                      <a:pt x="26490" y="0"/>
                      <a:pt x="34722" y="107"/>
                      <a:pt x="41265" y="5022"/>
                    </a:cubicBezTo>
                    <a:cubicBezTo>
                      <a:pt x="42637" y="6091"/>
                      <a:pt x="43482" y="6946"/>
                      <a:pt x="44748" y="8228"/>
                    </a:cubicBezTo>
                    <a:lnTo>
                      <a:pt x="35672" y="15922"/>
                    </a:lnTo>
                    <a:cubicBezTo>
                      <a:pt x="35144" y="15174"/>
                      <a:pt x="34722" y="14746"/>
                      <a:pt x="34405" y="14426"/>
                    </a:cubicBezTo>
                    <a:cubicBezTo>
                      <a:pt x="31767" y="11968"/>
                      <a:pt x="27123" y="11220"/>
                      <a:pt x="23746" y="11220"/>
                    </a:cubicBezTo>
                    <a:cubicBezTo>
                      <a:pt x="23429" y="11220"/>
                      <a:pt x="21635" y="11220"/>
                      <a:pt x="20369" y="11754"/>
                    </a:cubicBezTo>
                    <a:cubicBezTo>
                      <a:pt x="20158" y="11861"/>
                      <a:pt x="18575" y="12609"/>
                      <a:pt x="18575" y="14212"/>
                    </a:cubicBezTo>
                    <a:cubicBezTo>
                      <a:pt x="18575" y="15067"/>
                      <a:pt x="19102" y="15815"/>
                      <a:pt x="19736" y="16349"/>
                    </a:cubicBezTo>
                    <a:cubicBezTo>
                      <a:pt x="20896" y="17097"/>
                      <a:pt x="23640" y="17631"/>
                      <a:pt x="24801" y="17738"/>
                    </a:cubicBezTo>
                    <a:cubicBezTo>
                      <a:pt x="26384" y="17952"/>
                      <a:pt x="30711" y="18593"/>
                      <a:pt x="35250" y="20089"/>
                    </a:cubicBezTo>
                    <a:cubicBezTo>
                      <a:pt x="38099" y="21051"/>
                      <a:pt x="45170" y="23509"/>
                      <a:pt x="45170" y="32805"/>
                    </a:cubicBezTo>
                    <a:cubicBezTo>
                      <a:pt x="45170" y="39644"/>
                      <a:pt x="41160" y="43384"/>
                      <a:pt x="39154" y="44880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15C7D7B1-AD19-5EC3-60BB-02622F31ED48}"/>
                  </a:ext>
                </a:extLst>
              </p:cNvPr>
              <p:cNvSpPr/>
              <p:nvPr/>
            </p:nvSpPr>
            <p:spPr>
              <a:xfrm>
                <a:off x="6962727" y="2566245"/>
                <a:ext cx="38310" cy="46269"/>
              </a:xfrm>
              <a:custGeom>
                <a:avLst/>
                <a:gdLst>
                  <a:gd name="connsiteX0" fmla="*/ 27123 w 38310"/>
                  <a:gd name="connsiteY0" fmla="*/ 46269 h 46269"/>
                  <a:gd name="connsiteX1" fmla="*/ 10976 w 38310"/>
                  <a:gd name="connsiteY1" fmla="*/ 18273 h 46269"/>
                  <a:gd name="connsiteX2" fmla="*/ 10976 w 38310"/>
                  <a:gd name="connsiteY2" fmla="*/ 46269 h 46269"/>
                  <a:gd name="connsiteX3" fmla="*/ 0 w 38310"/>
                  <a:gd name="connsiteY3" fmla="*/ 46269 h 46269"/>
                  <a:gd name="connsiteX4" fmla="*/ 0 w 38310"/>
                  <a:gd name="connsiteY4" fmla="*/ 0 h 46269"/>
                  <a:gd name="connsiteX5" fmla="*/ 11187 w 38310"/>
                  <a:gd name="connsiteY5" fmla="*/ 0 h 46269"/>
                  <a:gd name="connsiteX6" fmla="*/ 27334 w 38310"/>
                  <a:gd name="connsiteY6" fmla="*/ 28210 h 46269"/>
                  <a:gd name="connsiteX7" fmla="*/ 27334 w 38310"/>
                  <a:gd name="connsiteY7" fmla="*/ 0 h 46269"/>
                  <a:gd name="connsiteX8" fmla="*/ 38310 w 38310"/>
                  <a:gd name="connsiteY8" fmla="*/ 0 h 46269"/>
                  <a:gd name="connsiteX9" fmla="*/ 38310 w 38310"/>
                  <a:gd name="connsiteY9" fmla="*/ 46269 h 46269"/>
                  <a:gd name="connsiteX10" fmla="*/ 27123 w 38310"/>
                  <a:gd name="connsiteY10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310" h="46269">
                    <a:moveTo>
                      <a:pt x="27123" y="46269"/>
                    </a:moveTo>
                    <a:lnTo>
                      <a:pt x="10976" y="18273"/>
                    </a:lnTo>
                    <a:lnTo>
                      <a:pt x="10976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1187" y="0"/>
                    </a:lnTo>
                    <a:lnTo>
                      <a:pt x="27334" y="28210"/>
                    </a:lnTo>
                    <a:lnTo>
                      <a:pt x="27334" y="0"/>
                    </a:lnTo>
                    <a:lnTo>
                      <a:pt x="38310" y="0"/>
                    </a:lnTo>
                    <a:lnTo>
                      <a:pt x="38310" y="46269"/>
                    </a:lnTo>
                    <a:lnTo>
                      <a:pt x="27123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9AB87C81-E827-5A59-0BE3-29CC6EC2A049}"/>
                  </a:ext>
                </a:extLst>
              </p:cNvPr>
              <p:cNvSpPr/>
              <p:nvPr/>
            </p:nvSpPr>
            <p:spPr>
              <a:xfrm>
                <a:off x="7013385" y="2566245"/>
                <a:ext cx="35777" cy="46269"/>
              </a:xfrm>
              <a:custGeom>
                <a:avLst/>
                <a:gdLst>
                  <a:gd name="connsiteX0" fmla="*/ 0 w 35777"/>
                  <a:gd name="connsiteY0" fmla="*/ 46269 h 46269"/>
                  <a:gd name="connsiteX1" fmla="*/ 0 w 35777"/>
                  <a:gd name="connsiteY1" fmla="*/ 0 h 46269"/>
                  <a:gd name="connsiteX2" fmla="*/ 33666 w 35777"/>
                  <a:gd name="connsiteY2" fmla="*/ 0 h 46269"/>
                  <a:gd name="connsiteX3" fmla="*/ 33666 w 35777"/>
                  <a:gd name="connsiteY3" fmla="*/ 8976 h 46269"/>
                  <a:gd name="connsiteX4" fmla="*/ 11293 w 35777"/>
                  <a:gd name="connsiteY4" fmla="*/ 8976 h 46269"/>
                  <a:gd name="connsiteX5" fmla="*/ 11293 w 35777"/>
                  <a:gd name="connsiteY5" fmla="*/ 17418 h 46269"/>
                  <a:gd name="connsiteX6" fmla="*/ 32189 w 35777"/>
                  <a:gd name="connsiteY6" fmla="*/ 17418 h 46269"/>
                  <a:gd name="connsiteX7" fmla="*/ 32189 w 35777"/>
                  <a:gd name="connsiteY7" fmla="*/ 26180 h 46269"/>
                  <a:gd name="connsiteX8" fmla="*/ 11293 w 35777"/>
                  <a:gd name="connsiteY8" fmla="*/ 26180 h 46269"/>
                  <a:gd name="connsiteX9" fmla="*/ 11293 w 35777"/>
                  <a:gd name="connsiteY9" fmla="*/ 37186 h 46269"/>
                  <a:gd name="connsiteX10" fmla="*/ 35777 w 35777"/>
                  <a:gd name="connsiteY10" fmla="*/ 37186 h 46269"/>
                  <a:gd name="connsiteX11" fmla="*/ 35777 w 35777"/>
                  <a:gd name="connsiteY11" fmla="*/ 46269 h 46269"/>
                  <a:gd name="connsiteX12" fmla="*/ 0 w 35777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777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3666" y="0"/>
                    </a:lnTo>
                    <a:lnTo>
                      <a:pt x="33666" y="8976"/>
                    </a:lnTo>
                    <a:lnTo>
                      <a:pt x="11293" y="8976"/>
                    </a:lnTo>
                    <a:lnTo>
                      <a:pt x="11293" y="17418"/>
                    </a:lnTo>
                    <a:lnTo>
                      <a:pt x="32189" y="17418"/>
                    </a:lnTo>
                    <a:lnTo>
                      <a:pt x="32189" y="26180"/>
                    </a:lnTo>
                    <a:lnTo>
                      <a:pt x="11293" y="26180"/>
                    </a:lnTo>
                    <a:lnTo>
                      <a:pt x="11293" y="37186"/>
                    </a:lnTo>
                    <a:lnTo>
                      <a:pt x="35777" y="37186"/>
                    </a:lnTo>
                    <a:lnTo>
                      <a:pt x="35777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FC559BD4-8B3C-B1C3-D145-2917C49326AD}"/>
                  </a:ext>
                </a:extLst>
              </p:cNvPr>
              <p:cNvSpPr/>
              <p:nvPr/>
            </p:nvSpPr>
            <p:spPr>
              <a:xfrm>
                <a:off x="7054650" y="2566245"/>
                <a:ext cx="35249" cy="46269"/>
              </a:xfrm>
              <a:custGeom>
                <a:avLst/>
                <a:gdLst>
                  <a:gd name="connsiteX0" fmla="*/ 23429 w 35249"/>
                  <a:gd name="connsiteY0" fmla="*/ 9190 h 46269"/>
                  <a:gd name="connsiteX1" fmla="*/ 23429 w 35249"/>
                  <a:gd name="connsiteY1" fmla="*/ 46269 h 46269"/>
                  <a:gd name="connsiteX2" fmla="*/ 11926 w 35249"/>
                  <a:gd name="connsiteY2" fmla="*/ 46269 h 46269"/>
                  <a:gd name="connsiteX3" fmla="*/ 11926 w 35249"/>
                  <a:gd name="connsiteY3" fmla="*/ 9190 h 46269"/>
                  <a:gd name="connsiteX4" fmla="*/ 0 w 35249"/>
                  <a:gd name="connsiteY4" fmla="*/ 9190 h 46269"/>
                  <a:gd name="connsiteX5" fmla="*/ 0 w 35249"/>
                  <a:gd name="connsiteY5" fmla="*/ 0 h 46269"/>
                  <a:gd name="connsiteX6" fmla="*/ 35250 w 35249"/>
                  <a:gd name="connsiteY6" fmla="*/ 0 h 46269"/>
                  <a:gd name="connsiteX7" fmla="*/ 35250 w 35249"/>
                  <a:gd name="connsiteY7" fmla="*/ 9190 h 46269"/>
                  <a:gd name="connsiteX8" fmla="*/ 23429 w 35249"/>
                  <a:gd name="connsiteY8" fmla="*/ 9190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49" h="46269">
                    <a:moveTo>
                      <a:pt x="23429" y="9190"/>
                    </a:moveTo>
                    <a:lnTo>
                      <a:pt x="23429" y="46269"/>
                    </a:lnTo>
                    <a:lnTo>
                      <a:pt x="11926" y="46269"/>
                    </a:lnTo>
                    <a:lnTo>
                      <a:pt x="11926" y="9190"/>
                    </a:lnTo>
                    <a:lnTo>
                      <a:pt x="0" y="9190"/>
                    </a:lnTo>
                    <a:lnTo>
                      <a:pt x="0" y="0"/>
                    </a:lnTo>
                    <a:lnTo>
                      <a:pt x="35250" y="0"/>
                    </a:lnTo>
                    <a:lnTo>
                      <a:pt x="35250" y="9190"/>
                    </a:lnTo>
                    <a:lnTo>
                      <a:pt x="23429" y="9190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61A903BA-E0D5-E7EE-E21A-A95420652E24}"/>
                  </a:ext>
                </a:extLst>
              </p:cNvPr>
              <p:cNvSpPr/>
              <p:nvPr/>
            </p:nvSpPr>
            <p:spPr>
              <a:xfrm>
                <a:off x="7096654" y="2566245"/>
                <a:ext cx="63111" cy="46269"/>
              </a:xfrm>
              <a:custGeom>
                <a:avLst/>
                <a:gdLst>
                  <a:gd name="connsiteX0" fmla="*/ 51502 w 63111"/>
                  <a:gd name="connsiteY0" fmla="*/ 46269 h 46269"/>
                  <a:gd name="connsiteX1" fmla="*/ 39788 w 63111"/>
                  <a:gd name="connsiteY1" fmla="*/ 46269 h 46269"/>
                  <a:gd name="connsiteX2" fmla="*/ 31556 w 63111"/>
                  <a:gd name="connsiteY2" fmla="*/ 16670 h 46269"/>
                  <a:gd name="connsiteX3" fmla="*/ 23324 w 63111"/>
                  <a:gd name="connsiteY3" fmla="*/ 46269 h 46269"/>
                  <a:gd name="connsiteX4" fmla="*/ 11504 w 63111"/>
                  <a:gd name="connsiteY4" fmla="*/ 46269 h 46269"/>
                  <a:gd name="connsiteX5" fmla="*/ 0 w 63111"/>
                  <a:gd name="connsiteY5" fmla="*/ 0 h 46269"/>
                  <a:gd name="connsiteX6" fmla="*/ 11398 w 63111"/>
                  <a:gd name="connsiteY6" fmla="*/ 0 h 46269"/>
                  <a:gd name="connsiteX7" fmla="*/ 18152 w 63111"/>
                  <a:gd name="connsiteY7" fmla="*/ 31843 h 46269"/>
                  <a:gd name="connsiteX8" fmla="*/ 26384 w 63111"/>
                  <a:gd name="connsiteY8" fmla="*/ 0 h 46269"/>
                  <a:gd name="connsiteX9" fmla="*/ 36516 w 63111"/>
                  <a:gd name="connsiteY9" fmla="*/ 0 h 46269"/>
                  <a:gd name="connsiteX10" fmla="*/ 45065 w 63111"/>
                  <a:gd name="connsiteY10" fmla="*/ 31843 h 46269"/>
                  <a:gd name="connsiteX11" fmla="*/ 51713 w 63111"/>
                  <a:gd name="connsiteY11" fmla="*/ 0 h 46269"/>
                  <a:gd name="connsiteX12" fmla="*/ 63112 w 63111"/>
                  <a:gd name="connsiteY12" fmla="*/ 0 h 46269"/>
                  <a:gd name="connsiteX13" fmla="*/ 51502 w 63111"/>
                  <a:gd name="connsiteY1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111" h="46269">
                    <a:moveTo>
                      <a:pt x="51502" y="46269"/>
                    </a:moveTo>
                    <a:lnTo>
                      <a:pt x="39788" y="46269"/>
                    </a:lnTo>
                    <a:lnTo>
                      <a:pt x="31556" y="16670"/>
                    </a:lnTo>
                    <a:lnTo>
                      <a:pt x="23324" y="46269"/>
                    </a:lnTo>
                    <a:lnTo>
                      <a:pt x="11504" y="46269"/>
                    </a:lnTo>
                    <a:lnTo>
                      <a:pt x="0" y="0"/>
                    </a:lnTo>
                    <a:lnTo>
                      <a:pt x="11398" y="0"/>
                    </a:lnTo>
                    <a:lnTo>
                      <a:pt x="18152" y="31843"/>
                    </a:lnTo>
                    <a:lnTo>
                      <a:pt x="26384" y="0"/>
                    </a:lnTo>
                    <a:lnTo>
                      <a:pt x="36516" y="0"/>
                    </a:lnTo>
                    <a:lnTo>
                      <a:pt x="45065" y="31843"/>
                    </a:lnTo>
                    <a:lnTo>
                      <a:pt x="51713" y="0"/>
                    </a:lnTo>
                    <a:lnTo>
                      <a:pt x="63112" y="0"/>
                    </a:lnTo>
                    <a:lnTo>
                      <a:pt x="51502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EB9F1951-0732-9A74-787F-E48199A92C93}"/>
                  </a:ext>
                </a:extLst>
              </p:cNvPr>
              <p:cNvSpPr/>
              <p:nvPr/>
            </p:nvSpPr>
            <p:spPr>
              <a:xfrm>
                <a:off x="7165465" y="2564748"/>
                <a:ext cx="45697" cy="49047"/>
              </a:xfrm>
              <a:custGeom>
                <a:avLst/>
                <a:gdLst>
                  <a:gd name="connsiteX0" fmla="*/ 37044 w 45697"/>
                  <a:gd name="connsiteY0" fmla="*/ 44239 h 49047"/>
                  <a:gd name="connsiteX1" fmla="*/ 22691 w 45697"/>
                  <a:gd name="connsiteY1" fmla="*/ 49047 h 49047"/>
                  <a:gd name="connsiteX2" fmla="*/ 6543 w 45697"/>
                  <a:gd name="connsiteY2" fmla="*/ 42422 h 49047"/>
                  <a:gd name="connsiteX3" fmla="*/ 0 w 45697"/>
                  <a:gd name="connsiteY3" fmla="*/ 24363 h 49047"/>
                  <a:gd name="connsiteX4" fmla="*/ 4327 w 45697"/>
                  <a:gd name="connsiteY4" fmla="*/ 9403 h 49047"/>
                  <a:gd name="connsiteX5" fmla="*/ 22585 w 45697"/>
                  <a:gd name="connsiteY5" fmla="*/ 0 h 49047"/>
                  <a:gd name="connsiteX6" fmla="*/ 38838 w 45697"/>
                  <a:gd name="connsiteY6" fmla="*/ 6411 h 49047"/>
                  <a:gd name="connsiteX7" fmla="*/ 45698 w 45697"/>
                  <a:gd name="connsiteY7" fmla="*/ 24898 h 49047"/>
                  <a:gd name="connsiteX8" fmla="*/ 37044 w 45697"/>
                  <a:gd name="connsiteY8" fmla="*/ 44239 h 49047"/>
                  <a:gd name="connsiteX9" fmla="*/ 31345 w 45697"/>
                  <a:gd name="connsiteY9" fmla="*/ 14105 h 49047"/>
                  <a:gd name="connsiteX10" fmla="*/ 26912 w 45697"/>
                  <a:gd name="connsiteY10" fmla="*/ 10686 h 49047"/>
                  <a:gd name="connsiteX11" fmla="*/ 22479 w 45697"/>
                  <a:gd name="connsiteY11" fmla="*/ 9831 h 49047"/>
                  <a:gd name="connsiteX12" fmla="*/ 17414 w 45697"/>
                  <a:gd name="connsiteY12" fmla="*/ 11113 h 49047"/>
                  <a:gd name="connsiteX13" fmla="*/ 11187 w 45697"/>
                  <a:gd name="connsiteY13" fmla="*/ 24363 h 49047"/>
                  <a:gd name="connsiteX14" fmla="*/ 14986 w 45697"/>
                  <a:gd name="connsiteY14" fmla="*/ 36118 h 49047"/>
                  <a:gd name="connsiteX15" fmla="*/ 22691 w 45697"/>
                  <a:gd name="connsiteY15" fmla="*/ 39430 h 49047"/>
                  <a:gd name="connsiteX16" fmla="*/ 30606 w 45697"/>
                  <a:gd name="connsiteY16" fmla="*/ 36011 h 49047"/>
                  <a:gd name="connsiteX17" fmla="*/ 34194 w 45697"/>
                  <a:gd name="connsiteY17" fmla="*/ 25859 h 49047"/>
                  <a:gd name="connsiteX18" fmla="*/ 31239 w 45697"/>
                  <a:gd name="connsiteY18" fmla="*/ 14212 h 49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697" h="49047">
                    <a:moveTo>
                      <a:pt x="37044" y="44239"/>
                    </a:moveTo>
                    <a:cubicBezTo>
                      <a:pt x="34616" y="46269"/>
                      <a:pt x="30184" y="49047"/>
                      <a:pt x="22691" y="49047"/>
                    </a:cubicBezTo>
                    <a:cubicBezTo>
                      <a:pt x="19947" y="49047"/>
                      <a:pt x="12348" y="48620"/>
                      <a:pt x="6543" y="42422"/>
                    </a:cubicBezTo>
                    <a:cubicBezTo>
                      <a:pt x="422" y="35904"/>
                      <a:pt x="0" y="27142"/>
                      <a:pt x="0" y="24363"/>
                    </a:cubicBezTo>
                    <a:cubicBezTo>
                      <a:pt x="0" y="21906"/>
                      <a:pt x="317" y="15387"/>
                      <a:pt x="4327" y="9403"/>
                    </a:cubicBezTo>
                    <a:cubicBezTo>
                      <a:pt x="6649" y="5984"/>
                      <a:pt x="11926" y="0"/>
                      <a:pt x="22585" y="0"/>
                    </a:cubicBezTo>
                    <a:cubicBezTo>
                      <a:pt x="31239" y="0"/>
                      <a:pt x="36516" y="3954"/>
                      <a:pt x="38838" y="6411"/>
                    </a:cubicBezTo>
                    <a:cubicBezTo>
                      <a:pt x="43270" y="11006"/>
                      <a:pt x="45698" y="18486"/>
                      <a:pt x="45698" y="24898"/>
                    </a:cubicBezTo>
                    <a:cubicBezTo>
                      <a:pt x="45698" y="31950"/>
                      <a:pt x="42637" y="39537"/>
                      <a:pt x="37044" y="44239"/>
                    </a:cubicBezTo>
                    <a:moveTo>
                      <a:pt x="31345" y="14105"/>
                    </a:moveTo>
                    <a:cubicBezTo>
                      <a:pt x="30817" y="13357"/>
                      <a:pt x="29445" y="11647"/>
                      <a:pt x="26912" y="10686"/>
                    </a:cubicBezTo>
                    <a:cubicBezTo>
                      <a:pt x="25012" y="9938"/>
                      <a:pt x="23324" y="9831"/>
                      <a:pt x="22479" y="9831"/>
                    </a:cubicBezTo>
                    <a:cubicBezTo>
                      <a:pt x="19947" y="9831"/>
                      <a:pt x="18258" y="10686"/>
                      <a:pt x="17414" y="11113"/>
                    </a:cubicBezTo>
                    <a:cubicBezTo>
                      <a:pt x="12876" y="13678"/>
                      <a:pt x="11187" y="19448"/>
                      <a:pt x="11187" y="24363"/>
                    </a:cubicBezTo>
                    <a:cubicBezTo>
                      <a:pt x="11187" y="30668"/>
                      <a:pt x="13087" y="34087"/>
                      <a:pt x="14986" y="36118"/>
                    </a:cubicBezTo>
                    <a:cubicBezTo>
                      <a:pt x="16992" y="38255"/>
                      <a:pt x="19735" y="39430"/>
                      <a:pt x="22691" y="39430"/>
                    </a:cubicBezTo>
                    <a:cubicBezTo>
                      <a:pt x="24168" y="39430"/>
                      <a:pt x="27756" y="39003"/>
                      <a:pt x="30606" y="36011"/>
                    </a:cubicBezTo>
                    <a:cubicBezTo>
                      <a:pt x="33244" y="33232"/>
                      <a:pt x="34089" y="29492"/>
                      <a:pt x="34194" y="25859"/>
                    </a:cubicBezTo>
                    <a:cubicBezTo>
                      <a:pt x="34405" y="19982"/>
                      <a:pt x="32611" y="16135"/>
                      <a:pt x="31239" y="14212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D591E894-381B-D905-4D72-9FDEF56E4CDD}"/>
                  </a:ext>
                </a:extLst>
              </p:cNvPr>
              <p:cNvSpPr/>
              <p:nvPr/>
            </p:nvSpPr>
            <p:spPr>
              <a:xfrm>
                <a:off x="7220555" y="2566351"/>
                <a:ext cx="40315" cy="46162"/>
              </a:xfrm>
              <a:custGeom>
                <a:avLst/>
                <a:gdLst>
                  <a:gd name="connsiteX0" fmla="*/ 27651 w 40315"/>
                  <a:gd name="connsiteY0" fmla="*/ 46162 h 46162"/>
                  <a:gd name="connsiteX1" fmla="*/ 18575 w 40315"/>
                  <a:gd name="connsiteY1" fmla="*/ 29706 h 46162"/>
                  <a:gd name="connsiteX2" fmla="*/ 11504 w 40315"/>
                  <a:gd name="connsiteY2" fmla="*/ 29706 h 46162"/>
                  <a:gd name="connsiteX3" fmla="*/ 11504 w 40315"/>
                  <a:gd name="connsiteY3" fmla="*/ 46162 h 46162"/>
                  <a:gd name="connsiteX4" fmla="*/ 0 w 40315"/>
                  <a:gd name="connsiteY4" fmla="*/ 46162 h 46162"/>
                  <a:gd name="connsiteX5" fmla="*/ 0 w 40315"/>
                  <a:gd name="connsiteY5" fmla="*/ 0 h 46162"/>
                  <a:gd name="connsiteX6" fmla="*/ 20580 w 40315"/>
                  <a:gd name="connsiteY6" fmla="*/ 0 h 46162"/>
                  <a:gd name="connsiteX7" fmla="*/ 24485 w 40315"/>
                  <a:gd name="connsiteY7" fmla="*/ 0 h 46162"/>
                  <a:gd name="connsiteX8" fmla="*/ 37360 w 40315"/>
                  <a:gd name="connsiteY8" fmla="*/ 7159 h 46162"/>
                  <a:gd name="connsiteX9" fmla="*/ 39154 w 40315"/>
                  <a:gd name="connsiteY9" fmla="*/ 14853 h 46162"/>
                  <a:gd name="connsiteX10" fmla="*/ 35566 w 40315"/>
                  <a:gd name="connsiteY10" fmla="*/ 24257 h 46162"/>
                  <a:gd name="connsiteX11" fmla="*/ 33455 w 40315"/>
                  <a:gd name="connsiteY11" fmla="*/ 25966 h 46162"/>
                  <a:gd name="connsiteX12" fmla="*/ 29762 w 40315"/>
                  <a:gd name="connsiteY12" fmla="*/ 27569 h 46162"/>
                  <a:gd name="connsiteX13" fmla="*/ 40315 w 40315"/>
                  <a:gd name="connsiteY13" fmla="*/ 46055 h 46162"/>
                  <a:gd name="connsiteX14" fmla="*/ 27756 w 40315"/>
                  <a:gd name="connsiteY14" fmla="*/ 46055 h 46162"/>
                  <a:gd name="connsiteX15" fmla="*/ 21108 w 40315"/>
                  <a:gd name="connsiteY15" fmla="*/ 8549 h 46162"/>
                  <a:gd name="connsiteX16" fmla="*/ 11398 w 40315"/>
                  <a:gd name="connsiteY16" fmla="*/ 8549 h 46162"/>
                  <a:gd name="connsiteX17" fmla="*/ 11398 w 40315"/>
                  <a:gd name="connsiteY17" fmla="*/ 21158 h 46162"/>
                  <a:gd name="connsiteX18" fmla="*/ 20791 w 40315"/>
                  <a:gd name="connsiteY18" fmla="*/ 21158 h 46162"/>
                  <a:gd name="connsiteX19" fmla="*/ 23851 w 40315"/>
                  <a:gd name="connsiteY19" fmla="*/ 20730 h 46162"/>
                  <a:gd name="connsiteX20" fmla="*/ 27651 w 40315"/>
                  <a:gd name="connsiteY20" fmla="*/ 14746 h 46162"/>
                  <a:gd name="connsiteX21" fmla="*/ 21108 w 40315"/>
                  <a:gd name="connsiteY21" fmla="*/ 8549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0315" h="46162">
                    <a:moveTo>
                      <a:pt x="27651" y="46162"/>
                    </a:moveTo>
                    <a:lnTo>
                      <a:pt x="18575" y="29706"/>
                    </a:lnTo>
                    <a:lnTo>
                      <a:pt x="11504" y="29706"/>
                    </a:lnTo>
                    <a:lnTo>
                      <a:pt x="11504" y="46162"/>
                    </a:lnTo>
                    <a:lnTo>
                      <a:pt x="0" y="46162"/>
                    </a:lnTo>
                    <a:lnTo>
                      <a:pt x="0" y="0"/>
                    </a:lnTo>
                    <a:lnTo>
                      <a:pt x="20580" y="0"/>
                    </a:lnTo>
                    <a:cubicBezTo>
                      <a:pt x="21846" y="0"/>
                      <a:pt x="23113" y="0"/>
                      <a:pt x="24485" y="0"/>
                    </a:cubicBezTo>
                    <a:cubicBezTo>
                      <a:pt x="26595" y="107"/>
                      <a:pt x="33772" y="534"/>
                      <a:pt x="37360" y="7159"/>
                    </a:cubicBezTo>
                    <a:cubicBezTo>
                      <a:pt x="37994" y="8442"/>
                      <a:pt x="39154" y="11113"/>
                      <a:pt x="39154" y="14853"/>
                    </a:cubicBezTo>
                    <a:cubicBezTo>
                      <a:pt x="39154" y="19982"/>
                      <a:pt x="37149" y="22761"/>
                      <a:pt x="35566" y="24257"/>
                    </a:cubicBezTo>
                    <a:cubicBezTo>
                      <a:pt x="34933" y="24898"/>
                      <a:pt x="34194" y="25539"/>
                      <a:pt x="33455" y="25966"/>
                    </a:cubicBezTo>
                    <a:cubicBezTo>
                      <a:pt x="32611" y="26394"/>
                      <a:pt x="31661" y="26928"/>
                      <a:pt x="29762" y="27569"/>
                    </a:cubicBezTo>
                    <a:lnTo>
                      <a:pt x="40315" y="46055"/>
                    </a:lnTo>
                    <a:lnTo>
                      <a:pt x="27756" y="46055"/>
                    </a:lnTo>
                    <a:close/>
                    <a:moveTo>
                      <a:pt x="21108" y="8549"/>
                    </a:moveTo>
                    <a:lnTo>
                      <a:pt x="11398" y="8549"/>
                    </a:lnTo>
                    <a:lnTo>
                      <a:pt x="11398" y="21158"/>
                    </a:lnTo>
                    <a:lnTo>
                      <a:pt x="20791" y="21158"/>
                    </a:lnTo>
                    <a:cubicBezTo>
                      <a:pt x="20791" y="21158"/>
                      <a:pt x="22585" y="21158"/>
                      <a:pt x="23851" y="20730"/>
                    </a:cubicBezTo>
                    <a:cubicBezTo>
                      <a:pt x="27545" y="19448"/>
                      <a:pt x="27651" y="15922"/>
                      <a:pt x="27651" y="14746"/>
                    </a:cubicBezTo>
                    <a:cubicBezTo>
                      <a:pt x="27651" y="8762"/>
                      <a:pt x="23113" y="8549"/>
                      <a:pt x="21108" y="8549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C5BF954B-D6D0-36F5-AB01-CB5CB4855D3A}"/>
                  </a:ext>
                </a:extLst>
              </p:cNvPr>
              <p:cNvSpPr/>
              <p:nvPr/>
            </p:nvSpPr>
            <p:spPr>
              <a:xfrm>
                <a:off x="7271108" y="2566245"/>
                <a:ext cx="42953" cy="46269"/>
              </a:xfrm>
              <a:custGeom>
                <a:avLst/>
                <a:gdLst>
                  <a:gd name="connsiteX0" fmla="*/ 30078 w 42953"/>
                  <a:gd name="connsiteY0" fmla="*/ 46269 h 46269"/>
                  <a:gd name="connsiteX1" fmla="*/ 17941 w 42953"/>
                  <a:gd name="connsiteY1" fmla="*/ 25325 h 46269"/>
                  <a:gd name="connsiteX2" fmla="*/ 10870 w 42953"/>
                  <a:gd name="connsiteY2" fmla="*/ 32698 h 46269"/>
                  <a:gd name="connsiteX3" fmla="*/ 10870 w 42953"/>
                  <a:gd name="connsiteY3" fmla="*/ 46269 h 46269"/>
                  <a:gd name="connsiteX4" fmla="*/ 0 w 42953"/>
                  <a:gd name="connsiteY4" fmla="*/ 46269 h 46269"/>
                  <a:gd name="connsiteX5" fmla="*/ 0 w 42953"/>
                  <a:gd name="connsiteY5" fmla="*/ 0 h 46269"/>
                  <a:gd name="connsiteX6" fmla="*/ 10870 w 42953"/>
                  <a:gd name="connsiteY6" fmla="*/ 0 h 46269"/>
                  <a:gd name="connsiteX7" fmla="*/ 10870 w 42953"/>
                  <a:gd name="connsiteY7" fmla="*/ 18914 h 46269"/>
                  <a:gd name="connsiteX8" fmla="*/ 27967 w 42953"/>
                  <a:gd name="connsiteY8" fmla="*/ 0 h 46269"/>
                  <a:gd name="connsiteX9" fmla="*/ 41687 w 42953"/>
                  <a:gd name="connsiteY9" fmla="*/ 0 h 46269"/>
                  <a:gd name="connsiteX10" fmla="*/ 25540 w 42953"/>
                  <a:gd name="connsiteY10" fmla="*/ 17204 h 46269"/>
                  <a:gd name="connsiteX11" fmla="*/ 42954 w 42953"/>
                  <a:gd name="connsiteY11" fmla="*/ 46269 h 46269"/>
                  <a:gd name="connsiteX12" fmla="*/ 30078 w 42953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953" h="46269">
                    <a:moveTo>
                      <a:pt x="30078" y="46269"/>
                    </a:moveTo>
                    <a:lnTo>
                      <a:pt x="17941" y="25325"/>
                    </a:lnTo>
                    <a:lnTo>
                      <a:pt x="10870" y="32698"/>
                    </a:lnTo>
                    <a:lnTo>
                      <a:pt x="10870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0870" y="0"/>
                    </a:lnTo>
                    <a:lnTo>
                      <a:pt x="10870" y="18914"/>
                    </a:lnTo>
                    <a:lnTo>
                      <a:pt x="27967" y="0"/>
                    </a:lnTo>
                    <a:lnTo>
                      <a:pt x="41687" y="0"/>
                    </a:lnTo>
                    <a:lnTo>
                      <a:pt x="25540" y="17204"/>
                    </a:lnTo>
                    <a:lnTo>
                      <a:pt x="42954" y="46269"/>
                    </a:lnTo>
                    <a:lnTo>
                      <a:pt x="30078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CB6779A-C708-D063-669D-801A59318095}"/>
              </a:ext>
            </a:extLst>
          </p:cNvPr>
          <p:cNvGrpSpPr/>
          <p:nvPr userDrawn="1"/>
        </p:nvGrpSpPr>
        <p:grpSpPr>
          <a:xfrm>
            <a:off x="6991686" y="5950102"/>
            <a:ext cx="1358170" cy="584254"/>
            <a:chOff x="6991686" y="5950102"/>
            <a:chExt cx="1358170" cy="584254"/>
          </a:xfrm>
        </p:grpSpPr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CFA71065-F34B-063D-443B-D7C4A183399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91686" y="6189956"/>
              <a:ext cx="657490" cy="344400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A1772319-E635-6A0D-35B8-D887F290D35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05456" y="6189956"/>
              <a:ext cx="344400" cy="34440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36E2C50-73A4-D209-52E6-1AE1B6273C2C}"/>
                </a:ext>
              </a:extLst>
            </p:cNvPr>
            <p:cNvSpPr txBox="1"/>
            <p:nvPr/>
          </p:nvSpPr>
          <p:spPr>
            <a:xfrm>
              <a:off x="6991686" y="5950102"/>
              <a:ext cx="39914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0"/>
              <a:r>
                <a:rPr lang="en-GB" sz="1000" b="1">
                  <a:solidFill>
                    <a:schemeClr val="bg1"/>
                  </a:solidFill>
                  <a:latin typeface="Oscine Trial" panose="020B0506040202020204" pitchFamily="34" charset="0"/>
                  <a:cs typeface="Oscine Trial" panose="020B0506040202020204" pitchFamily="34" charset="0"/>
                </a:rPr>
                <a:t>Led by: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B0C5773-82EE-60B9-9FB6-81028474FCF0}"/>
                </a:ext>
              </a:extLst>
            </p:cNvPr>
            <p:cNvCxnSpPr/>
            <p:nvPr/>
          </p:nvCxnSpPr>
          <p:spPr>
            <a:xfrm>
              <a:off x="7827316" y="6189956"/>
              <a:ext cx="0" cy="3444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86BEF82-438A-B4E2-FBE5-DBE97850BDA4}"/>
              </a:ext>
            </a:extLst>
          </p:cNvPr>
          <p:cNvGrpSpPr/>
          <p:nvPr userDrawn="1"/>
        </p:nvGrpSpPr>
        <p:grpSpPr>
          <a:xfrm>
            <a:off x="8763761" y="5950102"/>
            <a:ext cx="3118530" cy="636436"/>
            <a:chOff x="8763761" y="5950102"/>
            <a:chExt cx="3118530" cy="636436"/>
          </a:xfrm>
        </p:grpSpPr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89EA16CF-257D-DAE7-15BD-A10A25013EE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74792" y="6283883"/>
              <a:ext cx="636617" cy="156546"/>
            </a:xfrm>
            <a:prstGeom prst="rect">
              <a:avLst/>
            </a:prstGeom>
          </p:spPr>
        </p:pic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33FDD476-4BDC-0D16-C314-818B9C7CAD9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59312" y="6137774"/>
              <a:ext cx="459199" cy="448764"/>
            </a:xfrm>
            <a:prstGeom prst="rect">
              <a:avLst/>
            </a:prstGeom>
          </p:spPr>
        </p:pic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7B21E2C5-A291-6914-AC90-2B7AEBDF541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63761" y="6252574"/>
              <a:ext cx="939271" cy="219163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778851CD-BB3E-5FB5-0FAE-7181677C0A08}"/>
                </a:ext>
              </a:extLst>
            </p:cNvPr>
            <p:cNvSpPr txBox="1"/>
            <p:nvPr/>
          </p:nvSpPr>
          <p:spPr>
            <a:xfrm>
              <a:off x="8763761" y="5950102"/>
              <a:ext cx="104515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0"/>
              <a:r>
                <a:rPr lang="en-GB" sz="1000">
                  <a:solidFill>
                    <a:schemeClr val="bg1"/>
                  </a:solidFill>
                  <a:latin typeface="Oscine" panose="020B0806040202020204" pitchFamily="34" charset="0"/>
                  <a:cs typeface="Oscine" panose="020B0806040202020204" pitchFamily="34" charset="0"/>
                </a:rPr>
                <a:t>With support from: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86BFFEC-9031-7C27-E4E3-E737401EF125}"/>
                </a:ext>
              </a:extLst>
            </p:cNvPr>
            <p:cNvCxnSpPr>
              <a:cxnSpLocks/>
            </p:cNvCxnSpPr>
            <p:nvPr/>
          </p:nvCxnSpPr>
          <p:spPr>
            <a:xfrm>
              <a:off x="9831172" y="6189956"/>
              <a:ext cx="0" cy="3444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0F0BD356-FC4D-477B-3CD5-72293D7F58E8}"/>
                </a:ext>
              </a:extLst>
            </p:cNvPr>
            <p:cNvCxnSpPr>
              <a:cxnSpLocks/>
            </p:cNvCxnSpPr>
            <p:nvPr/>
          </p:nvCxnSpPr>
          <p:spPr>
            <a:xfrm>
              <a:off x="10546652" y="6189956"/>
              <a:ext cx="0" cy="3444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A279E56-C558-20BB-1B22-7635A1E299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567689" y="6204855"/>
              <a:ext cx="314602" cy="314602"/>
            </a:xfrm>
            <a:prstGeom prst="rect">
              <a:avLst/>
            </a:prstGeom>
          </p:spPr>
        </p:pic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0D069841-E01F-D604-2A40-DA1831FB66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39549" y="6189956"/>
              <a:ext cx="0" cy="3444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5428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E075AA3-7451-5143-78A8-CBC6208904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33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075AA3-7451-5143-78A8-CBC6208904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E056A71-1845-DE36-4928-A6CFD7128C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13881B-0EED-82FE-1734-818A58ADB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44A45BA9-9842-FBA9-7B28-FAA3B7DA2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58957B2F-5156-0999-9BB5-2BBDFAF365FA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514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40696D-930A-64CD-A13C-0A1EA1119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91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40696D-930A-64CD-A13C-0A1EA111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11183936" cy="3554378"/>
          </a:xfrm>
        </p:spPr>
        <p:txBody>
          <a:bodyPr/>
          <a:lstStyle>
            <a:lvl1pPr marL="180000" indent="-180000" rtl="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1pPr>
            <a:lvl2pPr marL="360000" indent="-18000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2pPr>
            <a:lvl3pPr marL="540000" indent="-18000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3pPr>
            <a:lvl4pPr>
              <a:lnSpc>
                <a:spcPct val="125000"/>
              </a:lnSpc>
              <a:spcAft>
                <a:spcPts val="0"/>
              </a:spcAft>
              <a:defRPr sz="1600"/>
            </a:lvl4pPr>
            <a:lvl5pPr>
              <a:lnSpc>
                <a:spcPct val="125000"/>
              </a:lnSpc>
              <a:spcAft>
                <a:spcPts val="0"/>
              </a:spcAft>
              <a:defRPr sz="1600"/>
            </a:lvl5pPr>
            <a:lvl6pPr>
              <a:buSzPct val="100000"/>
              <a:defRPr/>
            </a:lvl6pPr>
            <a:lvl7pPr>
              <a:defRPr/>
            </a:lvl7pPr>
            <a:lvl8pPr>
              <a:defRPr/>
            </a:lvl8pPr>
            <a:lvl9pPr>
              <a:defRPr sz="5400"/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4F0E637A-5ED3-B9B1-3E44-47BAD98BD9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59A77B-CB4B-DDC7-7ADC-1C36C812D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E0337-27E9-AC42-EBBC-9698377CC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5D2CB4AD-28E7-FF56-F863-CE156EB21A70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065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40696D-930A-64CD-A13C-0A1EA1119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91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40696D-930A-64CD-A13C-0A1EA111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11183936" cy="3554378"/>
          </a:xfrm>
        </p:spPr>
        <p:txBody>
          <a:bodyPr/>
          <a:lstStyle>
            <a:lvl1pPr marL="180000" indent="-180000" rtl="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>
                <a:solidFill>
                  <a:schemeClr val="tx2"/>
                </a:solidFill>
              </a:defRPr>
            </a:lvl1pPr>
            <a:lvl2pPr marL="360000" indent="-18000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2pPr>
            <a:lvl3pPr marL="540000" indent="-18000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3pPr>
            <a:lvl4pPr>
              <a:lnSpc>
                <a:spcPct val="125000"/>
              </a:lnSpc>
              <a:spcAft>
                <a:spcPts val="0"/>
              </a:spcAft>
              <a:defRPr sz="1600"/>
            </a:lvl4pPr>
            <a:lvl5pPr>
              <a:lnSpc>
                <a:spcPct val="125000"/>
              </a:lnSpc>
              <a:spcAft>
                <a:spcPts val="0"/>
              </a:spcAft>
              <a:defRPr sz="1600"/>
            </a:lvl5pPr>
            <a:lvl6pPr>
              <a:buSzPct val="100000"/>
              <a:defRPr/>
            </a:lvl6pPr>
            <a:lvl7pPr>
              <a:defRPr/>
            </a:lvl7pPr>
            <a:lvl8pPr>
              <a:defRPr/>
            </a:lvl8pPr>
            <a:lvl9pPr>
              <a:defRPr sz="5400"/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4F0E637A-5ED3-B9B1-3E44-47BAD98BD9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59A77B-CB4B-DDC7-7ADC-1C36C812D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E0337-27E9-AC42-EBBC-9698377CC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5D2CB4AD-28E7-FF56-F863-CE156EB21A70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234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40696D-930A-64CD-A13C-0A1EA1119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91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40696D-930A-64CD-A13C-0A1EA111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11183936" cy="3554378"/>
          </a:xfrm>
        </p:spPr>
        <p:txBody>
          <a:bodyPr/>
          <a:lstStyle>
            <a:lvl1pPr marL="180000" indent="-180000" rtl="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>
                <a:solidFill>
                  <a:schemeClr val="bg1"/>
                </a:solidFill>
              </a:defRPr>
            </a:lvl1pPr>
            <a:lvl2pPr marL="360000" indent="-18000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2pPr>
            <a:lvl3pPr marL="540000" indent="-180000">
              <a:lnSpc>
                <a:spcPct val="12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  <a:defRPr sz="1600"/>
            </a:lvl3pPr>
            <a:lvl4pPr>
              <a:lnSpc>
                <a:spcPct val="125000"/>
              </a:lnSpc>
              <a:spcAft>
                <a:spcPts val="0"/>
              </a:spcAft>
              <a:defRPr sz="1600"/>
            </a:lvl4pPr>
            <a:lvl5pPr>
              <a:lnSpc>
                <a:spcPct val="125000"/>
              </a:lnSpc>
              <a:spcAft>
                <a:spcPts val="0"/>
              </a:spcAft>
              <a:defRPr sz="1600"/>
            </a:lvl5pPr>
            <a:lvl6pPr>
              <a:buSzPct val="100000"/>
              <a:defRPr/>
            </a:lvl6pPr>
            <a:lvl7pPr>
              <a:defRPr/>
            </a:lvl7pPr>
            <a:lvl8pPr>
              <a:defRPr/>
            </a:lvl8pPr>
            <a:lvl9pPr>
              <a:defRPr sz="5400"/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4F0E637A-5ED3-B9B1-3E44-47BAD98BD9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59A77B-CB4B-DDC7-7ADC-1C36C812D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E0337-27E9-AC42-EBBC-9698377CC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5D2CB4AD-28E7-FF56-F863-CE156EB21A70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4663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54657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21413" y="2779200"/>
            <a:ext cx="5465762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646DE265-C562-36CB-0C30-4671E1CB3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CD35D0DD-DA94-0A0E-B97F-EF36C5D728C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5602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54657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21413" y="2779200"/>
            <a:ext cx="5465762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DC299CB8-0BBC-8F99-3A55-1EC65D92F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CA7EED8B-DC44-6308-7811-47999623C070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636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5465762" cy="355586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21413" y="2779200"/>
            <a:ext cx="5465762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5FC7F492-196B-B13C-5498-B44AD9160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BE91467-06A9-22A7-6494-CCD0CCC8E628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2337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3362326" y="1"/>
            <a:ext cx="8829674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2606675" cy="12408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2606675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11880" y="2779200"/>
            <a:ext cx="8075295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DB169178-52B3-6F00-BADD-B5088F2E4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4627334B-9C94-F490-AE7A-452DAECEE3CC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8685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4314824" y="1"/>
            <a:ext cx="7877175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3560762" cy="12408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3552508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560570" y="2779200"/>
            <a:ext cx="7126605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08BC27D4-9670-D7CD-B776-D85990AD0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11EE406C-213E-D3FB-D4A8-D06B7B29AC6B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7346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5268913" y="1"/>
            <a:ext cx="6923086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4513262" cy="12408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45132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32120" y="2779200"/>
            <a:ext cx="6155055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CA800389-18A2-1076-16B4-C97DF0AB3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4D67D08-27C4-A130-829C-CDC9149823AC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563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>
            <a:extLst>
              <a:ext uri="{FF2B5EF4-FFF2-40B4-BE49-F238E27FC236}">
                <a16:creationId xmlns:a16="http://schemas.microsoft.com/office/drawing/2014/main" id="{04944E74-3F13-C916-62FF-0EEBA9F46DC3}"/>
              </a:ext>
            </a:extLst>
          </p:cNvPr>
          <p:cNvGrpSpPr/>
          <p:nvPr userDrawn="1"/>
        </p:nvGrpSpPr>
        <p:grpSpPr>
          <a:xfrm>
            <a:off x="10031367" y="808305"/>
            <a:ext cx="1655808" cy="598633"/>
            <a:chOff x="503203" y="2022640"/>
            <a:chExt cx="2039472" cy="737341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057DC92E-0ED3-1246-9042-B6A3AFD3D4A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16583" y="2289811"/>
              <a:ext cx="926092" cy="470170"/>
            </a:xfrm>
            <a:prstGeom prst="rect">
              <a:avLst/>
            </a:prstGeom>
          </p:spPr>
        </p:pic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AAE988D-7207-7C49-4282-194AF7CE7531}"/>
                </a:ext>
              </a:extLst>
            </p:cNvPr>
            <p:cNvSpPr txBox="1"/>
            <p:nvPr/>
          </p:nvSpPr>
          <p:spPr>
            <a:xfrm>
              <a:off x="503237" y="2022640"/>
              <a:ext cx="979318" cy="1895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Oscine Trial" panose="020B0506040202020204" pitchFamily="34" charset="0"/>
                  <a:cs typeface="Oscine Trial" panose="020B0506040202020204" pitchFamily="34" charset="0"/>
                </a:rPr>
                <a:t>Partnership of: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F46FAF3E-F6A3-D45A-33C9-71CBEF222D3C}"/>
                </a:ext>
              </a:extLst>
            </p:cNvPr>
            <p:cNvGrpSpPr/>
            <p:nvPr/>
          </p:nvGrpSpPr>
          <p:grpSpPr>
            <a:xfrm>
              <a:off x="503203" y="2289771"/>
              <a:ext cx="859744" cy="468658"/>
              <a:chOff x="503203" y="2289771"/>
              <a:chExt cx="859744" cy="468658"/>
            </a:xfrm>
          </p:grpSpPr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22E79DD-EEE2-F68F-6A96-F25B36E26F37}"/>
                  </a:ext>
                </a:extLst>
              </p:cNvPr>
              <p:cNvSpPr/>
              <p:nvPr/>
            </p:nvSpPr>
            <p:spPr>
              <a:xfrm>
                <a:off x="503203" y="2289771"/>
                <a:ext cx="462960" cy="468658"/>
              </a:xfrm>
              <a:custGeom>
                <a:avLst/>
                <a:gdLst>
                  <a:gd name="connsiteX0" fmla="*/ 254381 w 462960"/>
                  <a:gd name="connsiteY0" fmla="*/ 894 h 468658"/>
                  <a:gd name="connsiteX1" fmla="*/ 326780 w 462960"/>
                  <a:gd name="connsiteY1" fmla="*/ 20556 h 468658"/>
                  <a:gd name="connsiteX2" fmla="*/ 436539 w 462960"/>
                  <a:gd name="connsiteY2" fmla="*/ 125382 h 468658"/>
                  <a:gd name="connsiteX3" fmla="*/ 460707 w 462960"/>
                  <a:gd name="connsiteY3" fmla="*/ 201785 h 468658"/>
                  <a:gd name="connsiteX4" fmla="*/ 438228 w 462960"/>
                  <a:gd name="connsiteY4" fmla="*/ 339310 h 468658"/>
                  <a:gd name="connsiteX5" fmla="*/ 282454 w 462960"/>
                  <a:gd name="connsiteY5" fmla="*/ 462836 h 468658"/>
                  <a:gd name="connsiteX6" fmla="*/ 221559 w 462960"/>
                  <a:gd name="connsiteY6" fmla="*/ 468393 h 468658"/>
                  <a:gd name="connsiteX7" fmla="*/ 83832 w 462960"/>
                  <a:gd name="connsiteY7" fmla="*/ 414751 h 468658"/>
                  <a:gd name="connsiteX8" fmla="*/ 6579 w 462960"/>
                  <a:gd name="connsiteY8" fmla="*/ 290476 h 468658"/>
                  <a:gd name="connsiteX9" fmla="*/ 36 w 462960"/>
                  <a:gd name="connsiteY9" fmla="*/ 238971 h 468658"/>
                  <a:gd name="connsiteX10" fmla="*/ 43201 w 462960"/>
                  <a:gd name="connsiteY10" fmla="*/ 97813 h 468658"/>
                  <a:gd name="connsiteX11" fmla="*/ 175122 w 462960"/>
                  <a:gd name="connsiteY11" fmla="*/ 6771 h 468658"/>
                  <a:gd name="connsiteX12" fmla="*/ 214699 w 462960"/>
                  <a:gd name="connsiteY12" fmla="*/ 467 h 468658"/>
                  <a:gd name="connsiteX13" fmla="*/ 254381 w 462960"/>
                  <a:gd name="connsiteY13" fmla="*/ 894 h 46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960" h="468658">
                    <a:moveTo>
                      <a:pt x="254381" y="894"/>
                    </a:moveTo>
                    <a:cubicBezTo>
                      <a:pt x="279605" y="3352"/>
                      <a:pt x="303773" y="9870"/>
                      <a:pt x="326780" y="20556"/>
                    </a:cubicBezTo>
                    <a:cubicBezTo>
                      <a:pt x="375011" y="42996"/>
                      <a:pt x="411632" y="78045"/>
                      <a:pt x="436539" y="125382"/>
                    </a:cubicBezTo>
                    <a:cubicBezTo>
                      <a:pt x="449098" y="149318"/>
                      <a:pt x="457224" y="174857"/>
                      <a:pt x="460707" y="201785"/>
                    </a:cubicBezTo>
                    <a:cubicBezTo>
                      <a:pt x="467039" y="249871"/>
                      <a:pt x="460179" y="296140"/>
                      <a:pt x="438228" y="339310"/>
                    </a:cubicBezTo>
                    <a:cubicBezTo>
                      <a:pt x="405089" y="404386"/>
                      <a:pt x="352848" y="445525"/>
                      <a:pt x="282454" y="462836"/>
                    </a:cubicBezTo>
                    <a:cubicBezTo>
                      <a:pt x="262508" y="467752"/>
                      <a:pt x="242139" y="469355"/>
                      <a:pt x="221559" y="468393"/>
                    </a:cubicBezTo>
                    <a:cubicBezTo>
                      <a:pt x="169846" y="465828"/>
                      <a:pt x="123726" y="448197"/>
                      <a:pt x="83832" y="414751"/>
                    </a:cubicBezTo>
                    <a:cubicBezTo>
                      <a:pt x="44678" y="381946"/>
                      <a:pt x="19032" y="340378"/>
                      <a:pt x="6579" y="290476"/>
                    </a:cubicBezTo>
                    <a:cubicBezTo>
                      <a:pt x="2463" y="273593"/>
                      <a:pt x="352" y="256389"/>
                      <a:pt x="36" y="238971"/>
                    </a:cubicBezTo>
                    <a:cubicBezTo>
                      <a:pt x="-809" y="187146"/>
                      <a:pt x="13333" y="139915"/>
                      <a:pt x="43201" y="97813"/>
                    </a:cubicBezTo>
                    <a:cubicBezTo>
                      <a:pt x="76234" y="51331"/>
                      <a:pt x="120454" y="21197"/>
                      <a:pt x="175122" y="6771"/>
                    </a:cubicBezTo>
                    <a:cubicBezTo>
                      <a:pt x="188104" y="3352"/>
                      <a:pt x="201296" y="1322"/>
                      <a:pt x="214699" y="467"/>
                    </a:cubicBezTo>
                    <a:cubicBezTo>
                      <a:pt x="232324" y="-709"/>
                      <a:pt x="251743" y="681"/>
                      <a:pt x="254381" y="894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80" name="Graphic 34">
                <a:extLst>
                  <a:ext uri="{FF2B5EF4-FFF2-40B4-BE49-F238E27FC236}">
                    <a16:creationId xmlns:a16="http://schemas.microsoft.com/office/drawing/2014/main" id="{3C9485F4-B957-6329-9993-8908214BE7B3}"/>
                  </a:ext>
                </a:extLst>
              </p:cNvPr>
              <p:cNvGrpSpPr/>
              <p:nvPr/>
            </p:nvGrpSpPr>
            <p:grpSpPr>
              <a:xfrm>
                <a:off x="548303" y="2503310"/>
                <a:ext cx="376030" cy="49261"/>
                <a:chOff x="548303" y="2503310"/>
                <a:chExt cx="376030" cy="49261"/>
              </a:xfrm>
              <a:solidFill>
                <a:srgbClr val="FFFFFF"/>
              </a:solidFill>
            </p:grpSpPr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DD618A9E-90A7-2AD7-4EE0-0FF1C8FEA04E}"/>
                    </a:ext>
                  </a:extLst>
                </p:cNvPr>
                <p:cNvSpPr/>
                <p:nvPr/>
              </p:nvSpPr>
              <p:spPr>
                <a:xfrm>
                  <a:off x="548303" y="2504806"/>
                  <a:ext cx="43798" cy="46375"/>
                </a:xfrm>
                <a:custGeom>
                  <a:avLst/>
                  <a:gdLst>
                    <a:gd name="connsiteX0" fmla="*/ 27651 w 43798"/>
                    <a:gd name="connsiteY0" fmla="*/ 46376 h 46375"/>
                    <a:gd name="connsiteX1" fmla="*/ 18786 w 43798"/>
                    <a:gd name="connsiteY1" fmla="*/ 30027 h 46375"/>
                    <a:gd name="connsiteX2" fmla="*/ 14564 w 43798"/>
                    <a:gd name="connsiteY2" fmla="*/ 30027 h 46375"/>
                    <a:gd name="connsiteX3" fmla="*/ 14564 w 43798"/>
                    <a:gd name="connsiteY3" fmla="*/ 46376 h 46375"/>
                    <a:gd name="connsiteX4" fmla="*/ 0 w 43798"/>
                    <a:gd name="connsiteY4" fmla="*/ 46376 h 46375"/>
                    <a:gd name="connsiteX5" fmla="*/ 0 w 43798"/>
                    <a:gd name="connsiteY5" fmla="*/ 0 h 46375"/>
                    <a:gd name="connsiteX6" fmla="*/ 24801 w 43798"/>
                    <a:gd name="connsiteY6" fmla="*/ 0 h 46375"/>
                    <a:gd name="connsiteX7" fmla="*/ 28706 w 43798"/>
                    <a:gd name="connsiteY7" fmla="*/ 214 h 46375"/>
                    <a:gd name="connsiteX8" fmla="*/ 39893 w 43798"/>
                    <a:gd name="connsiteY8" fmla="*/ 6518 h 46375"/>
                    <a:gd name="connsiteX9" fmla="*/ 42004 w 43798"/>
                    <a:gd name="connsiteY9" fmla="*/ 14853 h 46375"/>
                    <a:gd name="connsiteX10" fmla="*/ 36622 w 43798"/>
                    <a:gd name="connsiteY10" fmla="*/ 25752 h 46375"/>
                    <a:gd name="connsiteX11" fmla="*/ 32611 w 43798"/>
                    <a:gd name="connsiteY11" fmla="*/ 27676 h 46375"/>
                    <a:gd name="connsiteX12" fmla="*/ 43798 w 43798"/>
                    <a:gd name="connsiteY12" fmla="*/ 46376 h 46375"/>
                    <a:gd name="connsiteX13" fmla="*/ 27545 w 43798"/>
                    <a:gd name="connsiteY13" fmla="*/ 46376 h 46375"/>
                    <a:gd name="connsiteX14" fmla="*/ 26595 w 43798"/>
                    <a:gd name="connsiteY14" fmla="*/ 11861 h 46375"/>
                    <a:gd name="connsiteX15" fmla="*/ 25223 w 43798"/>
                    <a:gd name="connsiteY15" fmla="*/ 10686 h 46375"/>
                    <a:gd name="connsiteX16" fmla="*/ 20369 w 43798"/>
                    <a:gd name="connsiteY16" fmla="*/ 9724 h 46375"/>
                    <a:gd name="connsiteX17" fmla="*/ 14459 w 43798"/>
                    <a:gd name="connsiteY17" fmla="*/ 9724 h 46375"/>
                    <a:gd name="connsiteX18" fmla="*/ 14459 w 43798"/>
                    <a:gd name="connsiteY18" fmla="*/ 20517 h 46375"/>
                    <a:gd name="connsiteX19" fmla="*/ 20474 w 43798"/>
                    <a:gd name="connsiteY19" fmla="*/ 20517 h 46375"/>
                    <a:gd name="connsiteX20" fmla="*/ 27123 w 43798"/>
                    <a:gd name="connsiteY20" fmla="*/ 17204 h 46375"/>
                    <a:gd name="connsiteX21" fmla="*/ 27440 w 43798"/>
                    <a:gd name="connsiteY21" fmla="*/ 15174 h 46375"/>
                    <a:gd name="connsiteX22" fmla="*/ 26490 w 43798"/>
                    <a:gd name="connsiteY22" fmla="*/ 11861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3798" h="46375">
                      <a:moveTo>
                        <a:pt x="27651" y="46376"/>
                      </a:moveTo>
                      <a:lnTo>
                        <a:pt x="18786" y="30027"/>
                      </a:lnTo>
                      <a:lnTo>
                        <a:pt x="14564" y="30027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lnTo>
                        <a:pt x="0" y="0"/>
                      </a:lnTo>
                      <a:lnTo>
                        <a:pt x="24801" y="0"/>
                      </a:lnTo>
                      <a:cubicBezTo>
                        <a:pt x="26068" y="0"/>
                        <a:pt x="27440" y="0"/>
                        <a:pt x="28706" y="214"/>
                      </a:cubicBezTo>
                      <a:cubicBezTo>
                        <a:pt x="30711" y="427"/>
                        <a:pt x="36516" y="962"/>
                        <a:pt x="39893" y="6518"/>
                      </a:cubicBezTo>
                      <a:cubicBezTo>
                        <a:pt x="40632" y="7907"/>
                        <a:pt x="42004" y="10793"/>
                        <a:pt x="42004" y="14853"/>
                      </a:cubicBezTo>
                      <a:cubicBezTo>
                        <a:pt x="42004" y="19234"/>
                        <a:pt x="40315" y="23295"/>
                        <a:pt x="36622" y="25752"/>
                      </a:cubicBezTo>
                      <a:cubicBezTo>
                        <a:pt x="35672" y="26394"/>
                        <a:pt x="34827" y="26821"/>
                        <a:pt x="32611" y="27676"/>
                      </a:cubicBezTo>
                      <a:lnTo>
                        <a:pt x="43798" y="46376"/>
                      </a:lnTo>
                      <a:lnTo>
                        <a:pt x="27545" y="46376"/>
                      </a:lnTo>
                      <a:close/>
                      <a:moveTo>
                        <a:pt x="26595" y="11861"/>
                      </a:moveTo>
                      <a:cubicBezTo>
                        <a:pt x="26173" y="11220"/>
                        <a:pt x="25540" y="10793"/>
                        <a:pt x="25223" y="10686"/>
                      </a:cubicBezTo>
                      <a:cubicBezTo>
                        <a:pt x="23746" y="9831"/>
                        <a:pt x="22057" y="9724"/>
                        <a:pt x="20369" y="9724"/>
                      </a:cubicBezTo>
                      <a:lnTo>
                        <a:pt x="14459" y="9724"/>
                      </a:lnTo>
                      <a:lnTo>
                        <a:pt x="14459" y="20517"/>
                      </a:lnTo>
                      <a:lnTo>
                        <a:pt x="20474" y="20517"/>
                      </a:lnTo>
                      <a:cubicBezTo>
                        <a:pt x="23113" y="20517"/>
                        <a:pt x="26068" y="20196"/>
                        <a:pt x="27123" y="17204"/>
                      </a:cubicBezTo>
                      <a:cubicBezTo>
                        <a:pt x="27123" y="16990"/>
                        <a:pt x="27440" y="16135"/>
                        <a:pt x="27440" y="15174"/>
                      </a:cubicBezTo>
                      <a:cubicBezTo>
                        <a:pt x="27440" y="14105"/>
                        <a:pt x="27123" y="12823"/>
                        <a:pt x="26490" y="118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566B70E0-F76A-5768-6258-158C2B5019F4}"/>
                    </a:ext>
                  </a:extLst>
                </p:cNvPr>
                <p:cNvSpPr/>
                <p:nvPr/>
              </p:nvSpPr>
              <p:spPr>
                <a:xfrm>
                  <a:off x="598961" y="2504806"/>
                  <a:ext cx="38204" cy="46375"/>
                </a:xfrm>
                <a:custGeom>
                  <a:avLst/>
                  <a:gdLst>
                    <a:gd name="connsiteX0" fmla="*/ 106 w 38204"/>
                    <a:gd name="connsiteY0" fmla="*/ 46376 h 46375"/>
                    <a:gd name="connsiteX1" fmla="*/ 106 w 38204"/>
                    <a:gd name="connsiteY1" fmla="*/ 0 h 46375"/>
                    <a:gd name="connsiteX2" fmla="*/ 36305 w 38204"/>
                    <a:gd name="connsiteY2" fmla="*/ 0 h 46375"/>
                    <a:gd name="connsiteX3" fmla="*/ 36305 w 38204"/>
                    <a:gd name="connsiteY3" fmla="*/ 10151 h 46375"/>
                    <a:gd name="connsiteX4" fmla="*/ 14564 w 38204"/>
                    <a:gd name="connsiteY4" fmla="*/ 10151 h 46375"/>
                    <a:gd name="connsiteX5" fmla="*/ 14564 w 38204"/>
                    <a:gd name="connsiteY5" fmla="*/ 16990 h 46375"/>
                    <a:gd name="connsiteX6" fmla="*/ 34827 w 38204"/>
                    <a:gd name="connsiteY6" fmla="*/ 16990 h 46375"/>
                    <a:gd name="connsiteX7" fmla="*/ 34827 w 38204"/>
                    <a:gd name="connsiteY7" fmla="*/ 27035 h 46375"/>
                    <a:gd name="connsiteX8" fmla="*/ 14459 w 38204"/>
                    <a:gd name="connsiteY8" fmla="*/ 27035 h 46375"/>
                    <a:gd name="connsiteX9" fmla="*/ 14459 w 38204"/>
                    <a:gd name="connsiteY9" fmla="*/ 36224 h 46375"/>
                    <a:gd name="connsiteX10" fmla="*/ 38205 w 38204"/>
                    <a:gd name="connsiteY10" fmla="*/ 36224 h 46375"/>
                    <a:gd name="connsiteX11" fmla="*/ 38205 w 38204"/>
                    <a:gd name="connsiteY11" fmla="*/ 46269 h 46375"/>
                    <a:gd name="connsiteX12" fmla="*/ 0 w 38204"/>
                    <a:gd name="connsiteY12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375">
                      <a:moveTo>
                        <a:pt x="106" y="46376"/>
                      </a:moveTo>
                      <a:lnTo>
                        <a:pt x="106" y="0"/>
                      </a:lnTo>
                      <a:lnTo>
                        <a:pt x="36305" y="0"/>
                      </a:lnTo>
                      <a:lnTo>
                        <a:pt x="36305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" name="Freeform 97">
                  <a:extLst>
                    <a:ext uri="{FF2B5EF4-FFF2-40B4-BE49-F238E27FC236}">
                      <a16:creationId xmlns:a16="http://schemas.microsoft.com/office/drawing/2014/main" id="{ED0657BD-5C6F-D35E-39B6-A9675E0624E8}"/>
                    </a:ext>
                  </a:extLst>
                </p:cNvPr>
                <p:cNvSpPr/>
                <p:nvPr/>
              </p:nvSpPr>
              <p:spPr>
                <a:xfrm>
                  <a:off x="643392" y="2503310"/>
                  <a:ext cx="45064" cy="49261"/>
                </a:xfrm>
                <a:custGeom>
                  <a:avLst/>
                  <a:gdLst>
                    <a:gd name="connsiteX0" fmla="*/ 38838 w 45064"/>
                    <a:gd name="connsiteY0" fmla="*/ 44987 h 49261"/>
                    <a:gd name="connsiteX1" fmla="*/ 23324 w 45064"/>
                    <a:gd name="connsiteY1" fmla="*/ 49261 h 49261"/>
                    <a:gd name="connsiteX2" fmla="*/ 4855 w 45064"/>
                    <a:gd name="connsiteY2" fmla="*/ 44025 h 49261"/>
                    <a:gd name="connsiteX3" fmla="*/ 0 w 45064"/>
                    <a:gd name="connsiteY3" fmla="*/ 39003 h 49261"/>
                    <a:gd name="connsiteX4" fmla="*/ 11081 w 45064"/>
                    <a:gd name="connsiteY4" fmla="*/ 31843 h 49261"/>
                    <a:gd name="connsiteX5" fmla="*/ 13298 w 45064"/>
                    <a:gd name="connsiteY5" fmla="*/ 34622 h 49261"/>
                    <a:gd name="connsiteX6" fmla="*/ 23851 w 45064"/>
                    <a:gd name="connsiteY6" fmla="*/ 37934 h 49261"/>
                    <a:gd name="connsiteX7" fmla="*/ 30817 w 45064"/>
                    <a:gd name="connsiteY7" fmla="*/ 34408 h 49261"/>
                    <a:gd name="connsiteX8" fmla="*/ 30500 w 45064"/>
                    <a:gd name="connsiteY8" fmla="*/ 33339 h 49261"/>
                    <a:gd name="connsiteX9" fmla="*/ 28284 w 45064"/>
                    <a:gd name="connsiteY9" fmla="*/ 31630 h 49261"/>
                    <a:gd name="connsiteX10" fmla="*/ 19630 w 45064"/>
                    <a:gd name="connsiteY10" fmla="*/ 29813 h 49261"/>
                    <a:gd name="connsiteX11" fmla="*/ 7810 w 45064"/>
                    <a:gd name="connsiteY11" fmla="*/ 25005 h 49261"/>
                    <a:gd name="connsiteX12" fmla="*/ 3905 w 45064"/>
                    <a:gd name="connsiteY12" fmla="*/ 15601 h 49261"/>
                    <a:gd name="connsiteX13" fmla="*/ 5593 w 45064"/>
                    <a:gd name="connsiteY13" fmla="*/ 8549 h 49261"/>
                    <a:gd name="connsiteX14" fmla="*/ 24168 w 45064"/>
                    <a:gd name="connsiteY14" fmla="*/ 0 h 49261"/>
                    <a:gd name="connsiteX15" fmla="*/ 41265 w 45064"/>
                    <a:gd name="connsiteY15" fmla="*/ 5022 h 49261"/>
                    <a:gd name="connsiteX16" fmla="*/ 44748 w 45064"/>
                    <a:gd name="connsiteY16" fmla="*/ 8228 h 49261"/>
                    <a:gd name="connsiteX17" fmla="*/ 35566 w 45064"/>
                    <a:gd name="connsiteY17" fmla="*/ 15922 h 49261"/>
                    <a:gd name="connsiteX18" fmla="*/ 34300 w 45064"/>
                    <a:gd name="connsiteY18" fmla="*/ 14426 h 49261"/>
                    <a:gd name="connsiteX19" fmla="*/ 23640 w 45064"/>
                    <a:gd name="connsiteY19" fmla="*/ 11220 h 49261"/>
                    <a:gd name="connsiteX20" fmla="*/ 20158 w 45064"/>
                    <a:gd name="connsiteY20" fmla="*/ 11861 h 49261"/>
                    <a:gd name="connsiteX21" fmla="*/ 18364 w 45064"/>
                    <a:gd name="connsiteY21" fmla="*/ 14319 h 49261"/>
                    <a:gd name="connsiteX22" fmla="*/ 19524 w 45064"/>
                    <a:gd name="connsiteY22" fmla="*/ 16456 h 49261"/>
                    <a:gd name="connsiteX23" fmla="*/ 24696 w 45064"/>
                    <a:gd name="connsiteY23" fmla="*/ 17952 h 49261"/>
                    <a:gd name="connsiteX24" fmla="*/ 35144 w 45064"/>
                    <a:gd name="connsiteY24" fmla="*/ 20303 h 49261"/>
                    <a:gd name="connsiteX25" fmla="*/ 45065 w 45064"/>
                    <a:gd name="connsiteY25" fmla="*/ 33019 h 49261"/>
                    <a:gd name="connsiteX26" fmla="*/ 39049 w 45064"/>
                    <a:gd name="connsiteY26" fmla="*/ 45200 h 49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5064" h="49261">
                      <a:moveTo>
                        <a:pt x="38838" y="44987"/>
                      </a:moveTo>
                      <a:cubicBezTo>
                        <a:pt x="32928" y="49368"/>
                        <a:pt x="25223" y="49261"/>
                        <a:pt x="23324" y="49261"/>
                      </a:cubicBezTo>
                      <a:cubicBezTo>
                        <a:pt x="16675" y="49261"/>
                        <a:pt x="10343" y="48192"/>
                        <a:pt x="4855" y="44025"/>
                      </a:cubicBezTo>
                      <a:cubicBezTo>
                        <a:pt x="2744" y="42422"/>
                        <a:pt x="1583" y="41033"/>
                        <a:pt x="0" y="39003"/>
                      </a:cubicBezTo>
                      <a:lnTo>
                        <a:pt x="11081" y="31843"/>
                      </a:lnTo>
                      <a:cubicBezTo>
                        <a:pt x="12031" y="33446"/>
                        <a:pt x="12665" y="34087"/>
                        <a:pt x="13298" y="34622"/>
                      </a:cubicBezTo>
                      <a:cubicBezTo>
                        <a:pt x="15936" y="36866"/>
                        <a:pt x="20685" y="37934"/>
                        <a:pt x="23851" y="37934"/>
                      </a:cubicBezTo>
                      <a:cubicBezTo>
                        <a:pt x="27967" y="37934"/>
                        <a:pt x="30817" y="36652"/>
                        <a:pt x="30817" y="34408"/>
                      </a:cubicBezTo>
                      <a:cubicBezTo>
                        <a:pt x="30817" y="33874"/>
                        <a:pt x="30606" y="33446"/>
                        <a:pt x="30500" y="33339"/>
                      </a:cubicBezTo>
                      <a:cubicBezTo>
                        <a:pt x="30184" y="32698"/>
                        <a:pt x="29656" y="32057"/>
                        <a:pt x="28284" y="31630"/>
                      </a:cubicBezTo>
                      <a:cubicBezTo>
                        <a:pt x="26701" y="30989"/>
                        <a:pt x="23746" y="30668"/>
                        <a:pt x="19630" y="29813"/>
                      </a:cubicBezTo>
                      <a:cubicBezTo>
                        <a:pt x="13298" y="28531"/>
                        <a:pt x="9921" y="27035"/>
                        <a:pt x="7810" y="25005"/>
                      </a:cubicBezTo>
                      <a:cubicBezTo>
                        <a:pt x="6332" y="23722"/>
                        <a:pt x="3799" y="20623"/>
                        <a:pt x="3905" y="15601"/>
                      </a:cubicBezTo>
                      <a:cubicBezTo>
                        <a:pt x="3905" y="14319"/>
                        <a:pt x="3905" y="11541"/>
                        <a:pt x="5593" y="8549"/>
                      </a:cubicBezTo>
                      <a:cubicBezTo>
                        <a:pt x="10237" y="-107"/>
                        <a:pt x="22374" y="0"/>
                        <a:pt x="24168" y="0"/>
                      </a:cubicBezTo>
                      <a:cubicBezTo>
                        <a:pt x="26490" y="0"/>
                        <a:pt x="34722" y="107"/>
                        <a:pt x="41265" y="5022"/>
                      </a:cubicBezTo>
                      <a:cubicBezTo>
                        <a:pt x="42743" y="6091"/>
                        <a:pt x="43481" y="6946"/>
                        <a:pt x="44748" y="8228"/>
                      </a:cubicBezTo>
                      <a:lnTo>
                        <a:pt x="35566" y="15922"/>
                      </a:lnTo>
                      <a:cubicBezTo>
                        <a:pt x="34933" y="15174"/>
                        <a:pt x="34616" y="14746"/>
                        <a:pt x="34300" y="14426"/>
                      </a:cubicBezTo>
                      <a:cubicBezTo>
                        <a:pt x="31661" y="11968"/>
                        <a:pt x="27018" y="11220"/>
                        <a:pt x="23640" y="11220"/>
                      </a:cubicBezTo>
                      <a:cubicBezTo>
                        <a:pt x="23324" y="11220"/>
                        <a:pt x="21530" y="11220"/>
                        <a:pt x="20158" y="11861"/>
                      </a:cubicBezTo>
                      <a:cubicBezTo>
                        <a:pt x="19947" y="11968"/>
                        <a:pt x="18364" y="12716"/>
                        <a:pt x="18364" y="14319"/>
                      </a:cubicBezTo>
                      <a:cubicBezTo>
                        <a:pt x="18364" y="15174"/>
                        <a:pt x="18891" y="15922"/>
                        <a:pt x="19524" y="16456"/>
                      </a:cubicBezTo>
                      <a:cubicBezTo>
                        <a:pt x="20685" y="17204"/>
                        <a:pt x="23429" y="17738"/>
                        <a:pt x="24696" y="17952"/>
                      </a:cubicBezTo>
                      <a:cubicBezTo>
                        <a:pt x="26279" y="18166"/>
                        <a:pt x="30606" y="18807"/>
                        <a:pt x="35144" y="20303"/>
                      </a:cubicBezTo>
                      <a:cubicBezTo>
                        <a:pt x="37994" y="21265"/>
                        <a:pt x="45065" y="23829"/>
                        <a:pt x="45065" y="33019"/>
                      </a:cubicBezTo>
                      <a:cubicBezTo>
                        <a:pt x="45065" y="39858"/>
                        <a:pt x="41054" y="43598"/>
                        <a:pt x="39049" y="452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0FC986B2-2888-9308-7B58-E4A4ED046B61}"/>
                    </a:ext>
                  </a:extLst>
                </p:cNvPr>
                <p:cNvSpPr/>
                <p:nvPr/>
              </p:nvSpPr>
              <p:spPr>
                <a:xfrm>
                  <a:off x="697850" y="2504806"/>
                  <a:ext cx="14564" cy="46375"/>
                </a:xfrm>
                <a:custGeom>
                  <a:avLst/>
                  <a:gdLst>
                    <a:gd name="connsiteX0" fmla="*/ 0 w 14564"/>
                    <a:gd name="connsiteY0" fmla="*/ 46376 h 46375"/>
                    <a:gd name="connsiteX1" fmla="*/ 0 w 14564"/>
                    <a:gd name="connsiteY1" fmla="*/ 0 h 46375"/>
                    <a:gd name="connsiteX2" fmla="*/ 14564 w 14564"/>
                    <a:gd name="connsiteY2" fmla="*/ 0 h 46375"/>
                    <a:gd name="connsiteX3" fmla="*/ 14564 w 14564"/>
                    <a:gd name="connsiteY3" fmla="*/ 46376 h 46375"/>
                    <a:gd name="connsiteX4" fmla="*/ 0 w 14564"/>
                    <a:gd name="connsiteY4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64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564" y="0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4F553CB4-16F8-60E1-54A8-8569391A09C5}"/>
                    </a:ext>
                  </a:extLst>
                </p:cNvPr>
                <p:cNvSpPr/>
                <p:nvPr/>
              </p:nvSpPr>
              <p:spPr>
                <a:xfrm>
                  <a:off x="723073" y="2504806"/>
                  <a:ext cx="32188" cy="46375"/>
                </a:xfrm>
                <a:custGeom>
                  <a:avLst/>
                  <a:gdLst>
                    <a:gd name="connsiteX0" fmla="*/ 0 w 32188"/>
                    <a:gd name="connsiteY0" fmla="*/ 46376 h 46375"/>
                    <a:gd name="connsiteX1" fmla="*/ 0 w 32188"/>
                    <a:gd name="connsiteY1" fmla="*/ 0 h 46375"/>
                    <a:gd name="connsiteX2" fmla="*/ 14459 w 32188"/>
                    <a:gd name="connsiteY2" fmla="*/ 0 h 46375"/>
                    <a:gd name="connsiteX3" fmla="*/ 14459 w 32188"/>
                    <a:gd name="connsiteY3" fmla="*/ 34622 h 46375"/>
                    <a:gd name="connsiteX4" fmla="*/ 32189 w 32188"/>
                    <a:gd name="connsiteY4" fmla="*/ 34622 h 46375"/>
                    <a:gd name="connsiteX5" fmla="*/ 32189 w 32188"/>
                    <a:gd name="connsiteY5" fmla="*/ 46269 h 46375"/>
                    <a:gd name="connsiteX6" fmla="*/ 0 w 32188"/>
                    <a:gd name="connsiteY6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188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34622"/>
                      </a:lnTo>
                      <a:lnTo>
                        <a:pt x="32189" y="34622"/>
                      </a:lnTo>
                      <a:lnTo>
                        <a:pt x="3218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824FF729-664A-B463-4729-C6CEF92CEE6A}"/>
                    </a:ext>
                  </a:extLst>
                </p:cNvPr>
                <p:cNvSpPr/>
                <p:nvPr/>
              </p:nvSpPr>
              <p:spPr>
                <a:xfrm>
                  <a:off x="763072" y="2504806"/>
                  <a:ext cx="14564" cy="46375"/>
                </a:xfrm>
                <a:custGeom>
                  <a:avLst/>
                  <a:gdLst>
                    <a:gd name="connsiteX0" fmla="*/ 0 w 14564"/>
                    <a:gd name="connsiteY0" fmla="*/ 46376 h 46375"/>
                    <a:gd name="connsiteX1" fmla="*/ 0 w 14564"/>
                    <a:gd name="connsiteY1" fmla="*/ 0 h 46375"/>
                    <a:gd name="connsiteX2" fmla="*/ 14564 w 14564"/>
                    <a:gd name="connsiteY2" fmla="*/ 0 h 46375"/>
                    <a:gd name="connsiteX3" fmla="*/ 14564 w 14564"/>
                    <a:gd name="connsiteY3" fmla="*/ 46376 h 46375"/>
                    <a:gd name="connsiteX4" fmla="*/ 0 w 14564"/>
                    <a:gd name="connsiteY4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64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564" y="0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eform 101">
                  <a:extLst>
                    <a:ext uri="{FF2B5EF4-FFF2-40B4-BE49-F238E27FC236}">
                      <a16:creationId xmlns:a16="http://schemas.microsoft.com/office/drawing/2014/main" id="{E9256115-6461-EE82-174D-2DF38EF4109A}"/>
                    </a:ext>
                  </a:extLst>
                </p:cNvPr>
                <p:cNvSpPr/>
                <p:nvPr/>
              </p:nvSpPr>
              <p:spPr>
                <a:xfrm>
                  <a:off x="788084" y="2504806"/>
                  <a:ext cx="38204" cy="46375"/>
                </a:xfrm>
                <a:custGeom>
                  <a:avLst/>
                  <a:gdLst>
                    <a:gd name="connsiteX0" fmla="*/ 106 w 38204"/>
                    <a:gd name="connsiteY0" fmla="*/ 46376 h 46375"/>
                    <a:gd name="connsiteX1" fmla="*/ 106 w 38204"/>
                    <a:gd name="connsiteY1" fmla="*/ 0 h 46375"/>
                    <a:gd name="connsiteX2" fmla="*/ 36305 w 38204"/>
                    <a:gd name="connsiteY2" fmla="*/ 0 h 46375"/>
                    <a:gd name="connsiteX3" fmla="*/ 36305 w 38204"/>
                    <a:gd name="connsiteY3" fmla="*/ 10151 h 46375"/>
                    <a:gd name="connsiteX4" fmla="*/ 14564 w 38204"/>
                    <a:gd name="connsiteY4" fmla="*/ 10151 h 46375"/>
                    <a:gd name="connsiteX5" fmla="*/ 14564 w 38204"/>
                    <a:gd name="connsiteY5" fmla="*/ 16990 h 46375"/>
                    <a:gd name="connsiteX6" fmla="*/ 34827 w 38204"/>
                    <a:gd name="connsiteY6" fmla="*/ 16990 h 46375"/>
                    <a:gd name="connsiteX7" fmla="*/ 34827 w 38204"/>
                    <a:gd name="connsiteY7" fmla="*/ 27035 h 46375"/>
                    <a:gd name="connsiteX8" fmla="*/ 14459 w 38204"/>
                    <a:gd name="connsiteY8" fmla="*/ 27035 h 46375"/>
                    <a:gd name="connsiteX9" fmla="*/ 14459 w 38204"/>
                    <a:gd name="connsiteY9" fmla="*/ 36224 h 46375"/>
                    <a:gd name="connsiteX10" fmla="*/ 38205 w 38204"/>
                    <a:gd name="connsiteY10" fmla="*/ 36224 h 46375"/>
                    <a:gd name="connsiteX11" fmla="*/ 38205 w 38204"/>
                    <a:gd name="connsiteY11" fmla="*/ 46269 h 46375"/>
                    <a:gd name="connsiteX12" fmla="*/ 0 w 38204"/>
                    <a:gd name="connsiteY12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375">
                      <a:moveTo>
                        <a:pt x="106" y="46376"/>
                      </a:moveTo>
                      <a:lnTo>
                        <a:pt x="106" y="0"/>
                      </a:lnTo>
                      <a:lnTo>
                        <a:pt x="36305" y="0"/>
                      </a:lnTo>
                      <a:lnTo>
                        <a:pt x="36305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eform 102">
                  <a:extLst>
                    <a:ext uri="{FF2B5EF4-FFF2-40B4-BE49-F238E27FC236}">
                      <a16:creationId xmlns:a16="http://schemas.microsoft.com/office/drawing/2014/main" id="{3AB2A8C0-8DD7-AD33-244F-67F55F63BB01}"/>
                    </a:ext>
                  </a:extLst>
                </p:cNvPr>
                <p:cNvSpPr/>
                <p:nvPr/>
              </p:nvSpPr>
              <p:spPr>
                <a:xfrm>
                  <a:off x="834943" y="2504806"/>
                  <a:ext cx="44220" cy="46375"/>
                </a:xfrm>
                <a:custGeom>
                  <a:avLst/>
                  <a:gdLst>
                    <a:gd name="connsiteX0" fmla="*/ 28495 w 44220"/>
                    <a:gd name="connsiteY0" fmla="*/ 46376 h 46375"/>
                    <a:gd name="connsiteX1" fmla="*/ 13298 w 44220"/>
                    <a:gd name="connsiteY1" fmla="*/ 19448 h 46375"/>
                    <a:gd name="connsiteX2" fmla="*/ 13298 w 44220"/>
                    <a:gd name="connsiteY2" fmla="*/ 46376 h 46375"/>
                    <a:gd name="connsiteX3" fmla="*/ 0 w 44220"/>
                    <a:gd name="connsiteY3" fmla="*/ 46376 h 46375"/>
                    <a:gd name="connsiteX4" fmla="*/ 0 w 44220"/>
                    <a:gd name="connsiteY4" fmla="*/ 0 h 46375"/>
                    <a:gd name="connsiteX5" fmla="*/ 15408 w 44220"/>
                    <a:gd name="connsiteY5" fmla="*/ 0 h 46375"/>
                    <a:gd name="connsiteX6" fmla="*/ 30923 w 44220"/>
                    <a:gd name="connsiteY6" fmla="*/ 26928 h 46375"/>
                    <a:gd name="connsiteX7" fmla="*/ 30711 w 44220"/>
                    <a:gd name="connsiteY7" fmla="*/ 0 h 46375"/>
                    <a:gd name="connsiteX8" fmla="*/ 44220 w 44220"/>
                    <a:gd name="connsiteY8" fmla="*/ 0 h 46375"/>
                    <a:gd name="connsiteX9" fmla="*/ 44220 w 44220"/>
                    <a:gd name="connsiteY9" fmla="*/ 46376 h 46375"/>
                    <a:gd name="connsiteX10" fmla="*/ 28601 w 44220"/>
                    <a:gd name="connsiteY10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4220" h="46375">
                      <a:moveTo>
                        <a:pt x="28495" y="46376"/>
                      </a:moveTo>
                      <a:lnTo>
                        <a:pt x="13298" y="19448"/>
                      </a:lnTo>
                      <a:lnTo>
                        <a:pt x="13298" y="46376"/>
                      </a:lnTo>
                      <a:cubicBezTo>
                        <a:pt x="13298" y="46376"/>
                        <a:pt x="0" y="46376"/>
                        <a:pt x="0" y="46376"/>
                      </a:cubicBezTo>
                      <a:lnTo>
                        <a:pt x="0" y="0"/>
                      </a:lnTo>
                      <a:lnTo>
                        <a:pt x="15408" y="0"/>
                      </a:lnTo>
                      <a:lnTo>
                        <a:pt x="30923" y="26928"/>
                      </a:lnTo>
                      <a:lnTo>
                        <a:pt x="30711" y="0"/>
                      </a:lnTo>
                      <a:lnTo>
                        <a:pt x="44220" y="0"/>
                      </a:lnTo>
                      <a:lnTo>
                        <a:pt x="44220" y="46376"/>
                      </a:lnTo>
                      <a:lnTo>
                        <a:pt x="28601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eform 103">
                  <a:extLst>
                    <a:ext uri="{FF2B5EF4-FFF2-40B4-BE49-F238E27FC236}">
                      <a16:creationId xmlns:a16="http://schemas.microsoft.com/office/drawing/2014/main" id="{F2E1D0F2-C3BE-E81B-22B0-C1D5E8EA274A}"/>
                    </a:ext>
                  </a:extLst>
                </p:cNvPr>
                <p:cNvSpPr/>
                <p:nvPr/>
              </p:nvSpPr>
              <p:spPr>
                <a:xfrm>
                  <a:off x="886656" y="2504913"/>
                  <a:ext cx="37676" cy="46375"/>
                </a:xfrm>
                <a:custGeom>
                  <a:avLst/>
                  <a:gdLst>
                    <a:gd name="connsiteX0" fmla="*/ 26173 w 37676"/>
                    <a:gd name="connsiteY0" fmla="*/ 11434 h 46375"/>
                    <a:gd name="connsiteX1" fmla="*/ 26173 w 37676"/>
                    <a:gd name="connsiteY1" fmla="*/ 46376 h 46375"/>
                    <a:gd name="connsiteX2" fmla="*/ 11715 w 37676"/>
                    <a:gd name="connsiteY2" fmla="*/ 46376 h 46375"/>
                    <a:gd name="connsiteX3" fmla="*/ 11715 w 37676"/>
                    <a:gd name="connsiteY3" fmla="*/ 11434 h 46375"/>
                    <a:gd name="connsiteX4" fmla="*/ 0 w 37676"/>
                    <a:gd name="connsiteY4" fmla="*/ 11434 h 46375"/>
                    <a:gd name="connsiteX5" fmla="*/ 0 w 37676"/>
                    <a:gd name="connsiteY5" fmla="*/ 0 h 46375"/>
                    <a:gd name="connsiteX6" fmla="*/ 37677 w 37676"/>
                    <a:gd name="connsiteY6" fmla="*/ 0 h 46375"/>
                    <a:gd name="connsiteX7" fmla="*/ 37677 w 37676"/>
                    <a:gd name="connsiteY7" fmla="*/ 11434 h 46375"/>
                    <a:gd name="connsiteX8" fmla="*/ 26068 w 37676"/>
                    <a:gd name="connsiteY8" fmla="*/ 11434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676" h="46375">
                      <a:moveTo>
                        <a:pt x="26173" y="11434"/>
                      </a:moveTo>
                      <a:lnTo>
                        <a:pt x="26173" y="46376"/>
                      </a:lnTo>
                      <a:lnTo>
                        <a:pt x="11715" y="46376"/>
                      </a:lnTo>
                      <a:lnTo>
                        <a:pt x="11715" y="11434"/>
                      </a:lnTo>
                      <a:lnTo>
                        <a:pt x="0" y="11434"/>
                      </a:lnTo>
                      <a:lnTo>
                        <a:pt x="0" y="0"/>
                      </a:lnTo>
                      <a:lnTo>
                        <a:pt x="37677" y="0"/>
                      </a:lnTo>
                      <a:lnTo>
                        <a:pt x="37677" y="11434"/>
                      </a:lnTo>
                      <a:lnTo>
                        <a:pt x="26068" y="1143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" name="Graphic 34">
                <a:extLst>
                  <a:ext uri="{FF2B5EF4-FFF2-40B4-BE49-F238E27FC236}">
                    <a16:creationId xmlns:a16="http://schemas.microsoft.com/office/drawing/2014/main" id="{E176C7E4-027C-68D1-4FFE-6860F0E459C0}"/>
                  </a:ext>
                </a:extLst>
              </p:cNvPr>
              <p:cNvGrpSpPr/>
              <p:nvPr/>
            </p:nvGrpSpPr>
            <p:grpSpPr>
              <a:xfrm>
                <a:off x="1010874" y="2503417"/>
                <a:ext cx="236720" cy="49474"/>
                <a:chOff x="1010874" y="2503417"/>
                <a:chExt cx="236720" cy="49474"/>
              </a:xfrm>
              <a:solidFill>
                <a:srgbClr val="000000"/>
              </a:solidFill>
            </p:grpSpPr>
            <p:sp>
              <p:nvSpPr>
                <p:cNvPr id="90" name="Freeform 89">
                  <a:extLst>
                    <a:ext uri="{FF2B5EF4-FFF2-40B4-BE49-F238E27FC236}">
                      <a16:creationId xmlns:a16="http://schemas.microsoft.com/office/drawing/2014/main" id="{EE9D6790-2257-4E17-ACD1-8F5703FFF33E}"/>
                    </a:ext>
                  </a:extLst>
                </p:cNvPr>
                <p:cNvSpPr/>
                <p:nvPr/>
              </p:nvSpPr>
              <p:spPr>
                <a:xfrm>
                  <a:off x="1010874" y="2503417"/>
                  <a:ext cx="46014" cy="49474"/>
                </a:xfrm>
                <a:custGeom>
                  <a:avLst/>
                  <a:gdLst>
                    <a:gd name="connsiteX0" fmla="*/ 42426 w 46014"/>
                    <a:gd name="connsiteY0" fmla="*/ 41567 h 49474"/>
                    <a:gd name="connsiteX1" fmla="*/ 23746 w 46014"/>
                    <a:gd name="connsiteY1" fmla="*/ 49475 h 49474"/>
                    <a:gd name="connsiteX2" fmla="*/ 8232 w 46014"/>
                    <a:gd name="connsiteY2" fmla="*/ 44132 h 49474"/>
                    <a:gd name="connsiteX3" fmla="*/ 0 w 46014"/>
                    <a:gd name="connsiteY3" fmla="*/ 25111 h 49474"/>
                    <a:gd name="connsiteX4" fmla="*/ 4749 w 46014"/>
                    <a:gd name="connsiteY4" fmla="*/ 9617 h 49474"/>
                    <a:gd name="connsiteX5" fmla="*/ 23746 w 46014"/>
                    <a:gd name="connsiteY5" fmla="*/ 0 h 49474"/>
                    <a:gd name="connsiteX6" fmla="*/ 42954 w 46014"/>
                    <a:gd name="connsiteY6" fmla="*/ 8442 h 49474"/>
                    <a:gd name="connsiteX7" fmla="*/ 45909 w 46014"/>
                    <a:gd name="connsiteY7" fmla="*/ 12930 h 49474"/>
                    <a:gd name="connsiteX8" fmla="*/ 33772 w 46014"/>
                    <a:gd name="connsiteY8" fmla="*/ 19021 h 49474"/>
                    <a:gd name="connsiteX9" fmla="*/ 33139 w 46014"/>
                    <a:gd name="connsiteY9" fmla="*/ 17631 h 49474"/>
                    <a:gd name="connsiteX10" fmla="*/ 24274 w 46014"/>
                    <a:gd name="connsiteY10" fmla="*/ 11327 h 49474"/>
                    <a:gd name="connsiteX11" fmla="*/ 18997 w 46014"/>
                    <a:gd name="connsiteY11" fmla="*/ 12930 h 49474"/>
                    <a:gd name="connsiteX12" fmla="*/ 14670 w 46014"/>
                    <a:gd name="connsiteY12" fmla="*/ 24257 h 49474"/>
                    <a:gd name="connsiteX13" fmla="*/ 18891 w 46014"/>
                    <a:gd name="connsiteY13" fmla="*/ 35797 h 49474"/>
                    <a:gd name="connsiteX14" fmla="*/ 24379 w 46014"/>
                    <a:gd name="connsiteY14" fmla="*/ 37614 h 49474"/>
                    <a:gd name="connsiteX15" fmla="*/ 32611 w 46014"/>
                    <a:gd name="connsiteY15" fmla="*/ 32591 h 49474"/>
                    <a:gd name="connsiteX16" fmla="*/ 33667 w 46014"/>
                    <a:gd name="connsiteY16" fmla="*/ 29920 h 49474"/>
                    <a:gd name="connsiteX17" fmla="*/ 46014 w 46014"/>
                    <a:gd name="connsiteY17" fmla="*/ 35904 h 49474"/>
                    <a:gd name="connsiteX18" fmla="*/ 42426 w 46014"/>
                    <a:gd name="connsiteY18" fmla="*/ 41460 h 49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6014" h="49474">
                      <a:moveTo>
                        <a:pt x="42426" y="41567"/>
                      </a:moveTo>
                      <a:cubicBezTo>
                        <a:pt x="39682" y="44666"/>
                        <a:pt x="33878" y="49475"/>
                        <a:pt x="23746" y="49475"/>
                      </a:cubicBezTo>
                      <a:cubicBezTo>
                        <a:pt x="17941" y="49475"/>
                        <a:pt x="12770" y="48086"/>
                        <a:pt x="8232" y="44132"/>
                      </a:cubicBezTo>
                      <a:cubicBezTo>
                        <a:pt x="633" y="37614"/>
                        <a:pt x="0" y="28424"/>
                        <a:pt x="0" y="25111"/>
                      </a:cubicBezTo>
                      <a:cubicBezTo>
                        <a:pt x="0" y="22333"/>
                        <a:pt x="317" y="15922"/>
                        <a:pt x="4749" y="9617"/>
                      </a:cubicBezTo>
                      <a:cubicBezTo>
                        <a:pt x="11081" y="641"/>
                        <a:pt x="19736" y="0"/>
                        <a:pt x="23746" y="0"/>
                      </a:cubicBezTo>
                      <a:cubicBezTo>
                        <a:pt x="34194" y="0"/>
                        <a:pt x="40421" y="5557"/>
                        <a:pt x="42954" y="8442"/>
                      </a:cubicBezTo>
                      <a:cubicBezTo>
                        <a:pt x="44326" y="10045"/>
                        <a:pt x="44959" y="11113"/>
                        <a:pt x="45909" y="12930"/>
                      </a:cubicBezTo>
                      <a:lnTo>
                        <a:pt x="33772" y="19021"/>
                      </a:lnTo>
                      <a:cubicBezTo>
                        <a:pt x="33772" y="19021"/>
                        <a:pt x="33350" y="18059"/>
                        <a:pt x="33139" y="17631"/>
                      </a:cubicBezTo>
                      <a:cubicBezTo>
                        <a:pt x="32400" y="16029"/>
                        <a:pt x="30078" y="11220"/>
                        <a:pt x="24274" y="11327"/>
                      </a:cubicBezTo>
                      <a:cubicBezTo>
                        <a:pt x="21635" y="11327"/>
                        <a:pt x="19947" y="12289"/>
                        <a:pt x="18997" y="12930"/>
                      </a:cubicBezTo>
                      <a:cubicBezTo>
                        <a:pt x="14459" y="16349"/>
                        <a:pt x="14670" y="22974"/>
                        <a:pt x="14670" y="24257"/>
                      </a:cubicBezTo>
                      <a:cubicBezTo>
                        <a:pt x="14670" y="30668"/>
                        <a:pt x="16675" y="33980"/>
                        <a:pt x="18891" y="35797"/>
                      </a:cubicBezTo>
                      <a:cubicBezTo>
                        <a:pt x="21108" y="37614"/>
                        <a:pt x="23218" y="37614"/>
                        <a:pt x="24379" y="37614"/>
                      </a:cubicBezTo>
                      <a:cubicBezTo>
                        <a:pt x="29339" y="37614"/>
                        <a:pt x="31661" y="34194"/>
                        <a:pt x="32611" y="32591"/>
                      </a:cubicBezTo>
                      <a:cubicBezTo>
                        <a:pt x="32928" y="31950"/>
                        <a:pt x="33244" y="31309"/>
                        <a:pt x="33667" y="29920"/>
                      </a:cubicBezTo>
                      <a:lnTo>
                        <a:pt x="46014" y="35904"/>
                      </a:lnTo>
                      <a:cubicBezTo>
                        <a:pt x="44431" y="38896"/>
                        <a:pt x="43587" y="40071"/>
                        <a:pt x="42426" y="4146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" name="Freeform 90">
                  <a:extLst>
                    <a:ext uri="{FF2B5EF4-FFF2-40B4-BE49-F238E27FC236}">
                      <a16:creationId xmlns:a16="http://schemas.microsoft.com/office/drawing/2014/main" id="{E20E58BF-07A6-B332-32A5-7F5E3C5C1CE5}"/>
                    </a:ext>
                  </a:extLst>
                </p:cNvPr>
                <p:cNvSpPr/>
                <p:nvPr/>
              </p:nvSpPr>
              <p:spPr>
                <a:xfrm>
                  <a:off x="1065331" y="2505127"/>
                  <a:ext cx="14458" cy="46269"/>
                </a:xfrm>
                <a:custGeom>
                  <a:avLst/>
                  <a:gdLst>
                    <a:gd name="connsiteX0" fmla="*/ 0 w 14458"/>
                    <a:gd name="connsiteY0" fmla="*/ 46269 h 46269"/>
                    <a:gd name="connsiteX1" fmla="*/ 0 w 14458"/>
                    <a:gd name="connsiteY1" fmla="*/ 0 h 46269"/>
                    <a:gd name="connsiteX2" fmla="*/ 14459 w 14458"/>
                    <a:gd name="connsiteY2" fmla="*/ 0 h 46269"/>
                    <a:gd name="connsiteX3" fmla="*/ 14459 w 14458"/>
                    <a:gd name="connsiteY3" fmla="*/ 46269 h 46269"/>
                    <a:gd name="connsiteX4" fmla="*/ 0 w 14458"/>
                    <a:gd name="connsiteY4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8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" name="Freeform 91">
                  <a:extLst>
                    <a:ext uri="{FF2B5EF4-FFF2-40B4-BE49-F238E27FC236}">
                      <a16:creationId xmlns:a16="http://schemas.microsoft.com/office/drawing/2014/main" id="{121C08D6-F206-7380-A309-C4FF3ADA5502}"/>
                    </a:ext>
                  </a:extLst>
                </p:cNvPr>
                <p:cNvSpPr/>
                <p:nvPr/>
              </p:nvSpPr>
              <p:spPr>
                <a:xfrm>
                  <a:off x="1087494" y="2505020"/>
                  <a:ext cx="37676" cy="46269"/>
                </a:xfrm>
                <a:custGeom>
                  <a:avLst/>
                  <a:gdLst>
                    <a:gd name="connsiteX0" fmla="*/ 26068 w 37676"/>
                    <a:gd name="connsiteY0" fmla="*/ 11434 h 46269"/>
                    <a:gd name="connsiteX1" fmla="*/ 26068 w 37676"/>
                    <a:gd name="connsiteY1" fmla="*/ 46269 h 46269"/>
                    <a:gd name="connsiteX2" fmla="*/ 11609 w 37676"/>
                    <a:gd name="connsiteY2" fmla="*/ 46269 h 46269"/>
                    <a:gd name="connsiteX3" fmla="*/ 11609 w 37676"/>
                    <a:gd name="connsiteY3" fmla="*/ 11434 h 46269"/>
                    <a:gd name="connsiteX4" fmla="*/ 0 w 37676"/>
                    <a:gd name="connsiteY4" fmla="*/ 11434 h 46269"/>
                    <a:gd name="connsiteX5" fmla="*/ 0 w 37676"/>
                    <a:gd name="connsiteY5" fmla="*/ 0 h 46269"/>
                    <a:gd name="connsiteX6" fmla="*/ 37677 w 37676"/>
                    <a:gd name="connsiteY6" fmla="*/ 0 h 46269"/>
                    <a:gd name="connsiteX7" fmla="*/ 37677 w 37676"/>
                    <a:gd name="connsiteY7" fmla="*/ 11434 h 46269"/>
                    <a:gd name="connsiteX8" fmla="*/ 26068 w 37676"/>
                    <a:gd name="connsiteY8" fmla="*/ 11434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676" h="46269">
                      <a:moveTo>
                        <a:pt x="26068" y="11434"/>
                      </a:moveTo>
                      <a:lnTo>
                        <a:pt x="26068" y="46269"/>
                      </a:lnTo>
                      <a:lnTo>
                        <a:pt x="11609" y="46269"/>
                      </a:lnTo>
                      <a:lnTo>
                        <a:pt x="11609" y="11434"/>
                      </a:lnTo>
                      <a:lnTo>
                        <a:pt x="0" y="11434"/>
                      </a:lnTo>
                      <a:lnTo>
                        <a:pt x="0" y="0"/>
                      </a:lnTo>
                      <a:lnTo>
                        <a:pt x="37677" y="0"/>
                      </a:lnTo>
                      <a:lnTo>
                        <a:pt x="37677" y="11434"/>
                      </a:lnTo>
                      <a:lnTo>
                        <a:pt x="26068" y="114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" name="Freeform 92">
                  <a:extLst>
                    <a:ext uri="{FF2B5EF4-FFF2-40B4-BE49-F238E27FC236}">
                      <a16:creationId xmlns:a16="http://schemas.microsoft.com/office/drawing/2014/main" id="{8CC90EA5-C9AA-CB56-6729-33FF7E2CC2E2}"/>
                    </a:ext>
                  </a:extLst>
                </p:cNvPr>
                <p:cNvSpPr/>
                <p:nvPr/>
              </p:nvSpPr>
              <p:spPr>
                <a:xfrm>
                  <a:off x="1132981" y="2505127"/>
                  <a:ext cx="14458" cy="46269"/>
                </a:xfrm>
                <a:custGeom>
                  <a:avLst/>
                  <a:gdLst>
                    <a:gd name="connsiteX0" fmla="*/ 0 w 14458"/>
                    <a:gd name="connsiteY0" fmla="*/ 46269 h 46269"/>
                    <a:gd name="connsiteX1" fmla="*/ 0 w 14458"/>
                    <a:gd name="connsiteY1" fmla="*/ 0 h 46269"/>
                    <a:gd name="connsiteX2" fmla="*/ 14459 w 14458"/>
                    <a:gd name="connsiteY2" fmla="*/ 0 h 46269"/>
                    <a:gd name="connsiteX3" fmla="*/ 14459 w 14458"/>
                    <a:gd name="connsiteY3" fmla="*/ 46269 h 46269"/>
                    <a:gd name="connsiteX4" fmla="*/ 0 w 14458"/>
                    <a:gd name="connsiteY4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8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" name="Freeform 93">
                  <a:extLst>
                    <a:ext uri="{FF2B5EF4-FFF2-40B4-BE49-F238E27FC236}">
                      <a16:creationId xmlns:a16="http://schemas.microsoft.com/office/drawing/2014/main" id="{D49B1373-7849-7D05-A900-0EDE64340B97}"/>
                    </a:ext>
                  </a:extLst>
                </p:cNvPr>
                <p:cNvSpPr/>
                <p:nvPr/>
              </p:nvSpPr>
              <p:spPr>
                <a:xfrm>
                  <a:off x="1158099" y="2505127"/>
                  <a:ext cx="38204" cy="46269"/>
                </a:xfrm>
                <a:custGeom>
                  <a:avLst/>
                  <a:gdLst>
                    <a:gd name="connsiteX0" fmla="*/ 0 w 38204"/>
                    <a:gd name="connsiteY0" fmla="*/ 46269 h 46269"/>
                    <a:gd name="connsiteX1" fmla="*/ 0 w 38204"/>
                    <a:gd name="connsiteY1" fmla="*/ 0 h 46269"/>
                    <a:gd name="connsiteX2" fmla="*/ 36199 w 38204"/>
                    <a:gd name="connsiteY2" fmla="*/ 0 h 46269"/>
                    <a:gd name="connsiteX3" fmla="*/ 36199 w 38204"/>
                    <a:gd name="connsiteY3" fmla="*/ 10151 h 46269"/>
                    <a:gd name="connsiteX4" fmla="*/ 14564 w 38204"/>
                    <a:gd name="connsiteY4" fmla="*/ 10151 h 46269"/>
                    <a:gd name="connsiteX5" fmla="*/ 14564 w 38204"/>
                    <a:gd name="connsiteY5" fmla="*/ 16990 h 46269"/>
                    <a:gd name="connsiteX6" fmla="*/ 34827 w 38204"/>
                    <a:gd name="connsiteY6" fmla="*/ 16990 h 46269"/>
                    <a:gd name="connsiteX7" fmla="*/ 34827 w 38204"/>
                    <a:gd name="connsiteY7" fmla="*/ 27035 h 46269"/>
                    <a:gd name="connsiteX8" fmla="*/ 14459 w 38204"/>
                    <a:gd name="connsiteY8" fmla="*/ 27035 h 46269"/>
                    <a:gd name="connsiteX9" fmla="*/ 14459 w 38204"/>
                    <a:gd name="connsiteY9" fmla="*/ 36224 h 46269"/>
                    <a:gd name="connsiteX10" fmla="*/ 38205 w 38204"/>
                    <a:gd name="connsiteY10" fmla="*/ 36224 h 46269"/>
                    <a:gd name="connsiteX11" fmla="*/ 38205 w 38204"/>
                    <a:gd name="connsiteY11" fmla="*/ 46269 h 46269"/>
                    <a:gd name="connsiteX12" fmla="*/ 106 w 38204"/>
                    <a:gd name="connsiteY12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36199" y="0"/>
                      </a:lnTo>
                      <a:lnTo>
                        <a:pt x="36199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106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E8FD6EBF-AAA4-BD39-6351-554983156264}"/>
                    </a:ext>
                  </a:extLst>
                </p:cNvPr>
                <p:cNvSpPr/>
                <p:nvPr/>
              </p:nvSpPr>
              <p:spPr>
                <a:xfrm>
                  <a:off x="1202636" y="2503524"/>
                  <a:ext cx="44959" cy="49261"/>
                </a:xfrm>
                <a:custGeom>
                  <a:avLst/>
                  <a:gdLst>
                    <a:gd name="connsiteX0" fmla="*/ 38838 w 44959"/>
                    <a:gd name="connsiteY0" fmla="*/ 44987 h 49261"/>
                    <a:gd name="connsiteX1" fmla="*/ 23324 w 44959"/>
                    <a:gd name="connsiteY1" fmla="*/ 49261 h 49261"/>
                    <a:gd name="connsiteX2" fmla="*/ 4855 w 44959"/>
                    <a:gd name="connsiteY2" fmla="*/ 44025 h 49261"/>
                    <a:gd name="connsiteX3" fmla="*/ 0 w 44959"/>
                    <a:gd name="connsiteY3" fmla="*/ 39003 h 49261"/>
                    <a:gd name="connsiteX4" fmla="*/ 11081 w 44959"/>
                    <a:gd name="connsiteY4" fmla="*/ 31843 h 49261"/>
                    <a:gd name="connsiteX5" fmla="*/ 13298 w 44959"/>
                    <a:gd name="connsiteY5" fmla="*/ 34622 h 49261"/>
                    <a:gd name="connsiteX6" fmla="*/ 23852 w 44959"/>
                    <a:gd name="connsiteY6" fmla="*/ 37934 h 49261"/>
                    <a:gd name="connsiteX7" fmla="*/ 30817 w 44959"/>
                    <a:gd name="connsiteY7" fmla="*/ 34408 h 49261"/>
                    <a:gd name="connsiteX8" fmla="*/ 30500 w 44959"/>
                    <a:gd name="connsiteY8" fmla="*/ 33339 h 49261"/>
                    <a:gd name="connsiteX9" fmla="*/ 28284 w 44959"/>
                    <a:gd name="connsiteY9" fmla="*/ 31630 h 49261"/>
                    <a:gd name="connsiteX10" fmla="*/ 19630 w 44959"/>
                    <a:gd name="connsiteY10" fmla="*/ 29813 h 49261"/>
                    <a:gd name="connsiteX11" fmla="*/ 7810 w 44959"/>
                    <a:gd name="connsiteY11" fmla="*/ 25005 h 49261"/>
                    <a:gd name="connsiteX12" fmla="*/ 3905 w 44959"/>
                    <a:gd name="connsiteY12" fmla="*/ 15601 h 49261"/>
                    <a:gd name="connsiteX13" fmla="*/ 5594 w 44959"/>
                    <a:gd name="connsiteY13" fmla="*/ 8549 h 49261"/>
                    <a:gd name="connsiteX14" fmla="*/ 24063 w 44959"/>
                    <a:gd name="connsiteY14" fmla="*/ 0 h 49261"/>
                    <a:gd name="connsiteX15" fmla="*/ 41160 w 44959"/>
                    <a:gd name="connsiteY15" fmla="*/ 5022 h 49261"/>
                    <a:gd name="connsiteX16" fmla="*/ 44642 w 44959"/>
                    <a:gd name="connsiteY16" fmla="*/ 8228 h 49261"/>
                    <a:gd name="connsiteX17" fmla="*/ 35566 w 44959"/>
                    <a:gd name="connsiteY17" fmla="*/ 15922 h 49261"/>
                    <a:gd name="connsiteX18" fmla="*/ 34300 w 44959"/>
                    <a:gd name="connsiteY18" fmla="*/ 14426 h 49261"/>
                    <a:gd name="connsiteX19" fmla="*/ 23640 w 44959"/>
                    <a:gd name="connsiteY19" fmla="*/ 11220 h 49261"/>
                    <a:gd name="connsiteX20" fmla="*/ 20158 w 44959"/>
                    <a:gd name="connsiteY20" fmla="*/ 11861 h 49261"/>
                    <a:gd name="connsiteX21" fmla="*/ 18364 w 44959"/>
                    <a:gd name="connsiteY21" fmla="*/ 14319 h 49261"/>
                    <a:gd name="connsiteX22" fmla="*/ 19525 w 44959"/>
                    <a:gd name="connsiteY22" fmla="*/ 16456 h 49261"/>
                    <a:gd name="connsiteX23" fmla="*/ 24590 w 44959"/>
                    <a:gd name="connsiteY23" fmla="*/ 17845 h 49261"/>
                    <a:gd name="connsiteX24" fmla="*/ 35038 w 44959"/>
                    <a:gd name="connsiteY24" fmla="*/ 20196 h 49261"/>
                    <a:gd name="connsiteX25" fmla="*/ 44959 w 44959"/>
                    <a:gd name="connsiteY25" fmla="*/ 32912 h 49261"/>
                    <a:gd name="connsiteX26" fmla="*/ 38943 w 44959"/>
                    <a:gd name="connsiteY26" fmla="*/ 44987 h 49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4959" h="49261">
                      <a:moveTo>
                        <a:pt x="38838" y="44987"/>
                      </a:moveTo>
                      <a:cubicBezTo>
                        <a:pt x="32928" y="49368"/>
                        <a:pt x="25224" y="49261"/>
                        <a:pt x="23324" y="49261"/>
                      </a:cubicBezTo>
                      <a:cubicBezTo>
                        <a:pt x="16675" y="49261"/>
                        <a:pt x="10343" y="48192"/>
                        <a:pt x="4855" y="44025"/>
                      </a:cubicBezTo>
                      <a:cubicBezTo>
                        <a:pt x="2744" y="42422"/>
                        <a:pt x="1583" y="41033"/>
                        <a:pt x="0" y="39003"/>
                      </a:cubicBezTo>
                      <a:lnTo>
                        <a:pt x="11081" y="31843"/>
                      </a:lnTo>
                      <a:cubicBezTo>
                        <a:pt x="12031" y="33446"/>
                        <a:pt x="12665" y="34087"/>
                        <a:pt x="13298" y="34622"/>
                      </a:cubicBezTo>
                      <a:cubicBezTo>
                        <a:pt x="15936" y="36866"/>
                        <a:pt x="20685" y="37934"/>
                        <a:pt x="23852" y="37934"/>
                      </a:cubicBezTo>
                      <a:cubicBezTo>
                        <a:pt x="27967" y="37934"/>
                        <a:pt x="30817" y="36652"/>
                        <a:pt x="30817" y="34408"/>
                      </a:cubicBezTo>
                      <a:cubicBezTo>
                        <a:pt x="30817" y="33874"/>
                        <a:pt x="30606" y="33446"/>
                        <a:pt x="30500" y="33339"/>
                      </a:cubicBezTo>
                      <a:cubicBezTo>
                        <a:pt x="30184" y="32698"/>
                        <a:pt x="29656" y="32057"/>
                        <a:pt x="28284" y="31630"/>
                      </a:cubicBezTo>
                      <a:cubicBezTo>
                        <a:pt x="26701" y="30989"/>
                        <a:pt x="23746" y="30668"/>
                        <a:pt x="19630" y="29813"/>
                      </a:cubicBezTo>
                      <a:cubicBezTo>
                        <a:pt x="13298" y="28531"/>
                        <a:pt x="10026" y="27035"/>
                        <a:pt x="7810" y="25005"/>
                      </a:cubicBezTo>
                      <a:cubicBezTo>
                        <a:pt x="6438" y="23722"/>
                        <a:pt x="3799" y="20730"/>
                        <a:pt x="3905" y="15601"/>
                      </a:cubicBezTo>
                      <a:cubicBezTo>
                        <a:pt x="3905" y="14319"/>
                        <a:pt x="3905" y="11541"/>
                        <a:pt x="5594" y="8549"/>
                      </a:cubicBezTo>
                      <a:cubicBezTo>
                        <a:pt x="10237" y="-107"/>
                        <a:pt x="22374" y="0"/>
                        <a:pt x="24063" y="0"/>
                      </a:cubicBezTo>
                      <a:cubicBezTo>
                        <a:pt x="26384" y="0"/>
                        <a:pt x="34616" y="107"/>
                        <a:pt x="41160" y="5022"/>
                      </a:cubicBezTo>
                      <a:cubicBezTo>
                        <a:pt x="42532" y="6091"/>
                        <a:pt x="43376" y="6946"/>
                        <a:pt x="44642" y="8228"/>
                      </a:cubicBezTo>
                      <a:lnTo>
                        <a:pt x="35566" y="15922"/>
                      </a:lnTo>
                      <a:cubicBezTo>
                        <a:pt x="34933" y="15174"/>
                        <a:pt x="34616" y="14746"/>
                        <a:pt x="34300" y="14426"/>
                      </a:cubicBezTo>
                      <a:cubicBezTo>
                        <a:pt x="31661" y="11968"/>
                        <a:pt x="27018" y="11220"/>
                        <a:pt x="23640" y="11220"/>
                      </a:cubicBezTo>
                      <a:cubicBezTo>
                        <a:pt x="23324" y="11220"/>
                        <a:pt x="21530" y="11220"/>
                        <a:pt x="20158" y="11861"/>
                      </a:cubicBezTo>
                      <a:cubicBezTo>
                        <a:pt x="19947" y="11968"/>
                        <a:pt x="18364" y="12716"/>
                        <a:pt x="18364" y="14319"/>
                      </a:cubicBezTo>
                      <a:cubicBezTo>
                        <a:pt x="18364" y="15174"/>
                        <a:pt x="18891" y="15922"/>
                        <a:pt x="19525" y="16456"/>
                      </a:cubicBezTo>
                      <a:cubicBezTo>
                        <a:pt x="20685" y="17204"/>
                        <a:pt x="23429" y="17738"/>
                        <a:pt x="24590" y="17845"/>
                      </a:cubicBezTo>
                      <a:cubicBezTo>
                        <a:pt x="26173" y="18059"/>
                        <a:pt x="30500" y="18700"/>
                        <a:pt x="35038" y="20196"/>
                      </a:cubicBezTo>
                      <a:cubicBezTo>
                        <a:pt x="37888" y="21158"/>
                        <a:pt x="44959" y="23722"/>
                        <a:pt x="44959" y="32912"/>
                      </a:cubicBezTo>
                      <a:cubicBezTo>
                        <a:pt x="44959" y="39751"/>
                        <a:pt x="40949" y="43491"/>
                        <a:pt x="38943" y="4498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" name="Graphic 34">
                <a:extLst>
                  <a:ext uri="{FF2B5EF4-FFF2-40B4-BE49-F238E27FC236}">
                    <a16:creationId xmlns:a16="http://schemas.microsoft.com/office/drawing/2014/main" id="{8CEE347D-2CCB-1B7A-0C1C-D43795D4391C}"/>
                  </a:ext>
                </a:extLst>
              </p:cNvPr>
              <p:cNvGrpSpPr/>
              <p:nvPr/>
            </p:nvGrpSpPr>
            <p:grpSpPr>
              <a:xfrm>
                <a:off x="1010874" y="2572554"/>
                <a:ext cx="352073" cy="49047"/>
                <a:chOff x="1010874" y="2572554"/>
                <a:chExt cx="352073" cy="49047"/>
              </a:xfrm>
              <a:solidFill>
                <a:srgbClr val="000000"/>
              </a:solidFill>
            </p:grpSpPr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008D68BE-211A-DAEC-7E9D-CFEDCB4593F4}"/>
                    </a:ext>
                  </a:extLst>
                </p:cNvPr>
                <p:cNvSpPr/>
                <p:nvPr/>
              </p:nvSpPr>
              <p:spPr>
                <a:xfrm>
                  <a:off x="1010874" y="2574050"/>
                  <a:ext cx="38415" cy="46269"/>
                </a:xfrm>
                <a:custGeom>
                  <a:avLst/>
                  <a:gdLst>
                    <a:gd name="connsiteX0" fmla="*/ 27123 w 38415"/>
                    <a:gd name="connsiteY0" fmla="*/ 46269 h 46269"/>
                    <a:gd name="connsiteX1" fmla="*/ 10976 w 38415"/>
                    <a:gd name="connsiteY1" fmla="*/ 18273 h 46269"/>
                    <a:gd name="connsiteX2" fmla="*/ 10976 w 38415"/>
                    <a:gd name="connsiteY2" fmla="*/ 46269 h 46269"/>
                    <a:gd name="connsiteX3" fmla="*/ 0 w 38415"/>
                    <a:gd name="connsiteY3" fmla="*/ 46269 h 46269"/>
                    <a:gd name="connsiteX4" fmla="*/ 0 w 38415"/>
                    <a:gd name="connsiteY4" fmla="*/ 0 h 46269"/>
                    <a:gd name="connsiteX5" fmla="*/ 11187 w 38415"/>
                    <a:gd name="connsiteY5" fmla="*/ 0 h 46269"/>
                    <a:gd name="connsiteX6" fmla="*/ 27440 w 38415"/>
                    <a:gd name="connsiteY6" fmla="*/ 28210 h 46269"/>
                    <a:gd name="connsiteX7" fmla="*/ 27440 w 38415"/>
                    <a:gd name="connsiteY7" fmla="*/ 0 h 46269"/>
                    <a:gd name="connsiteX8" fmla="*/ 38416 w 38415"/>
                    <a:gd name="connsiteY8" fmla="*/ 0 h 46269"/>
                    <a:gd name="connsiteX9" fmla="*/ 38416 w 38415"/>
                    <a:gd name="connsiteY9" fmla="*/ 46269 h 46269"/>
                    <a:gd name="connsiteX10" fmla="*/ 27229 w 38415"/>
                    <a:gd name="connsiteY10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8415" h="46269">
                      <a:moveTo>
                        <a:pt x="27123" y="46269"/>
                      </a:moveTo>
                      <a:lnTo>
                        <a:pt x="10976" y="18273"/>
                      </a:lnTo>
                      <a:lnTo>
                        <a:pt x="10976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11187" y="0"/>
                      </a:lnTo>
                      <a:lnTo>
                        <a:pt x="27440" y="28210"/>
                      </a:lnTo>
                      <a:lnTo>
                        <a:pt x="27440" y="0"/>
                      </a:lnTo>
                      <a:lnTo>
                        <a:pt x="38416" y="0"/>
                      </a:lnTo>
                      <a:lnTo>
                        <a:pt x="38416" y="46269"/>
                      </a:lnTo>
                      <a:lnTo>
                        <a:pt x="27229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F52FE003-AD8D-707F-FFE2-6BE670282330}"/>
                    </a:ext>
                  </a:extLst>
                </p:cNvPr>
                <p:cNvSpPr/>
                <p:nvPr/>
              </p:nvSpPr>
              <p:spPr>
                <a:xfrm>
                  <a:off x="1061638" y="2574050"/>
                  <a:ext cx="35882" cy="46269"/>
                </a:xfrm>
                <a:custGeom>
                  <a:avLst/>
                  <a:gdLst>
                    <a:gd name="connsiteX0" fmla="*/ 0 w 35882"/>
                    <a:gd name="connsiteY0" fmla="*/ 46269 h 46269"/>
                    <a:gd name="connsiteX1" fmla="*/ 0 w 35882"/>
                    <a:gd name="connsiteY1" fmla="*/ 0 h 46269"/>
                    <a:gd name="connsiteX2" fmla="*/ 33772 w 35882"/>
                    <a:gd name="connsiteY2" fmla="*/ 0 h 46269"/>
                    <a:gd name="connsiteX3" fmla="*/ 33772 w 35882"/>
                    <a:gd name="connsiteY3" fmla="*/ 8869 h 46269"/>
                    <a:gd name="connsiteX4" fmla="*/ 11398 w 35882"/>
                    <a:gd name="connsiteY4" fmla="*/ 8869 h 46269"/>
                    <a:gd name="connsiteX5" fmla="*/ 11398 w 35882"/>
                    <a:gd name="connsiteY5" fmla="*/ 17311 h 46269"/>
                    <a:gd name="connsiteX6" fmla="*/ 32294 w 35882"/>
                    <a:gd name="connsiteY6" fmla="*/ 17311 h 46269"/>
                    <a:gd name="connsiteX7" fmla="*/ 32294 w 35882"/>
                    <a:gd name="connsiteY7" fmla="*/ 26073 h 46269"/>
                    <a:gd name="connsiteX8" fmla="*/ 11398 w 35882"/>
                    <a:gd name="connsiteY8" fmla="*/ 26073 h 46269"/>
                    <a:gd name="connsiteX9" fmla="*/ 11398 w 35882"/>
                    <a:gd name="connsiteY9" fmla="*/ 37079 h 46269"/>
                    <a:gd name="connsiteX10" fmla="*/ 35883 w 35882"/>
                    <a:gd name="connsiteY10" fmla="*/ 37079 h 46269"/>
                    <a:gd name="connsiteX11" fmla="*/ 35883 w 35882"/>
                    <a:gd name="connsiteY11" fmla="*/ 46162 h 46269"/>
                    <a:gd name="connsiteX12" fmla="*/ 0 w 35882"/>
                    <a:gd name="connsiteY12" fmla="*/ 46162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5882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33772" y="0"/>
                      </a:lnTo>
                      <a:lnTo>
                        <a:pt x="33772" y="8869"/>
                      </a:lnTo>
                      <a:lnTo>
                        <a:pt x="11398" y="8869"/>
                      </a:lnTo>
                      <a:lnTo>
                        <a:pt x="11398" y="17311"/>
                      </a:lnTo>
                      <a:lnTo>
                        <a:pt x="32294" y="17311"/>
                      </a:lnTo>
                      <a:lnTo>
                        <a:pt x="32294" y="26073"/>
                      </a:lnTo>
                      <a:lnTo>
                        <a:pt x="11398" y="26073"/>
                      </a:lnTo>
                      <a:lnTo>
                        <a:pt x="11398" y="37079"/>
                      </a:lnTo>
                      <a:lnTo>
                        <a:pt x="35883" y="37079"/>
                      </a:lnTo>
                      <a:lnTo>
                        <a:pt x="35883" y="46162"/>
                      </a:lnTo>
                      <a:lnTo>
                        <a:pt x="0" y="4616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FEFBB7FB-BB76-6CFA-3FD7-4B94B4E00C3C}"/>
                    </a:ext>
                  </a:extLst>
                </p:cNvPr>
                <p:cNvSpPr/>
                <p:nvPr/>
              </p:nvSpPr>
              <p:spPr>
                <a:xfrm>
                  <a:off x="1103008" y="2574050"/>
                  <a:ext cx="35249" cy="46269"/>
                </a:xfrm>
                <a:custGeom>
                  <a:avLst/>
                  <a:gdLst>
                    <a:gd name="connsiteX0" fmla="*/ 23429 w 35249"/>
                    <a:gd name="connsiteY0" fmla="*/ 9083 h 46269"/>
                    <a:gd name="connsiteX1" fmla="*/ 23429 w 35249"/>
                    <a:gd name="connsiteY1" fmla="*/ 46269 h 46269"/>
                    <a:gd name="connsiteX2" fmla="*/ 11926 w 35249"/>
                    <a:gd name="connsiteY2" fmla="*/ 46269 h 46269"/>
                    <a:gd name="connsiteX3" fmla="*/ 11926 w 35249"/>
                    <a:gd name="connsiteY3" fmla="*/ 9083 h 46269"/>
                    <a:gd name="connsiteX4" fmla="*/ 0 w 35249"/>
                    <a:gd name="connsiteY4" fmla="*/ 9083 h 46269"/>
                    <a:gd name="connsiteX5" fmla="*/ 0 w 35249"/>
                    <a:gd name="connsiteY5" fmla="*/ 0 h 46269"/>
                    <a:gd name="connsiteX6" fmla="*/ 35249 w 35249"/>
                    <a:gd name="connsiteY6" fmla="*/ 0 h 46269"/>
                    <a:gd name="connsiteX7" fmla="*/ 35249 w 35249"/>
                    <a:gd name="connsiteY7" fmla="*/ 9083 h 46269"/>
                    <a:gd name="connsiteX8" fmla="*/ 23429 w 35249"/>
                    <a:gd name="connsiteY8" fmla="*/ 9083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249" h="46269">
                      <a:moveTo>
                        <a:pt x="23429" y="9083"/>
                      </a:moveTo>
                      <a:lnTo>
                        <a:pt x="23429" y="46269"/>
                      </a:lnTo>
                      <a:lnTo>
                        <a:pt x="11926" y="46269"/>
                      </a:lnTo>
                      <a:lnTo>
                        <a:pt x="11926" y="9083"/>
                      </a:lnTo>
                      <a:lnTo>
                        <a:pt x="0" y="9083"/>
                      </a:lnTo>
                      <a:lnTo>
                        <a:pt x="0" y="0"/>
                      </a:lnTo>
                      <a:lnTo>
                        <a:pt x="35249" y="0"/>
                      </a:lnTo>
                      <a:lnTo>
                        <a:pt x="35249" y="9083"/>
                      </a:lnTo>
                      <a:lnTo>
                        <a:pt x="23429" y="908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E1484F73-2871-DDEE-EB7C-4AA3600E8139}"/>
                    </a:ext>
                  </a:extLst>
                </p:cNvPr>
                <p:cNvSpPr/>
                <p:nvPr/>
              </p:nvSpPr>
              <p:spPr>
                <a:xfrm>
                  <a:off x="1144907" y="2574050"/>
                  <a:ext cx="63322" cy="46269"/>
                </a:xfrm>
                <a:custGeom>
                  <a:avLst/>
                  <a:gdLst>
                    <a:gd name="connsiteX0" fmla="*/ 51819 w 63322"/>
                    <a:gd name="connsiteY0" fmla="*/ 46269 h 46269"/>
                    <a:gd name="connsiteX1" fmla="*/ 39999 w 63322"/>
                    <a:gd name="connsiteY1" fmla="*/ 46269 h 46269"/>
                    <a:gd name="connsiteX2" fmla="*/ 31767 w 63322"/>
                    <a:gd name="connsiteY2" fmla="*/ 16670 h 46269"/>
                    <a:gd name="connsiteX3" fmla="*/ 23429 w 63322"/>
                    <a:gd name="connsiteY3" fmla="*/ 46269 h 46269"/>
                    <a:gd name="connsiteX4" fmla="*/ 11609 w 63322"/>
                    <a:gd name="connsiteY4" fmla="*/ 46269 h 46269"/>
                    <a:gd name="connsiteX5" fmla="*/ 0 w 63322"/>
                    <a:gd name="connsiteY5" fmla="*/ 0 h 46269"/>
                    <a:gd name="connsiteX6" fmla="*/ 11504 w 63322"/>
                    <a:gd name="connsiteY6" fmla="*/ 0 h 46269"/>
                    <a:gd name="connsiteX7" fmla="*/ 18258 w 63322"/>
                    <a:gd name="connsiteY7" fmla="*/ 31843 h 46269"/>
                    <a:gd name="connsiteX8" fmla="*/ 26595 w 63322"/>
                    <a:gd name="connsiteY8" fmla="*/ 0 h 46269"/>
                    <a:gd name="connsiteX9" fmla="*/ 36727 w 63322"/>
                    <a:gd name="connsiteY9" fmla="*/ 0 h 46269"/>
                    <a:gd name="connsiteX10" fmla="*/ 45276 w 63322"/>
                    <a:gd name="connsiteY10" fmla="*/ 31843 h 46269"/>
                    <a:gd name="connsiteX11" fmla="*/ 51924 w 63322"/>
                    <a:gd name="connsiteY11" fmla="*/ 0 h 46269"/>
                    <a:gd name="connsiteX12" fmla="*/ 63323 w 63322"/>
                    <a:gd name="connsiteY12" fmla="*/ 0 h 46269"/>
                    <a:gd name="connsiteX13" fmla="*/ 51713 w 63322"/>
                    <a:gd name="connsiteY13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3322" h="46269">
                      <a:moveTo>
                        <a:pt x="51819" y="46269"/>
                      </a:moveTo>
                      <a:lnTo>
                        <a:pt x="39999" y="46269"/>
                      </a:lnTo>
                      <a:lnTo>
                        <a:pt x="31767" y="16670"/>
                      </a:lnTo>
                      <a:lnTo>
                        <a:pt x="23429" y="46269"/>
                      </a:lnTo>
                      <a:lnTo>
                        <a:pt x="11609" y="46269"/>
                      </a:lnTo>
                      <a:lnTo>
                        <a:pt x="0" y="0"/>
                      </a:lnTo>
                      <a:lnTo>
                        <a:pt x="11504" y="0"/>
                      </a:lnTo>
                      <a:lnTo>
                        <a:pt x="18258" y="31843"/>
                      </a:lnTo>
                      <a:lnTo>
                        <a:pt x="26595" y="0"/>
                      </a:lnTo>
                      <a:lnTo>
                        <a:pt x="36727" y="0"/>
                      </a:lnTo>
                      <a:lnTo>
                        <a:pt x="45276" y="31843"/>
                      </a:lnTo>
                      <a:lnTo>
                        <a:pt x="51924" y="0"/>
                      </a:lnTo>
                      <a:lnTo>
                        <a:pt x="63323" y="0"/>
                      </a:lnTo>
                      <a:lnTo>
                        <a:pt x="51713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FA792F23-3A3A-5582-4576-99D8290FEAC8}"/>
                    </a:ext>
                  </a:extLst>
                </p:cNvPr>
                <p:cNvSpPr/>
                <p:nvPr/>
              </p:nvSpPr>
              <p:spPr>
                <a:xfrm>
                  <a:off x="1214139" y="2572554"/>
                  <a:ext cx="45803" cy="49047"/>
                </a:xfrm>
                <a:custGeom>
                  <a:avLst/>
                  <a:gdLst>
                    <a:gd name="connsiteX0" fmla="*/ 37044 w 45803"/>
                    <a:gd name="connsiteY0" fmla="*/ 44239 h 49047"/>
                    <a:gd name="connsiteX1" fmla="*/ 22691 w 45803"/>
                    <a:gd name="connsiteY1" fmla="*/ 49047 h 49047"/>
                    <a:gd name="connsiteX2" fmla="*/ 6543 w 45803"/>
                    <a:gd name="connsiteY2" fmla="*/ 42422 h 49047"/>
                    <a:gd name="connsiteX3" fmla="*/ 0 w 45803"/>
                    <a:gd name="connsiteY3" fmla="*/ 24363 h 49047"/>
                    <a:gd name="connsiteX4" fmla="*/ 4327 w 45803"/>
                    <a:gd name="connsiteY4" fmla="*/ 9403 h 49047"/>
                    <a:gd name="connsiteX5" fmla="*/ 22585 w 45803"/>
                    <a:gd name="connsiteY5" fmla="*/ 0 h 49047"/>
                    <a:gd name="connsiteX6" fmla="*/ 38943 w 45803"/>
                    <a:gd name="connsiteY6" fmla="*/ 6411 h 49047"/>
                    <a:gd name="connsiteX7" fmla="*/ 45803 w 45803"/>
                    <a:gd name="connsiteY7" fmla="*/ 24898 h 49047"/>
                    <a:gd name="connsiteX8" fmla="*/ 37149 w 45803"/>
                    <a:gd name="connsiteY8" fmla="*/ 44239 h 49047"/>
                    <a:gd name="connsiteX9" fmla="*/ 31345 w 45803"/>
                    <a:gd name="connsiteY9" fmla="*/ 13998 h 49047"/>
                    <a:gd name="connsiteX10" fmla="*/ 26912 w 45803"/>
                    <a:gd name="connsiteY10" fmla="*/ 10472 h 49047"/>
                    <a:gd name="connsiteX11" fmla="*/ 22479 w 45803"/>
                    <a:gd name="connsiteY11" fmla="*/ 9617 h 49047"/>
                    <a:gd name="connsiteX12" fmla="*/ 17414 w 45803"/>
                    <a:gd name="connsiteY12" fmla="*/ 10899 h 49047"/>
                    <a:gd name="connsiteX13" fmla="*/ 11187 w 45803"/>
                    <a:gd name="connsiteY13" fmla="*/ 24150 h 49047"/>
                    <a:gd name="connsiteX14" fmla="*/ 14986 w 45803"/>
                    <a:gd name="connsiteY14" fmla="*/ 35904 h 49047"/>
                    <a:gd name="connsiteX15" fmla="*/ 22691 w 45803"/>
                    <a:gd name="connsiteY15" fmla="*/ 39216 h 49047"/>
                    <a:gd name="connsiteX16" fmla="*/ 30606 w 45803"/>
                    <a:gd name="connsiteY16" fmla="*/ 35690 h 49047"/>
                    <a:gd name="connsiteX17" fmla="*/ 34194 w 45803"/>
                    <a:gd name="connsiteY17" fmla="*/ 25539 h 49047"/>
                    <a:gd name="connsiteX18" fmla="*/ 31239 w 45803"/>
                    <a:gd name="connsiteY18" fmla="*/ 13891 h 49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5803" h="49047">
                      <a:moveTo>
                        <a:pt x="37044" y="44239"/>
                      </a:moveTo>
                      <a:cubicBezTo>
                        <a:pt x="34616" y="46269"/>
                        <a:pt x="30184" y="49047"/>
                        <a:pt x="22691" y="49047"/>
                      </a:cubicBezTo>
                      <a:cubicBezTo>
                        <a:pt x="19947" y="49047"/>
                        <a:pt x="12348" y="48620"/>
                        <a:pt x="6543" y="42422"/>
                      </a:cubicBezTo>
                      <a:cubicBezTo>
                        <a:pt x="422" y="35904"/>
                        <a:pt x="0" y="27035"/>
                        <a:pt x="0" y="24363"/>
                      </a:cubicBezTo>
                      <a:cubicBezTo>
                        <a:pt x="0" y="21906"/>
                        <a:pt x="317" y="15387"/>
                        <a:pt x="4327" y="9403"/>
                      </a:cubicBezTo>
                      <a:cubicBezTo>
                        <a:pt x="6649" y="5877"/>
                        <a:pt x="11926" y="0"/>
                        <a:pt x="22585" y="0"/>
                      </a:cubicBezTo>
                      <a:cubicBezTo>
                        <a:pt x="31239" y="0"/>
                        <a:pt x="36516" y="3954"/>
                        <a:pt x="38943" y="6411"/>
                      </a:cubicBezTo>
                      <a:cubicBezTo>
                        <a:pt x="43376" y="11006"/>
                        <a:pt x="45803" y="18486"/>
                        <a:pt x="45803" y="24898"/>
                      </a:cubicBezTo>
                      <a:cubicBezTo>
                        <a:pt x="45803" y="31950"/>
                        <a:pt x="42743" y="39537"/>
                        <a:pt x="37149" y="44239"/>
                      </a:cubicBezTo>
                      <a:close/>
                      <a:moveTo>
                        <a:pt x="31345" y="13998"/>
                      </a:moveTo>
                      <a:cubicBezTo>
                        <a:pt x="30711" y="13250"/>
                        <a:pt x="29445" y="11541"/>
                        <a:pt x="26912" y="10472"/>
                      </a:cubicBezTo>
                      <a:cubicBezTo>
                        <a:pt x="25012" y="9724"/>
                        <a:pt x="23324" y="9617"/>
                        <a:pt x="22479" y="9617"/>
                      </a:cubicBezTo>
                      <a:cubicBezTo>
                        <a:pt x="19947" y="9617"/>
                        <a:pt x="18258" y="10472"/>
                        <a:pt x="17414" y="10899"/>
                      </a:cubicBezTo>
                      <a:cubicBezTo>
                        <a:pt x="12770" y="13571"/>
                        <a:pt x="11187" y="19234"/>
                        <a:pt x="11187" y="24150"/>
                      </a:cubicBezTo>
                      <a:cubicBezTo>
                        <a:pt x="11187" y="30454"/>
                        <a:pt x="13087" y="33874"/>
                        <a:pt x="14986" y="35904"/>
                      </a:cubicBezTo>
                      <a:cubicBezTo>
                        <a:pt x="16992" y="38041"/>
                        <a:pt x="19736" y="39216"/>
                        <a:pt x="22691" y="39216"/>
                      </a:cubicBezTo>
                      <a:cubicBezTo>
                        <a:pt x="24168" y="39216"/>
                        <a:pt x="27756" y="38789"/>
                        <a:pt x="30606" y="35690"/>
                      </a:cubicBezTo>
                      <a:cubicBezTo>
                        <a:pt x="33244" y="32912"/>
                        <a:pt x="34089" y="29172"/>
                        <a:pt x="34194" y="25539"/>
                      </a:cubicBezTo>
                      <a:cubicBezTo>
                        <a:pt x="34405" y="19662"/>
                        <a:pt x="32611" y="15815"/>
                        <a:pt x="31239" y="1389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F7F4999B-A3C0-92DC-A4EB-1C2506B95249}"/>
                    </a:ext>
                  </a:extLst>
                </p:cNvPr>
                <p:cNvSpPr/>
                <p:nvPr/>
              </p:nvSpPr>
              <p:spPr>
                <a:xfrm>
                  <a:off x="1269230" y="2574050"/>
                  <a:ext cx="40315" cy="46269"/>
                </a:xfrm>
                <a:custGeom>
                  <a:avLst/>
                  <a:gdLst>
                    <a:gd name="connsiteX0" fmla="*/ 27651 w 40315"/>
                    <a:gd name="connsiteY0" fmla="*/ 46269 h 46269"/>
                    <a:gd name="connsiteX1" fmla="*/ 18575 w 40315"/>
                    <a:gd name="connsiteY1" fmla="*/ 29706 h 46269"/>
                    <a:gd name="connsiteX2" fmla="*/ 11504 w 40315"/>
                    <a:gd name="connsiteY2" fmla="*/ 29706 h 46269"/>
                    <a:gd name="connsiteX3" fmla="*/ 11504 w 40315"/>
                    <a:gd name="connsiteY3" fmla="*/ 46269 h 46269"/>
                    <a:gd name="connsiteX4" fmla="*/ 0 w 40315"/>
                    <a:gd name="connsiteY4" fmla="*/ 46269 h 46269"/>
                    <a:gd name="connsiteX5" fmla="*/ 0 w 40315"/>
                    <a:gd name="connsiteY5" fmla="*/ 0 h 46269"/>
                    <a:gd name="connsiteX6" fmla="*/ 20580 w 40315"/>
                    <a:gd name="connsiteY6" fmla="*/ 0 h 46269"/>
                    <a:gd name="connsiteX7" fmla="*/ 24485 w 40315"/>
                    <a:gd name="connsiteY7" fmla="*/ 0 h 46269"/>
                    <a:gd name="connsiteX8" fmla="*/ 37360 w 40315"/>
                    <a:gd name="connsiteY8" fmla="*/ 7159 h 46269"/>
                    <a:gd name="connsiteX9" fmla="*/ 39154 w 40315"/>
                    <a:gd name="connsiteY9" fmla="*/ 14853 h 46269"/>
                    <a:gd name="connsiteX10" fmla="*/ 35566 w 40315"/>
                    <a:gd name="connsiteY10" fmla="*/ 24257 h 46269"/>
                    <a:gd name="connsiteX11" fmla="*/ 33455 w 40315"/>
                    <a:gd name="connsiteY11" fmla="*/ 25966 h 46269"/>
                    <a:gd name="connsiteX12" fmla="*/ 29762 w 40315"/>
                    <a:gd name="connsiteY12" fmla="*/ 27569 h 46269"/>
                    <a:gd name="connsiteX13" fmla="*/ 40315 w 40315"/>
                    <a:gd name="connsiteY13" fmla="*/ 46055 h 46269"/>
                    <a:gd name="connsiteX14" fmla="*/ 27756 w 40315"/>
                    <a:gd name="connsiteY14" fmla="*/ 46055 h 46269"/>
                    <a:gd name="connsiteX15" fmla="*/ 21108 w 40315"/>
                    <a:gd name="connsiteY15" fmla="*/ 8549 h 46269"/>
                    <a:gd name="connsiteX16" fmla="*/ 11398 w 40315"/>
                    <a:gd name="connsiteY16" fmla="*/ 8549 h 46269"/>
                    <a:gd name="connsiteX17" fmla="*/ 11398 w 40315"/>
                    <a:gd name="connsiteY17" fmla="*/ 21158 h 46269"/>
                    <a:gd name="connsiteX18" fmla="*/ 20896 w 40315"/>
                    <a:gd name="connsiteY18" fmla="*/ 21158 h 46269"/>
                    <a:gd name="connsiteX19" fmla="*/ 23957 w 40315"/>
                    <a:gd name="connsiteY19" fmla="*/ 20730 h 46269"/>
                    <a:gd name="connsiteX20" fmla="*/ 27756 w 40315"/>
                    <a:gd name="connsiteY20" fmla="*/ 14746 h 46269"/>
                    <a:gd name="connsiteX21" fmla="*/ 21108 w 40315"/>
                    <a:gd name="connsiteY21" fmla="*/ 854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0315" h="46269">
                      <a:moveTo>
                        <a:pt x="27651" y="46269"/>
                      </a:moveTo>
                      <a:lnTo>
                        <a:pt x="18575" y="29706"/>
                      </a:lnTo>
                      <a:lnTo>
                        <a:pt x="11504" y="29706"/>
                      </a:lnTo>
                      <a:lnTo>
                        <a:pt x="11504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20580" y="0"/>
                      </a:lnTo>
                      <a:cubicBezTo>
                        <a:pt x="21846" y="0"/>
                        <a:pt x="23218" y="0"/>
                        <a:pt x="24485" y="0"/>
                      </a:cubicBezTo>
                      <a:cubicBezTo>
                        <a:pt x="26595" y="107"/>
                        <a:pt x="33772" y="641"/>
                        <a:pt x="37360" y="7159"/>
                      </a:cubicBezTo>
                      <a:cubicBezTo>
                        <a:pt x="37993" y="8442"/>
                        <a:pt x="39154" y="11113"/>
                        <a:pt x="39154" y="14853"/>
                      </a:cubicBezTo>
                      <a:cubicBezTo>
                        <a:pt x="39154" y="19982"/>
                        <a:pt x="37149" y="22760"/>
                        <a:pt x="35566" y="24257"/>
                      </a:cubicBezTo>
                      <a:cubicBezTo>
                        <a:pt x="34933" y="24898"/>
                        <a:pt x="34194" y="25539"/>
                        <a:pt x="33455" y="25966"/>
                      </a:cubicBezTo>
                      <a:cubicBezTo>
                        <a:pt x="32611" y="26394"/>
                        <a:pt x="31661" y="26928"/>
                        <a:pt x="29762" y="27569"/>
                      </a:cubicBezTo>
                      <a:lnTo>
                        <a:pt x="40315" y="46055"/>
                      </a:lnTo>
                      <a:lnTo>
                        <a:pt x="27756" y="46055"/>
                      </a:lnTo>
                      <a:close/>
                      <a:moveTo>
                        <a:pt x="21108" y="8549"/>
                      </a:moveTo>
                      <a:lnTo>
                        <a:pt x="11398" y="8549"/>
                      </a:lnTo>
                      <a:lnTo>
                        <a:pt x="11398" y="21158"/>
                      </a:lnTo>
                      <a:lnTo>
                        <a:pt x="20896" y="21158"/>
                      </a:lnTo>
                      <a:cubicBezTo>
                        <a:pt x="20896" y="21158"/>
                        <a:pt x="22691" y="21158"/>
                        <a:pt x="23957" y="20730"/>
                      </a:cubicBezTo>
                      <a:cubicBezTo>
                        <a:pt x="27651" y="19448"/>
                        <a:pt x="27756" y="15922"/>
                        <a:pt x="27756" y="14746"/>
                      </a:cubicBezTo>
                      <a:cubicBezTo>
                        <a:pt x="27756" y="8762"/>
                        <a:pt x="23113" y="8549"/>
                        <a:pt x="21108" y="854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" name="Freeform 88">
                  <a:extLst>
                    <a:ext uri="{FF2B5EF4-FFF2-40B4-BE49-F238E27FC236}">
                      <a16:creationId xmlns:a16="http://schemas.microsoft.com/office/drawing/2014/main" id="{AD5B5FC0-84A9-D9AC-CF6B-FB4A0B314808}"/>
                    </a:ext>
                  </a:extLst>
                </p:cNvPr>
                <p:cNvSpPr/>
                <p:nvPr/>
              </p:nvSpPr>
              <p:spPr>
                <a:xfrm>
                  <a:off x="1319888" y="2574050"/>
                  <a:ext cx="43059" cy="46269"/>
                </a:xfrm>
                <a:custGeom>
                  <a:avLst/>
                  <a:gdLst>
                    <a:gd name="connsiteX0" fmla="*/ 30078 w 43059"/>
                    <a:gd name="connsiteY0" fmla="*/ 46269 h 46269"/>
                    <a:gd name="connsiteX1" fmla="*/ 17941 w 43059"/>
                    <a:gd name="connsiteY1" fmla="*/ 25325 h 46269"/>
                    <a:gd name="connsiteX2" fmla="*/ 10870 w 43059"/>
                    <a:gd name="connsiteY2" fmla="*/ 32698 h 46269"/>
                    <a:gd name="connsiteX3" fmla="*/ 10870 w 43059"/>
                    <a:gd name="connsiteY3" fmla="*/ 46269 h 46269"/>
                    <a:gd name="connsiteX4" fmla="*/ 0 w 43059"/>
                    <a:gd name="connsiteY4" fmla="*/ 46269 h 46269"/>
                    <a:gd name="connsiteX5" fmla="*/ 0 w 43059"/>
                    <a:gd name="connsiteY5" fmla="*/ 0 h 46269"/>
                    <a:gd name="connsiteX6" fmla="*/ 10870 w 43059"/>
                    <a:gd name="connsiteY6" fmla="*/ 0 h 46269"/>
                    <a:gd name="connsiteX7" fmla="*/ 10870 w 43059"/>
                    <a:gd name="connsiteY7" fmla="*/ 18914 h 46269"/>
                    <a:gd name="connsiteX8" fmla="*/ 27967 w 43059"/>
                    <a:gd name="connsiteY8" fmla="*/ 0 h 46269"/>
                    <a:gd name="connsiteX9" fmla="*/ 41793 w 43059"/>
                    <a:gd name="connsiteY9" fmla="*/ 0 h 46269"/>
                    <a:gd name="connsiteX10" fmla="*/ 25646 w 43059"/>
                    <a:gd name="connsiteY10" fmla="*/ 17204 h 46269"/>
                    <a:gd name="connsiteX11" fmla="*/ 43059 w 43059"/>
                    <a:gd name="connsiteY11" fmla="*/ 46269 h 46269"/>
                    <a:gd name="connsiteX12" fmla="*/ 30184 w 43059"/>
                    <a:gd name="connsiteY12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3059" h="46269">
                      <a:moveTo>
                        <a:pt x="30078" y="46269"/>
                      </a:moveTo>
                      <a:lnTo>
                        <a:pt x="17941" y="25325"/>
                      </a:lnTo>
                      <a:lnTo>
                        <a:pt x="10870" y="32698"/>
                      </a:lnTo>
                      <a:lnTo>
                        <a:pt x="10870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10870" y="0"/>
                      </a:lnTo>
                      <a:lnTo>
                        <a:pt x="10870" y="18914"/>
                      </a:lnTo>
                      <a:lnTo>
                        <a:pt x="27967" y="0"/>
                      </a:lnTo>
                      <a:lnTo>
                        <a:pt x="41793" y="0"/>
                      </a:lnTo>
                      <a:lnTo>
                        <a:pt x="25646" y="17204"/>
                      </a:lnTo>
                      <a:lnTo>
                        <a:pt x="43059" y="46269"/>
                      </a:lnTo>
                      <a:lnTo>
                        <a:pt x="30184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1A26ECA-6450-1E33-EAD1-C986A9968422}"/>
              </a:ext>
            </a:extLst>
          </p:cNvPr>
          <p:cNvGrpSpPr/>
          <p:nvPr userDrawn="1"/>
        </p:nvGrpSpPr>
        <p:grpSpPr>
          <a:xfrm>
            <a:off x="6921501" y="242619"/>
            <a:ext cx="2532466" cy="1137708"/>
            <a:chOff x="1753986" y="2707575"/>
            <a:chExt cx="6648078" cy="2986643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F125F18-A1B8-481E-4385-6CEBE4E9173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1644BE2A-E8DB-5862-DED0-57E159082E3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CA21627-B0E6-FECE-204D-DC7A21D3F01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sp>
        <p:nvSpPr>
          <p:cNvPr id="16" name="Graphic 13">
            <a:extLst>
              <a:ext uri="{FF2B5EF4-FFF2-40B4-BE49-F238E27FC236}">
                <a16:creationId xmlns:a16="http://schemas.microsoft.com/office/drawing/2014/main" id="{5BD3AC9C-FB08-A6E0-0799-E8F6CAAF3463}"/>
              </a:ext>
            </a:extLst>
          </p:cNvPr>
          <p:cNvSpPr/>
          <p:nvPr userDrawn="1"/>
        </p:nvSpPr>
        <p:spPr>
          <a:xfrm>
            <a:off x="-27265" y="3429000"/>
            <a:ext cx="2411269" cy="3424593"/>
          </a:xfrm>
          <a:custGeom>
            <a:avLst/>
            <a:gdLst>
              <a:gd name="connsiteX0" fmla="*/ 4519015 w 4519015"/>
              <a:gd name="connsiteY0" fmla="*/ 3424593 h 3424592"/>
              <a:gd name="connsiteX1" fmla="*/ 3592440 w 4519015"/>
              <a:gd name="connsiteY1" fmla="*/ 3424593 h 3424592"/>
              <a:gd name="connsiteX2" fmla="*/ 3592440 w 4519015"/>
              <a:gd name="connsiteY2" fmla="*/ 1660795 h 3424592"/>
              <a:gd name="connsiteX3" fmla="*/ 2856628 w 4519015"/>
              <a:gd name="connsiteY3" fmla="*/ 925835 h 3424592"/>
              <a:gd name="connsiteX4" fmla="*/ 0 w 4519015"/>
              <a:gd name="connsiteY4" fmla="*/ 925835 h 3424592"/>
              <a:gd name="connsiteX5" fmla="*/ 0 w 4519015"/>
              <a:gd name="connsiteY5" fmla="*/ 0 h 3424592"/>
              <a:gd name="connsiteX6" fmla="*/ 2859735 w 4519015"/>
              <a:gd name="connsiteY6" fmla="*/ 0 h 3424592"/>
              <a:gd name="connsiteX7" fmla="*/ 4518949 w 4519015"/>
              <a:gd name="connsiteY7" fmla="*/ 1660795 h 3424592"/>
              <a:gd name="connsiteX8" fmla="*/ 4518949 w 4519015"/>
              <a:gd name="connsiteY8" fmla="*/ 3424593 h 3424592"/>
              <a:gd name="connsiteX0" fmla="*/ 4519015 w 4519015"/>
              <a:gd name="connsiteY0" fmla="*/ 3424593 h 3424593"/>
              <a:gd name="connsiteX1" fmla="*/ 3592440 w 4519015"/>
              <a:gd name="connsiteY1" fmla="*/ 3424593 h 3424593"/>
              <a:gd name="connsiteX2" fmla="*/ 3592440 w 4519015"/>
              <a:gd name="connsiteY2" fmla="*/ 1660795 h 3424593"/>
              <a:gd name="connsiteX3" fmla="*/ 2856628 w 4519015"/>
              <a:gd name="connsiteY3" fmla="*/ 925835 h 3424593"/>
              <a:gd name="connsiteX4" fmla="*/ 0 w 4519015"/>
              <a:gd name="connsiteY4" fmla="*/ 925835 h 3424593"/>
              <a:gd name="connsiteX5" fmla="*/ 2090057 w 4519015"/>
              <a:gd name="connsiteY5" fmla="*/ 0 h 3424593"/>
              <a:gd name="connsiteX6" fmla="*/ 2859735 w 4519015"/>
              <a:gd name="connsiteY6" fmla="*/ 0 h 3424593"/>
              <a:gd name="connsiteX7" fmla="*/ 4518949 w 4519015"/>
              <a:gd name="connsiteY7" fmla="*/ 1660795 h 3424593"/>
              <a:gd name="connsiteX8" fmla="*/ 4518949 w 4519015"/>
              <a:gd name="connsiteY8" fmla="*/ 3424593 h 3424593"/>
              <a:gd name="connsiteX9" fmla="*/ 4519015 w 4519015"/>
              <a:gd name="connsiteY9" fmla="*/ 3424593 h 3424593"/>
              <a:gd name="connsiteX0" fmla="*/ 2428958 w 2428958"/>
              <a:gd name="connsiteY0" fmla="*/ 3424593 h 3424593"/>
              <a:gd name="connsiteX1" fmla="*/ 1502383 w 2428958"/>
              <a:gd name="connsiteY1" fmla="*/ 3424593 h 3424593"/>
              <a:gd name="connsiteX2" fmla="*/ 1502383 w 2428958"/>
              <a:gd name="connsiteY2" fmla="*/ 1660795 h 3424593"/>
              <a:gd name="connsiteX3" fmla="*/ 766571 w 2428958"/>
              <a:gd name="connsiteY3" fmla="*/ 925835 h 3424593"/>
              <a:gd name="connsiteX4" fmla="*/ 14514 w 2428958"/>
              <a:gd name="connsiteY4" fmla="*/ 918578 h 3424593"/>
              <a:gd name="connsiteX5" fmla="*/ 0 w 2428958"/>
              <a:gd name="connsiteY5" fmla="*/ 0 h 3424593"/>
              <a:gd name="connsiteX6" fmla="*/ 769678 w 2428958"/>
              <a:gd name="connsiteY6" fmla="*/ 0 h 3424593"/>
              <a:gd name="connsiteX7" fmla="*/ 2428892 w 2428958"/>
              <a:gd name="connsiteY7" fmla="*/ 1660795 h 3424593"/>
              <a:gd name="connsiteX8" fmla="*/ 2428892 w 2428958"/>
              <a:gd name="connsiteY8" fmla="*/ 3424593 h 3424593"/>
              <a:gd name="connsiteX9" fmla="*/ 2428958 w 2428958"/>
              <a:gd name="connsiteY9" fmla="*/ 3424593 h 3424593"/>
              <a:gd name="connsiteX0" fmla="*/ 2414444 w 2414444"/>
              <a:gd name="connsiteY0" fmla="*/ 3424593 h 3424593"/>
              <a:gd name="connsiteX1" fmla="*/ 1487869 w 2414444"/>
              <a:gd name="connsiteY1" fmla="*/ 3424593 h 3424593"/>
              <a:gd name="connsiteX2" fmla="*/ 1487869 w 2414444"/>
              <a:gd name="connsiteY2" fmla="*/ 1660795 h 3424593"/>
              <a:gd name="connsiteX3" fmla="*/ 752057 w 2414444"/>
              <a:gd name="connsiteY3" fmla="*/ 925835 h 3424593"/>
              <a:gd name="connsiteX4" fmla="*/ 0 w 2414444"/>
              <a:gd name="connsiteY4" fmla="*/ 918578 h 3424593"/>
              <a:gd name="connsiteX5" fmla="*/ 4536 w 2414444"/>
              <a:gd name="connsiteY5" fmla="*/ 0 h 3424593"/>
              <a:gd name="connsiteX6" fmla="*/ 755164 w 2414444"/>
              <a:gd name="connsiteY6" fmla="*/ 0 h 3424593"/>
              <a:gd name="connsiteX7" fmla="*/ 2414378 w 2414444"/>
              <a:gd name="connsiteY7" fmla="*/ 1660795 h 3424593"/>
              <a:gd name="connsiteX8" fmla="*/ 2414378 w 2414444"/>
              <a:gd name="connsiteY8" fmla="*/ 3424593 h 3424593"/>
              <a:gd name="connsiteX9" fmla="*/ 2414444 w 2414444"/>
              <a:gd name="connsiteY9" fmla="*/ 3424593 h 3424593"/>
              <a:gd name="connsiteX0" fmla="*/ 2411269 w 2411269"/>
              <a:gd name="connsiteY0" fmla="*/ 3424593 h 3424593"/>
              <a:gd name="connsiteX1" fmla="*/ 1484694 w 2411269"/>
              <a:gd name="connsiteY1" fmla="*/ 3424593 h 3424593"/>
              <a:gd name="connsiteX2" fmla="*/ 1484694 w 2411269"/>
              <a:gd name="connsiteY2" fmla="*/ 1660795 h 3424593"/>
              <a:gd name="connsiteX3" fmla="*/ 748882 w 2411269"/>
              <a:gd name="connsiteY3" fmla="*/ 925835 h 3424593"/>
              <a:gd name="connsiteX4" fmla="*/ 0 w 2411269"/>
              <a:gd name="connsiteY4" fmla="*/ 918578 h 3424593"/>
              <a:gd name="connsiteX5" fmla="*/ 1361 w 2411269"/>
              <a:gd name="connsiteY5" fmla="*/ 0 h 3424593"/>
              <a:gd name="connsiteX6" fmla="*/ 751989 w 2411269"/>
              <a:gd name="connsiteY6" fmla="*/ 0 h 3424593"/>
              <a:gd name="connsiteX7" fmla="*/ 2411203 w 2411269"/>
              <a:gd name="connsiteY7" fmla="*/ 1660795 h 3424593"/>
              <a:gd name="connsiteX8" fmla="*/ 2411203 w 2411269"/>
              <a:gd name="connsiteY8" fmla="*/ 3424593 h 3424593"/>
              <a:gd name="connsiteX9" fmla="*/ 2411269 w 2411269"/>
              <a:gd name="connsiteY9" fmla="*/ 3424593 h 342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11269" h="3424593">
                <a:moveTo>
                  <a:pt x="2411269" y="3424593"/>
                </a:moveTo>
                <a:lnTo>
                  <a:pt x="1484694" y="3424593"/>
                </a:lnTo>
                <a:lnTo>
                  <a:pt x="1484694" y="1660795"/>
                </a:lnTo>
                <a:cubicBezTo>
                  <a:pt x="1484694" y="1258232"/>
                  <a:pt x="1154610" y="928610"/>
                  <a:pt x="748882" y="925835"/>
                </a:cubicBezTo>
                <a:lnTo>
                  <a:pt x="0" y="918578"/>
                </a:lnTo>
                <a:cubicBezTo>
                  <a:pt x="454" y="612385"/>
                  <a:pt x="907" y="306193"/>
                  <a:pt x="1361" y="0"/>
                </a:cubicBezTo>
                <a:lnTo>
                  <a:pt x="751989" y="0"/>
                </a:lnTo>
                <a:cubicBezTo>
                  <a:pt x="1668316" y="6211"/>
                  <a:pt x="2411203" y="751213"/>
                  <a:pt x="2411203" y="1660795"/>
                </a:cubicBezTo>
                <a:lnTo>
                  <a:pt x="2411203" y="3424593"/>
                </a:lnTo>
                <a:lnTo>
                  <a:pt x="2411269" y="3424593"/>
                </a:lnTo>
                <a:close/>
              </a:path>
            </a:pathLst>
          </a:custGeom>
          <a:solidFill>
            <a:schemeClr val="accent3">
              <a:alpha val="20000"/>
            </a:schemeClr>
          </a:solidFill>
          <a:ln w="66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Graphic 12">
            <a:extLst>
              <a:ext uri="{FF2B5EF4-FFF2-40B4-BE49-F238E27FC236}">
                <a16:creationId xmlns:a16="http://schemas.microsoft.com/office/drawing/2014/main" id="{C231D64E-E7E5-7B2F-3388-EA53B0264519}"/>
              </a:ext>
            </a:extLst>
          </p:cNvPr>
          <p:cNvSpPr/>
          <p:nvPr userDrawn="1"/>
        </p:nvSpPr>
        <p:spPr>
          <a:xfrm>
            <a:off x="2426" y="260350"/>
            <a:ext cx="4880740" cy="6604431"/>
          </a:xfrm>
          <a:custGeom>
            <a:avLst/>
            <a:gdLst>
              <a:gd name="connsiteX0" fmla="*/ 8005575 w 8005574"/>
              <a:gd name="connsiteY0" fmla="*/ 6066771 h 6066770"/>
              <a:gd name="connsiteX1" fmla="*/ 6364118 w 8005574"/>
              <a:gd name="connsiteY1" fmla="*/ 6066771 h 6066770"/>
              <a:gd name="connsiteX2" fmla="*/ 6364118 w 8005574"/>
              <a:gd name="connsiteY2" fmla="*/ 2942149 h 6066770"/>
              <a:gd name="connsiteX3" fmla="*/ 5060604 w 8005574"/>
              <a:gd name="connsiteY3" fmla="*/ 1640145 h 6066770"/>
              <a:gd name="connsiteX4" fmla="*/ 0 w 8005574"/>
              <a:gd name="connsiteY4" fmla="*/ 1640145 h 6066770"/>
              <a:gd name="connsiteX5" fmla="*/ 0 w 8005574"/>
              <a:gd name="connsiteY5" fmla="*/ 0 h 6066770"/>
              <a:gd name="connsiteX6" fmla="*/ 5066109 w 8005574"/>
              <a:gd name="connsiteY6" fmla="*/ 0 h 6066770"/>
              <a:gd name="connsiteX7" fmla="*/ 8005458 w 8005574"/>
              <a:gd name="connsiteY7" fmla="*/ 2942149 h 6066770"/>
              <a:gd name="connsiteX8" fmla="*/ 8005458 w 8005574"/>
              <a:gd name="connsiteY8" fmla="*/ 6066771 h 6066770"/>
              <a:gd name="connsiteX0" fmla="*/ 8005575 w 8005575"/>
              <a:gd name="connsiteY0" fmla="*/ 6066771 h 6066771"/>
              <a:gd name="connsiteX1" fmla="*/ 6364118 w 8005575"/>
              <a:gd name="connsiteY1" fmla="*/ 6066771 h 6066771"/>
              <a:gd name="connsiteX2" fmla="*/ 6364118 w 8005575"/>
              <a:gd name="connsiteY2" fmla="*/ 2942149 h 6066771"/>
              <a:gd name="connsiteX3" fmla="*/ 5060604 w 8005575"/>
              <a:gd name="connsiteY3" fmla="*/ 1640145 h 6066771"/>
              <a:gd name="connsiteX4" fmla="*/ 0 w 8005575"/>
              <a:gd name="connsiteY4" fmla="*/ 1640145 h 6066771"/>
              <a:gd name="connsiteX5" fmla="*/ 3108960 w 8005575"/>
              <a:gd name="connsiteY5" fmla="*/ 0 h 6066771"/>
              <a:gd name="connsiteX6" fmla="*/ 5066109 w 8005575"/>
              <a:gd name="connsiteY6" fmla="*/ 0 h 6066771"/>
              <a:gd name="connsiteX7" fmla="*/ 8005458 w 8005575"/>
              <a:gd name="connsiteY7" fmla="*/ 2942149 h 6066771"/>
              <a:gd name="connsiteX8" fmla="*/ 8005458 w 8005575"/>
              <a:gd name="connsiteY8" fmla="*/ 6066771 h 6066771"/>
              <a:gd name="connsiteX9" fmla="*/ 8005575 w 800557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677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042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1905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80740 w 4880740"/>
              <a:gd name="connsiteY0" fmla="*/ 6057246 h 6066771"/>
              <a:gd name="connsiteX1" fmla="*/ 3236108 w 4880740"/>
              <a:gd name="connsiteY1" fmla="*/ 6060421 h 6066771"/>
              <a:gd name="connsiteX2" fmla="*/ 3236108 w 4880740"/>
              <a:gd name="connsiteY2" fmla="*/ 2942149 h 6066771"/>
              <a:gd name="connsiteX3" fmla="*/ 1932594 w 4880740"/>
              <a:gd name="connsiteY3" fmla="*/ 1640145 h 6066771"/>
              <a:gd name="connsiteX4" fmla="*/ 0 w 4880740"/>
              <a:gd name="connsiteY4" fmla="*/ 1640145 h 6066771"/>
              <a:gd name="connsiteX5" fmla="*/ 0 w 4880740"/>
              <a:gd name="connsiteY5" fmla="*/ 0 h 6066771"/>
              <a:gd name="connsiteX6" fmla="*/ 1938099 w 4880740"/>
              <a:gd name="connsiteY6" fmla="*/ 0 h 6066771"/>
              <a:gd name="connsiteX7" fmla="*/ 4877448 w 4880740"/>
              <a:gd name="connsiteY7" fmla="*/ 2942149 h 6066771"/>
              <a:gd name="connsiteX8" fmla="*/ 4877448 w 4880740"/>
              <a:gd name="connsiteY8" fmla="*/ 6066771 h 6066771"/>
              <a:gd name="connsiteX9" fmla="*/ 4880740 w 4880740"/>
              <a:gd name="connsiteY9" fmla="*/ 6057246 h 6066771"/>
              <a:gd name="connsiteX0" fmla="*/ 4880740 w 4880740"/>
              <a:gd name="connsiteY0" fmla="*/ 605724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057246 h 6604431"/>
              <a:gd name="connsiteX0" fmla="*/ 4880740 w 4880740"/>
              <a:gd name="connsiteY0" fmla="*/ 660125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601256 h 66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80740" h="6604431">
                <a:moveTo>
                  <a:pt x="4880740" y="6601256"/>
                </a:moveTo>
                <a:lnTo>
                  <a:pt x="3236108" y="6604431"/>
                </a:lnTo>
                <a:lnTo>
                  <a:pt x="3236108" y="2942149"/>
                </a:lnTo>
                <a:cubicBezTo>
                  <a:pt x="3236108" y="2228997"/>
                  <a:pt x="2651354" y="1645061"/>
                  <a:pt x="1932594" y="1640145"/>
                </a:cubicBezTo>
                <a:lnTo>
                  <a:pt x="0" y="1640145"/>
                </a:lnTo>
                <a:lnTo>
                  <a:pt x="0" y="0"/>
                </a:lnTo>
                <a:lnTo>
                  <a:pt x="1938099" y="0"/>
                </a:lnTo>
                <a:cubicBezTo>
                  <a:pt x="3561401" y="11002"/>
                  <a:pt x="4877448" y="1330797"/>
                  <a:pt x="4877448" y="2942149"/>
                </a:cubicBezTo>
                <a:lnTo>
                  <a:pt x="4877448" y="6066771"/>
                </a:lnTo>
                <a:cubicBezTo>
                  <a:pt x="4878545" y="6244933"/>
                  <a:pt x="4879643" y="6423094"/>
                  <a:pt x="4880740" y="6601256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117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058173-E383-7A26-F1A4-83E104E6AA1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478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058173-E383-7A26-F1A4-83E104E6A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921500" y="2319604"/>
            <a:ext cx="4765676" cy="2146126"/>
          </a:xfrm>
        </p:spPr>
        <p:txBody>
          <a:bodyPr vert="horz" anchor="ctr"/>
          <a:lstStyle>
            <a:lvl1pPr algn="l" rtl="0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E588CE3-C114-1F17-5294-7F8B1B16C5A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921500" y="4635355"/>
            <a:ext cx="4765675" cy="50400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6C4C33-B4BC-9E99-C5BA-78831DB79EAC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921500" y="5437199"/>
            <a:ext cx="1907381" cy="157966"/>
          </a:xfrm>
          <a:effectLst/>
        </p:spPr>
        <p:txBody>
          <a:bodyPr vert="horz" wrap="square" anchor="t">
            <a:noAutofit/>
          </a:bodyPr>
          <a:lstStyle>
            <a:lvl1pPr marL="0" indent="0" algn="l" rtl="0">
              <a:lnSpc>
                <a:spcPct val="100000"/>
              </a:lnSpc>
              <a:buFont typeface="Arial" panose="020B0604020202020204" pitchFamily="34" charset="0"/>
              <a:buChar char="​"/>
              <a:defRPr sz="900" b="0" i="1" u="none" strike="noStrike">
                <a:solidFill>
                  <a:schemeClr val="accent3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2pPr>
            <a:lvl3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3pPr>
            <a:lvl4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4pPr>
            <a:lvl5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5pPr>
            <a:lvl6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6pPr>
            <a:lvl7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7pPr>
            <a:lvl8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8pPr>
            <a:lvl9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9pPr>
          </a:lstStyle>
          <a:p>
            <a:pPr lvl="0"/>
            <a:r>
              <a:rPr lang="en-GB"/>
              <a:t>Click to add Name and Sur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4ED17-DCDF-EC9D-C57C-5BADF23A2EEE}"/>
              </a:ext>
            </a:extLst>
          </p:cNvPr>
          <p:cNvSpPr>
            <a:spLocks noGrp="1"/>
          </p:cNvSpPr>
          <p:nvPr userDrawn="1">
            <p:ph type="dt" sz="half" idx="18"/>
          </p:nvPr>
        </p:nvSpPr>
        <p:spPr>
          <a:xfrm>
            <a:off x="6921500" y="5195841"/>
            <a:ext cx="1907381" cy="180000"/>
          </a:xfrm>
        </p:spPr>
        <p:txBody>
          <a:bodyPr lIns="0" tIns="0" rIns="0" bIns="0"/>
          <a:lstStyle>
            <a:lvl1pPr algn="l" rtl="0">
              <a:defRPr sz="900" b="1" i="1">
                <a:solidFill>
                  <a:schemeClr val="accent3"/>
                </a:solidFill>
                <a:latin typeface="+mn-lt"/>
                <a:ea typeface="Inter Italic" panose="02000503000000020004" pitchFamily="2" charset="0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 userDrawn="1"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123F54-0327-7398-4E80-7C70DA55E128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396832" y="800100"/>
            <a:ext cx="5776548" cy="5786438"/>
          </a:xfrm>
          <a:custGeom>
            <a:avLst/>
            <a:gdLst>
              <a:gd name="connsiteX0" fmla="*/ 2663134 w 5776548"/>
              <a:gd name="connsiteY0" fmla="*/ 0 h 5786438"/>
              <a:gd name="connsiteX1" fmla="*/ 2663196 w 5776548"/>
              <a:gd name="connsiteY1" fmla="*/ 0 h 5786438"/>
              <a:gd name="connsiteX2" fmla="*/ 2764633 w 5776548"/>
              <a:gd name="connsiteY2" fmla="*/ 2137 h 5786438"/>
              <a:gd name="connsiteX3" fmla="*/ 2764633 w 5776548"/>
              <a:gd name="connsiteY3" fmla="*/ 0 h 5786438"/>
              <a:gd name="connsiteX4" fmla="*/ 2764800 w 5776548"/>
              <a:gd name="connsiteY4" fmla="*/ 0 h 5786438"/>
              <a:gd name="connsiteX5" fmla="*/ 3121212 w 5776548"/>
              <a:gd name="connsiteY5" fmla="*/ 2030 h 5786438"/>
              <a:gd name="connsiteX6" fmla="*/ 4046324 w 5776548"/>
              <a:gd name="connsiteY6" fmla="*/ 927288 h 5786438"/>
              <a:gd name="connsiteX7" fmla="*/ 4045040 w 5776548"/>
              <a:gd name="connsiteY7" fmla="*/ 1743598 h 5786438"/>
              <a:gd name="connsiteX8" fmla="*/ 4848117 w 5776548"/>
              <a:gd name="connsiteY8" fmla="*/ 1742315 h 5786438"/>
              <a:gd name="connsiteX9" fmla="*/ 5774514 w 5776548"/>
              <a:gd name="connsiteY9" fmla="*/ 2666290 h 5786438"/>
              <a:gd name="connsiteX10" fmla="*/ 5776548 w 5776548"/>
              <a:gd name="connsiteY10" fmla="*/ 3022429 h 5786438"/>
              <a:gd name="connsiteX11" fmla="*/ 5776441 w 5776548"/>
              <a:gd name="connsiteY11" fmla="*/ 3022429 h 5786438"/>
              <a:gd name="connsiteX12" fmla="*/ 5774300 w 5776548"/>
              <a:gd name="connsiteY12" fmla="*/ 3022429 h 5786438"/>
              <a:gd name="connsiteX13" fmla="*/ 5776441 w 5776548"/>
              <a:gd name="connsiteY13" fmla="*/ 3123787 h 5786438"/>
              <a:gd name="connsiteX14" fmla="*/ 4851329 w 5776548"/>
              <a:gd name="connsiteY14" fmla="*/ 4049044 h 5786438"/>
              <a:gd name="connsiteX15" fmla="*/ 4044932 w 5776548"/>
              <a:gd name="connsiteY15" fmla="*/ 4050327 h 5786438"/>
              <a:gd name="connsiteX16" fmla="*/ 4046217 w 5776548"/>
              <a:gd name="connsiteY16" fmla="*/ 4866958 h 5786438"/>
              <a:gd name="connsiteX17" fmla="*/ 3306428 w 5776548"/>
              <a:gd name="connsiteY17" fmla="*/ 5773165 h 5786438"/>
              <a:gd name="connsiteX18" fmla="*/ 3220683 w 5776548"/>
              <a:gd name="connsiteY18" fmla="*/ 5786438 h 5786438"/>
              <a:gd name="connsiteX19" fmla="*/ 2552196 w 5776548"/>
              <a:gd name="connsiteY19" fmla="*/ 5786438 h 5786438"/>
              <a:gd name="connsiteX20" fmla="*/ 2476634 w 5776548"/>
              <a:gd name="connsiteY20" fmla="*/ 5774564 h 5786438"/>
              <a:gd name="connsiteX21" fmla="*/ 1736647 w 5776548"/>
              <a:gd name="connsiteY21" fmla="*/ 4870272 h 5786438"/>
              <a:gd name="connsiteX22" fmla="*/ 1735362 w 5776548"/>
              <a:gd name="connsiteY22" fmla="*/ 4050327 h 5786438"/>
              <a:gd name="connsiteX23" fmla="*/ 925113 w 5776548"/>
              <a:gd name="connsiteY23" fmla="*/ 4049044 h 5786438"/>
              <a:gd name="connsiteX24" fmla="*/ 0 w 5776548"/>
              <a:gd name="connsiteY24" fmla="*/ 3123787 h 5786438"/>
              <a:gd name="connsiteX25" fmla="*/ 2141 w 5776548"/>
              <a:gd name="connsiteY25" fmla="*/ 3022429 h 5786438"/>
              <a:gd name="connsiteX26" fmla="*/ 0 w 5776548"/>
              <a:gd name="connsiteY26" fmla="*/ 3022429 h 5786438"/>
              <a:gd name="connsiteX27" fmla="*/ 2034 w 5776548"/>
              <a:gd name="connsiteY27" fmla="*/ 2666290 h 5786438"/>
              <a:gd name="connsiteX28" fmla="*/ 928538 w 5776548"/>
              <a:gd name="connsiteY28" fmla="*/ 1742422 h 5786438"/>
              <a:gd name="connsiteX29" fmla="*/ 1735469 w 5776548"/>
              <a:gd name="connsiteY29" fmla="*/ 1743705 h 5786438"/>
              <a:gd name="connsiteX30" fmla="*/ 1736754 w 5776548"/>
              <a:gd name="connsiteY30" fmla="*/ 923974 h 5786438"/>
              <a:gd name="connsiteX31" fmla="*/ 2568573 w 5776548"/>
              <a:gd name="connsiteY31" fmla="*/ 5249 h 5786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776548" h="5786438">
                <a:moveTo>
                  <a:pt x="2663134" y="0"/>
                </a:moveTo>
                <a:lnTo>
                  <a:pt x="2663196" y="0"/>
                </a:lnTo>
                <a:lnTo>
                  <a:pt x="2764633" y="2137"/>
                </a:lnTo>
                <a:lnTo>
                  <a:pt x="2764633" y="0"/>
                </a:lnTo>
                <a:lnTo>
                  <a:pt x="2764800" y="0"/>
                </a:lnTo>
                <a:lnTo>
                  <a:pt x="3121212" y="2030"/>
                </a:lnTo>
                <a:cubicBezTo>
                  <a:pt x="3628621" y="2779"/>
                  <a:pt x="4043648" y="417081"/>
                  <a:pt x="4046324" y="927288"/>
                </a:cubicBezTo>
                <a:lnTo>
                  <a:pt x="4045040" y="1743598"/>
                </a:lnTo>
                <a:lnTo>
                  <a:pt x="4848117" y="1742315"/>
                </a:lnTo>
                <a:cubicBezTo>
                  <a:pt x="5358845" y="1744988"/>
                  <a:pt x="5773765" y="2159504"/>
                  <a:pt x="5774514" y="2666290"/>
                </a:cubicBezTo>
                <a:lnTo>
                  <a:pt x="5776548" y="3022429"/>
                </a:lnTo>
                <a:lnTo>
                  <a:pt x="5776441" y="3022429"/>
                </a:lnTo>
                <a:lnTo>
                  <a:pt x="5774300" y="3022429"/>
                </a:lnTo>
                <a:lnTo>
                  <a:pt x="5776441" y="3123787"/>
                </a:lnTo>
                <a:cubicBezTo>
                  <a:pt x="5773765" y="3633886"/>
                  <a:pt x="5358738" y="4048296"/>
                  <a:pt x="4851329" y="4049044"/>
                </a:cubicBezTo>
                <a:lnTo>
                  <a:pt x="4044932" y="4050327"/>
                </a:lnTo>
                <a:lnTo>
                  <a:pt x="4046217" y="4866958"/>
                </a:lnTo>
                <a:cubicBezTo>
                  <a:pt x="4043876" y="5313296"/>
                  <a:pt x="3725828" y="5686370"/>
                  <a:pt x="3306428" y="5773165"/>
                </a:cubicBezTo>
                <a:lnTo>
                  <a:pt x="3220683" y="5786438"/>
                </a:lnTo>
                <a:lnTo>
                  <a:pt x="2552196" y="5786438"/>
                </a:lnTo>
                <a:lnTo>
                  <a:pt x="2476634" y="5774564"/>
                </a:lnTo>
                <a:cubicBezTo>
                  <a:pt x="2055058" y="5686504"/>
                  <a:pt x="1737303" y="5313710"/>
                  <a:pt x="1736647" y="4870272"/>
                </a:cubicBezTo>
                <a:lnTo>
                  <a:pt x="1735362" y="4050327"/>
                </a:lnTo>
                <a:lnTo>
                  <a:pt x="925113" y="4049044"/>
                </a:lnTo>
                <a:cubicBezTo>
                  <a:pt x="417703" y="4048296"/>
                  <a:pt x="2676" y="3633993"/>
                  <a:pt x="0" y="3123787"/>
                </a:cubicBezTo>
                <a:cubicBezTo>
                  <a:pt x="0" y="3123787"/>
                  <a:pt x="2141" y="3022429"/>
                  <a:pt x="2141" y="3022429"/>
                </a:cubicBezTo>
                <a:lnTo>
                  <a:pt x="0" y="3022429"/>
                </a:lnTo>
                <a:lnTo>
                  <a:pt x="2034" y="2666290"/>
                </a:lnTo>
                <a:cubicBezTo>
                  <a:pt x="2783" y="2159504"/>
                  <a:pt x="417596" y="1744988"/>
                  <a:pt x="928538" y="1742422"/>
                </a:cubicBezTo>
                <a:lnTo>
                  <a:pt x="1735469" y="1743705"/>
                </a:lnTo>
                <a:lnTo>
                  <a:pt x="1736754" y="923974"/>
                </a:lnTo>
                <a:cubicBezTo>
                  <a:pt x="1737457" y="448862"/>
                  <a:pt x="2102082" y="54847"/>
                  <a:pt x="2568573" y="5249"/>
                </a:cubicBezTo>
                <a:close/>
              </a:path>
            </a:pathLst>
          </a:custGeom>
          <a:solidFill>
            <a:srgbClr val="E5E8F0"/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E5E48F3-81E9-2EF6-4D01-7930391383AC}"/>
              </a:ext>
            </a:extLst>
          </p:cNvPr>
          <p:cNvGrpSpPr/>
          <p:nvPr userDrawn="1"/>
        </p:nvGrpSpPr>
        <p:grpSpPr>
          <a:xfrm>
            <a:off x="6989935" y="5950102"/>
            <a:ext cx="1366471" cy="585306"/>
            <a:chOff x="6989935" y="5950102"/>
            <a:chExt cx="1366471" cy="585306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AA12FE02-2BAB-41E5-BCE4-B16D018755C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009902" y="6188903"/>
              <a:ext cx="346504" cy="346505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381120C1-1B70-C120-188E-0CF624F8974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989936" y="6188903"/>
              <a:ext cx="661508" cy="346505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CBE34C-EED3-BEF9-8E6A-97710251A415}"/>
                </a:ext>
              </a:extLst>
            </p:cNvPr>
            <p:cNvSpPr txBox="1"/>
            <p:nvPr/>
          </p:nvSpPr>
          <p:spPr>
            <a:xfrm>
              <a:off x="6989935" y="5950102"/>
              <a:ext cx="4408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0"/>
              <a:r>
                <a:rPr lang="en-GB" sz="1000" b="1">
                  <a:latin typeface="Oscine" panose="020B0506040202020204" pitchFamily="34" charset="0"/>
                  <a:cs typeface="Oscine" panose="020B0506040202020204" pitchFamily="34" charset="0"/>
                </a:rPr>
                <a:t>Led </a:t>
              </a:r>
              <a:r>
                <a:rPr lang="en-GB" sz="1000" b="1">
                  <a:latin typeface="Oscine Trial" panose="020B0506040202020204" pitchFamily="34" charset="0"/>
                  <a:cs typeface="Oscine Trial" panose="020B0506040202020204" pitchFamily="34" charset="0"/>
                </a:rPr>
                <a:t>by</a:t>
              </a:r>
              <a:r>
                <a:rPr lang="en-GB" sz="1000" b="1">
                  <a:latin typeface="Oscine" panose="020B0506040202020204" pitchFamily="34" charset="0"/>
                  <a:cs typeface="Oscine" panose="020B0506040202020204" pitchFamily="34" charset="0"/>
                </a:rPr>
                <a:t>: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2FAB89F5-BC98-D227-D5C1-B84339E1D360}"/>
                </a:ext>
              </a:extLst>
            </p:cNvPr>
            <p:cNvCxnSpPr/>
            <p:nvPr/>
          </p:nvCxnSpPr>
          <p:spPr>
            <a:xfrm>
              <a:off x="7830673" y="6188903"/>
              <a:ext cx="0" cy="346505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CFB7A7E-7AA5-1A18-A524-30A953EB8FA9}"/>
              </a:ext>
            </a:extLst>
          </p:cNvPr>
          <p:cNvGrpSpPr/>
          <p:nvPr userDrawn="1"/>
        </p:nvGrpSpPr>
        <p:grpSpPr>
          <a:xfrm>
            <a:off x="8763761" y="5950102"/>
            <a:ext cx="3118530" cy="636436"/>
            <a:chOff x="8763761" y="5950102"/>
            <a:chExt cx="3118530" cy="6364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7164D3B6-C4C5-DA07-7FBB-8780641FDCD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74792" y="6283883"/>
              <a:ext cx="636617" cy="156546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3350CAC8-FB1B-8C1B-E6C0-337B822A543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59312" y="6137774"/>
              <a:ext cx="459200" cy="448764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A05F8F80-D044-593D-B938-A694E13F042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63761" y="6252574"/>
              <a:ext cx="939271" cy="219163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58EAEF7-A84A-CE15-E479-B6DD8D63ACFC}"/>
                </a:ext>
              </a:extLst>
            </p:cNvPr>
            <p:cNvSpPr txBox="1"/>
            <p:nvPr/>
          </p:nvSpPr>
          <p:spPr>
            <a:xfrm>
              <a:off x="8763761" y="5950102"/>
              <a:ext cx="104515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0"/>
              <a:r>
                <a:rPr lang="en-GB" sz="1000">
                  <a:latin typeface="Oscine" panose="020B0806040202020204" pitchFamily="34" charset="0"/>
                  <a:cs typeface="Oscine" panose="020B0806040202020204" pitchFamily="34" charset="0"/>
                </a:rPr>
                <a:t>With support from: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CD1814F7-41F7-E13C-0349-243CB1C9373F}"/>
                </a:ext>
              </a:extLst>
            </p:cNvPr>
            <p:cNvCxnSpPr>
              <a:cxnSpLocks/>
            </p:cNvCxnSpPr>
            <p:nvPr/>
          </p:nvCxnSpPr>
          <p:spPr>
            <a:xfrm>
              <a:off x="9831172" y="6189956"/>
              <a:ext cx="0" cy="34440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0D2BF2AA-6C57-9449-4F5F-B844239AB7D0}"/>
                </a:ext>
              </a:extLst>
            </p:cNvPr>
            <p:cNvCxnSpPr>
              <a:cxnSpLocks/>
            </p:cNvCxnSpPr>
            <p:nvPr/>
          </p:nvCxnSpPr>
          <p:spPr>
            <a:xfrm>
              <a:off x="10546652" y="6189956"/>
              <a:ext cx="0" cy="34440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693B74E-31D5-59C8-8F1B-A7C694679F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39549" y="6189956"/>
              <a:ext cx="0" cy="34440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DD7AFA08-C7E8-4655-0B00-061F5420E2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567689" y="6204855"/>
              <a:ext cx="314602" cy="3146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62173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6221413" y="1"/>
            <a:ext cx="5970586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5465762" cy="5550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54657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80810" y="2779200"/>
            <a:ext cx="5206365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71BEC050-D5E8-7DAC-77BA-A3CDB3FD9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10F38F6-0CD5-DE0F-3758-A04CDCB1E85C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3818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7173913" y="1"/>
            <a:ext cx="5018086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6418262" cy="5436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64182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429500" y="2779200"/>
            <a:ext cx="4257675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149CB885-B0BA-956D-754E-FCE77D75D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D4414A9-B16F-3709-2329-16CE2A3DD4B2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063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8127999" y="1"/>
            <a:ext cx="4063999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7372350" cy="5436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7372350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9620" y="2779200"/>
            <a:ext cx="3297555" cy="3554378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8EB55AC8-CB3D-0332-B44A-933C7D0C3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70B836F-D895-5580-F398-3B7FDB9A6F4E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4355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3362326" y="1"/>
            <a:ext cx="882967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2606675" cy="12408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2606675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11880" y="2779200"/>
            <a:ext cx="8075295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C5FD566-01DA-6712-ED34-69A6F2555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1654" y="269875"/>
            <a:ext cx="33552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8484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4314824" y="1"/>
            <a:ext cx="787717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3560762" cy="12408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3552508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560570" y="2779200"/>
            <a:ext cx="7126605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9CA8D6F7-9C8B-107B-DEA5-EF3B7FBC2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6D8EB07-90B5-B85E-55FB-146AD28F390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7545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5268913" y="1"/>
            <a:ext cx="692308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4513262" cy="12408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45132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32120" y="2779200"/>
            <a:ext cx="6155055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E4F411E2-46E6-8C7C-4903-553AC1BE3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C6DD358-4464-B227-812C-9301C2F4CF25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018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6221413" y="1"/>
            <a:ext cx="597058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5465762" cy="5550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54657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80810" y="2779200"/>
            <a:ext cx="5206365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1DA6F593-EC1F-AA92-7B9F-401B44577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C65ACD5C-A56D-DA5D-9C59-6194E52CD59D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434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7173913" y="1"/>
            <a:ext cx="501808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>
              <a:solidFill>
                <a:schemeClr val="bg1"/>
              </a:solidFill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6418262" cy="5436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6418262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429500" y="2779200"/>
            <a:ext cx="4257675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6F31EAEC-1CFE-1D3F-FAD5-71C68173A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249DD6E-A38D-26D7-C020-0F102E955D48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897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195E6E-14C9-4F32-0FCC-6D2B17094A3F}"/>
              </a:ext>
            </a:extLst>
          </p:cNvPr>
          <p:cNvSpPr/>
          <p:nvPr userDrawn="1"/>
        </p:nvSpPr>
        <p:spPr bwMode="white">
          <a:xfrm>
            <a:off x="8127999" y="1"/>
            <a:ext cx="4063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4445CE-67E7-38E5-CCD0-72F9B39B4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30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445CE-67E7-38E5-CCD0-72F9B39B4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7372350" cy="5436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8" y="2779201"/>
            <a:ext cx="7372350" cy="355586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9620" y="2779200"/>
            <a:ext cx="3297555" cy="355437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BEA61-3509-B32A-9C80-65ED8EA25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17C4D-F868-B0CC-7CD7-1A3DB1695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0256717E-EAC0-48B5-3457-AA2C05EE3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8CBFF28-1409-6A7B-6344-11161AFAB3FB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351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652F408-1CA7-5969-58F3-1A50E97425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949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52F408-1CA7-5969-58F3-1A50E9742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5718175" cy="504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7" y="1800000"/>
            <a:ext cx="5718175" cy="4500000"/>
          </a:xfrm>
        </p:spPr>
        <p:txBody>
          <a:bodyPr/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13032" y="268915"/>
            <a:ext cx="4775730" cy="6318152"/>
          </a:xfrm>
          <a:prstGeom prst="round2DiagRect">
            <a:avLst>
              <a:gd name="adj1" fmla="val 1962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2A72FAD3-8E6B-1BAD-169F-7CFA0CB6DDD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7CD98A2-EED4-8B7C-BD86-E1C052CDFD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8040FA6F-B337-F307-0915-EB8BCA4C70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B1DEA5-3EFA-966A-8562-497B1BC9925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272736" y="6180653"/>
            <a:ext cx="539750" cy="52516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1C210D-ED18-3112-0B3F-A2E53CC70A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90250" y="148319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28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058173-E383-7A26-F1A4-83E104E6AA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478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058173-E383-7A26-F1A4-83E104E6A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2751" y="2236197"/>
            <a:ext cx="6408749" cy="2700994"/>
          </a:xfrm>
        </p:spPr>
        <p:txBody>
          <a:bodyPr vert="horz" anchor="b"/>
          <a:lstStyle>
            <a:lvl1pPr algn="l" rt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E588CE3-C114-1F17-5294-7F8B1B16C5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3238" y="5107996"/>
            <a:ext cx="6408749" cy="50400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6C4C33-B4BC-9E99-C5BA-78831DB79E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316981"/>
            <a:ext cx="1906587" cy="157966"/>
          </a:xfrm>
          <a:effectLst/>
        </p:spPr>
        <p:txBody>
          <a:bodyPr vert="horz" wrap="square" anchor="t">
            <a:noAutofit/>
          </a:bodyPr>
          <a:lstStyle>
            <a:lvl1pPr marL="0" indent="0" algn="l" rtl="0">
              <a:lnSpc>
                <a:spcPct val="100000"/>
              </a:lnSpc>
              <a:buFont typeface="Arial" panose="020B0604020202020204" pitchFamily="34" charset="0"/>
              <a:buChar char="​"/>
              <a:defRPr sz="900" b="0" i="1" u="none" strike="noStrike">
                <a:solidFill>
                  <a:schemeClr val="bg1">
                    <a:lumMod val="100000"/>
                  </a:schemeClr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2pPr>
            <a:lvl3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3pPr>
            <a:lvl4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4pPr>
            <a:lvl5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5pPr>
            <a:lvl6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6pPr>
            <a:lvl7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7pPr>
            <a:lvl8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8pPr>
            <a:lvl9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9pPr>
          </a:lstStyle>
          <a:p>
            <a:pPr lvl="0"/>
            <a:r>
              <a:rPr lang="en-GB"/>
              <a:t>Click to add Name and Sur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4ED17-DCDF-EC9D-C57C-5BADF23A2EE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503238" y="6020457"/>
            <a:ext cx="1906587" cy="180000"/>
          </a:xfrm>
        </p:spPr>
        <p:txBody>
          <a:bodyPr lIns="0" tIns="0" rIns="0" bIns="0"/>
          <a:lstStyle>
            <a:lvl1pPr algn="l" rtl="0">
              <a:defRPr sz="900" b="1" i="1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D2DAE3B-DBB9-780C-9E1F-0A7B6A31755E}"/>
              </a:ext>
            </a:extLst>
          </p:cNvPr>
          <p:cNvGrpSpPr/>
          <p:nvPr userDrawn="1"/>
        </p:nvGrpSpPr>
        <p:grpSpPr>
          <a:xfrm>
            <a:off x="512750" y="814827"/>
            <a:ext cx="3134801" cy="1408306"/>
            <a:chOff x="1753986" y="2707575"/>
            <a:chExt cx="6648078" cy="2986643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0180EFF4-1662-A7EC-A70C-6FD2507098A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57087965-BBAB-F414-D7A5-51E85F0BE3B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8EE3EB5-A0E3-7D09-4A1F-F20883E6CC5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pic>
        <p:nvPicPr>
          <p:cNvPr id="15" name="Graphic 14">
            <a:extLst>
              <a:ext uri="{FF2B5EF4-FFF2-40B4-BE49-F238E27FC236}">
                <a16:creationId xmlns:a16="http://schemas.microsoft.com/office/drawing/2014/main" id="{E80E74FB-96B7-3860-FF64-FA32A8322F8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50558" y="6232596"/>
            <a:ext cx="636617" cy="156546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DD7619F-2927-FC3C-98B7-DFFA5C8BBC7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246960" y="6086487"/>
            <a:ext cx="459199" cy="448764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8828A4D-B7CA-D4A4-1049-6FD0AE956FD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63289" y="6201288"/>
            <a:ext cx="939271" cy="21916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C7451CD-31EC-1658-DDBA-BFBF896DE367}"/>
              </a:ext>
            </a:extLst>
          </p:cNvPr>
          <p:cNvSpPr txBox="1"/>
          <p:nvPr/>
        </p:nvSpPr>
        <p:spPr>
          <a:xfrm>
            <a:off x="8963289" y="5898815"/>
            <a:ext cx="100508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Oscine Trial" panose="020B0506040202020204" pitchFamily="34" charset="0"/>
                <a:cs typeface="Oscine Trial" panose="020B0506040202020204" pitchFamily="34" charset="0"/>
              </a:rPr>
              <a:t>With support from: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C214CF0B-C2DA-A612-5307-2040DAD6A76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79148" y="6151905"/>
            <a:ext cx="657490" cy="3444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A3FCE31C-EA0D-4C7F-1D36-AF988CBD4CC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92918" y="6151905"/>
            <a:ext cx="344400" cy="34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005DAF3-0CCF-797F-9C6E-4A959A59E45D}"/>
              </a:ext>
            </a:extLst>
          </p:cNvPr>
          <p:cNvSpPr txBox="1"/>
          <p:nvPr/>
        </p:nvSpPr>
        <p:spPr>
          <a:xfrm>
            <a:off x="6179148" y="5955176"/>
            <a:ext cx="386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Oscine Trial" panose="020B0506040202020204" pitchFamily="34" charset="0"/>
                <a:cs typeface="Oscine Trial" panose="020B0506040202020204" pitchFamily="34" charset="0"/>
              </a:rPr>
              <a:t>Led by: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6BF4CB3-4401-B67F-1ADC-114410557283}"/>
              </a:ext>
            </a:extLst>
          </p:cNvPr>
          <p:cNvGrpSpPr/>
          <p:nvPr userDrawn="1"/>
        </p:nvGrpSpPr>
        <p:grpSpPr>
          <a:xfrm>
            <a:off x="3098095" y="5955176"/>
            <a:ext cx="1655083" cy="599436"/>
            <a:chOff x="6456005" y="2022640"/>
            <a:chExt cx="2016068" cy="730177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59190B3E-DDCE-ADC6-41E2-53F830A41E9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45981" y="2282647"/>
              <a:ext cx="926092" cy="47017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4170A29-15DA-457C-C80F-FD734F7C60B1}"/>
                </a:ext>
              </a:extLst>
            </p:cNvPr>
            <p:cNvSpPr txBox="1"/>
            <p:nvPr/>
          </p:nvSpPr>
          <p:spPr>
            <a:xfrm>
              <a:off x="6456042" y="2022640"/>
              <a:ext cx="968503" cy="1874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bg1"/>
                  </a:solidFill>
                  <a:latin typeface="Oscine Trial" panose="020B0506040202020204" pitchFamily="34" charset="0"/>
                  <a:cs typeface="Oscine Trial" panose="020B0506040202020204" pitchFamily="34" charset="0"/>
                </a:rPr>
                <a:t>Partnership of: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E64E11A-E05B-9A18-E54D-E09EC90DCC87}"/>
                </a:ext>
              </a:extLst>
            </p:cNvPr>
            <p:cNvGrpSpPr/>
            <p:nvPr/>
          </p:nvGrpSpPr>
          <p:grpSpPr>
            <a:xfrm>
              <a:off x="6456005" y="2282607"/>
              <a:ext cx="858056" cy="467696"/>
              <a:chOff x="6456005" y="2282607"/>
              <a:chExt cx="858056" cy="467696"/>
            </a:xfrm>
          </p:grpSpPr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C807E4B8-4D80-7427-1412-9A3C6FE98A64}"/>
                  </a:ext>
                </a:extLst>
              </p:cNvPr>
              <p:cNvSpPr/>
              <p:nvPr/>
            </p:nvSpPr>
            <p:spPr>
              <a:xfrm>
                <a:off x="6456005" y="2282607"/>
                <a:ext cx="462117" cy="467696"/>
              </a:xfrm>
              <a:custGeom>
                <a:avLst/>
                <a:gdLst>
                  <a:gd name="connsiteX0" fmla="*/ 253854 w 462117"/>
                  <a:gd name="connsiteY0" fmla="*/ 894 h 467696"/>
                  <a:gd name="connsiteX1" fmla="*/ 326147 w 462117"/>
                  <a:gd name="connsiteY1" fmla="*/ 20449 h 467696"/>
                  <a:gd name="connsiteX2" fmla="*/ 435695 w 462117"/>
                  <a:gd name="connsiteY2" fmla="*/ 125062 h 467696"/>
                  <a:gd name="connsiteX3" fmla="*/ 459863 w 462117"/>
                  <a:gd name="connsiteY3" fmla="*/ 201358 h 467696"/>
                  <a:gd name="connsiteX4" fmla="*/ 437384 w 462117"/>
                  <a:gd name="connsiteY4" fmla="*/ 338669 h 467696"/>
                  <a:gd name="connsiteX5" fmla="*/ 281927 w 462117"/>
                  <a:gd name="connsiteY5" fmla="*/ 461875 h 467696"/>
                  <a:gd name="connsiteX6" fmla="*/ 221243 w 462117"/>
                  <a:gd name="connsiteY6" fmla="*/ 467431 h 467696"/>
                  <a:gd name="connsiteX7" fmla="*/ 83833 w 462117"/>
                  <a:gd name="connsiteY7" fmla="*/ 413896 h 467696"/>
                  <a:gd name="connsiteX8" fmla="*/ 6685 w 462117"/>
                  <a:gd name="connsiteY8" fmla="*/ 289835 h 467696"/>
                  <a:gd name="connsiteX9" fmla="*/ 36 w 462117"/>
                  <a:gd name="connsiteY9" fmla="*/ 238544 h 467696"/>
                  <a:gd name="connsiteX10" fmla="*/ 43201 w 462117"/>
                  <a:gd name="connsiteY10" fmla="*/ 97600 h 467696"/>
                  <a:gd name="connsiteX11" fmla="*/ 174806 w 462117"/>
                  <a:gd name="connsiteY11" fmla="*/ 6771 h 467696"/>
                  <a:gd name="connsiteX12" fmla="*/ 214383 w 462117"/>
                  <a:gd name="connsiteY12" fmla="*/ 467 h 467696"/>
                  <a:gd name="connsiteX13" fmla="*/ 253959 w 462117"/>
                  <a:gd name="connsiteY13" fmla="*/ 894 h 467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117" h="467696">
                    <a:moveTo>
                      <a:pt x="253854" y="894"/>
                    </a:moveTo>
                    <a:cubicBezTo>
                      <a:pt x="279077" y="3352"/>
                      <a:pt x="303140" y="9763"/>
                      <a:pt x="326147" y="20449"/>
                    </a:cubicBezTo>
                    <a:cubicBezTo>
                      <a:pt x="374272" y="42782"/>
                      <a:pt x="410788" y="77831"/>
                      <a:pt x="435695" y="125062"/>
                    </a:cubicBezTo>
                    <a:cubicBezTo>
                      <a:pt x="448254" y="148998"/>
                      <a:pt x="456275" y="174430"/>
                      <a:pt x="459863" y="201358"/>
                    </a:cubicBezTo>
                    <a:cubicBezTo>
                      <a:pt x="466195" y="249443"/>
                      <a:pt x="459336" y="295498"/>
                      <a:pt x="437384" y="338669"/>
                    </a:cubicBezTo>
                    <a:cubicBezTo>
                      <a:pt x="404245" y="403638"/>
                      <a:pt x="352109" y="444671"/>
                      <a:pt x="281927" y="461875"/>
                    </a:cubicBezTo>
                    <a:cubicBezTo>
                      <a:pt x="261980" y="466790"/>
                      <a:pt x="241611" y="468393"/>
                      <a:pt x="221243" y="467431"/>
                    </a:cubicBezTo>
                    <a:cubicBezTo>
                      <a:pt x="169635" y="464867"/>
                      <a:pt x="123620" y="447342"/>
                      <a:pt x="83833" y="413896"/>
                    </a:cubicBezTo>
                    <a:cubicBezTo>
                      <a:pt x="44784" y="381091"/>
                      <a:pt x="19138" y="339630"/>
                      <a:pt x="6685" y="289835"/>
                    </a:cubicBezTo>
                    <a:cubicBezTo>
                      <a:pt x="2463" y="273059"/>
                      <a:pt x="352" y="255855"/>
                      <a:pt x="36" y="238544"/>
                    </a:cubicBezTo>
                    <a:cubicBezTo>
                      <a:pt x="-809" y="186825"/>
                      <a:pt x="13333" y="139594"/>
                      <a:pt x="43201" y="97600"/>
                    </a:cubicBezTo>
                    <a:cubicBezTo>
                      <a:pt x="76128" y="51224"/>
                      <a:pt x="120243" y="21090"/>
                      <a:pt x="174806" y="6771"/>
                    </a:cubicBezTo>
                    <a:cubicBezTo>
                      <a:pt x="187787" y="3352"/>
                      <a:pt x="200979" y="1322"/>
                      <a:pt x="214383" y="467"/>
                    </a:cubicBezTo>
                    <a:cubicBezTo>
                      <a:pt x="232007" y="-709"/>
                      <a:pt x="251321" y="681"/>
                      <a:pt x="253959" y="894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ABADAF0D-D476-ACF5-D1E7-8B45AD80492B}"/>
                  </a:ext>
                </a:extLst>
              </p:cNvPr>
              <p:cNvSpPr/>
              <p:nvPr/>
            </p:nvSpPr>
            <p:spPr>
              <a:xfrm>
                <a:off x="6501000" y="2497322"/>
                <a:ext cx="43587" cy="46375"/>
              </a:xfrm>
              <a:custGeom>
                <a:avLst/>
                <a:gdLst>
                  <a:gd name="connsiteX0" fmla="*/ 27545 w 43587"/>
                  <a:gd name="connsiteY0" fmla="*/ 46269 h 46375"/>
                  <a:gd name="connsiteX1" fmla="*/ 18680 w 43587"/>
                  <a:gd name="connsiteY1" fmla="*/ 29920 h 46375"/>
                  <a:gd name="connsiteX2" fmla="*/ 14459 w 43587"/>
                  <a:gd name="connsiteY2" fmla="*/ 29920 h 46375"/>
                  <a:gd name="connsiteX3" fmla="*/ 14459 w 43587"/>
                  <a:gd name="connsiteY3" fmla="*/ 46269 h 46375"/>
                  <a:gd name="connsiteX4" fmla="*/ 0 w 43587"/>
                  <a:gd name="connsiteY4" fmla="*/ 46269 h 46375"/>
                  <a:gd name="connsiteX5" fmla="*/ 0 w 43587"/>
                  <a:gd name="connsiteY5" fmla="*/ 0 h 46375"/>
                  <a:gd name="connsiteX6" fmla="*/ 24696 w 43587"/>
                  <a:gd name="connsiteY6" fmla="*/ 0 h 46375"/>
                  <a:gd name="connsiteX7" fmla="*/ 28601 w 43587"/>
                  <a:gd name="connsiteY7" fmla="*/ 214 h 46375"/>
                  <a:gd name="connsiteX8" fmla="*/ 39682 w 43587"/>
                  <a:gd name="connsiteY8" fmla="*/ 6518 h 46375"/>
                  <a:gd name="connsiteX9" fmla="*/ 41793 w 43587"/>
                  <a:gd name="connsiteY9" fmla="*/ 14853 h 46375"/>
                  <a:gd name="connsiteX10" fmla="*/ 36410 w 43587"/>
                  <a:gd name="connsiteY10" fmla="*/ 25752 h 46375"/>
                  <a:gd name="connsiteX11" fmla="*/ 32400 w 43587"/>
                  <a:gd name="connsiteY11" fmla="*/ 27676 h 46375"/>
                  <a:gd name="connsiteX12" fmla="*/ 43587 w 43587"/>
                  <a:gd name="connsiteY12" fmla="*/ 46376 h 46375"/>
                  <a:gd name="connsiteX13" fmla="*/ 27440 w 43587"/>
                  <a:gd name="connsiteY13" fmla="*/ 46376 h 46375"/>
                  <a:gd name="connsiteX14" fmla="*/ 26595 w 43587"/>
                  <a:gd name="connsiteY14" fmla="*/ 11754 h 46375"/>
                  <a:gd name="connsiteX15" fmla="*/ 25223 w 43587"/>
                  <a:gd name="connsiteY15" fmla="*/ 10579 h 46375"/>
                  <a:gd name="connsiteX16" fmla="*/ 20369 w 43587"/>
                  <a:gd name="connsiteY16" fmla="*/ 9617 h 46375"/>
                  <a:gd name="connsiteX17" fmla="*/ 14459 w 43587"/>
                  <a:gd name="connsiteY17" fmla="*/ 9617 h 46375"/>
                  <a:gd name="connsiteX18" fmla="*/ 14459 w 43587"/>
                  <a:gd name="connsiteY18" fmla="*/ 20410 h 46375"/>
                  <a:gd name="connsiteX19" fmla="*/ 20474 w 43587"/>
                  <a:gd name="connsiteY19" fmla="*/ 20410 h 46375"/>
                  <a:gd name="connsiteX20" fmla="*/ 27123 w 43587"/>
                  <a:gd name="connsiteY20" fmla="*/ 17097 h 46375"/>
                  <a:gd name="connsiteX21" fmla="*/ 27440 w 43587"/>
                  <a:gd name="connsiteY21" fmla="*/ 15067 h 46375"/>
                  <a:gd name="connsiteX22" fmla="*/ 26490 w 43587"/>
                  <a:gd name="connsiteY22" fmla="*/ 11754 h 4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587" h="46375">
                    <a:moveTo>
                      <a:pt x="27545" y="46269"/>
                    </a:moveTo>
                    <a:lnTo>
                      <a:pt x="18680" y="29920"/>
                    </a:lnTo>
                    <a:lnTo>
                      <a:pt x="14459" y="29920"/>
                    </a:lnTo>
                    <a:lnTo>
                      <a:pt x="14459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24696" y="0"/>
                    </a:lnTo>
                    <a:cubicBezTo>
                      <a:pt x="25962" y="0"/>
                      <a:pt x="27334" y="0"/>
                      <a:pt x="28601" y="214"/>
                    </a:cubicBezTo>
                    <a:cubicBezTo>
                      <a:pt x="30606" y="427"/>
                      <a:pt x="36410" y="962"/>
                      <a:pt x="39682" y="6518"/>
                    </a:cubicBezTo>
                    <a:cubicBezTo>
                      <a:pt x="40421" y="7907"/>
                      <a:pt x="41793" y="10793"/>
                      <a:pt x="41793" y="14853"/>
                    </a:cubicBezTo>
                    <a:cubicBezTo>
                      <a:pt x="41793" y="19234"/>
                      <a:pt x="40104" y="23188"/>
                      <a:pt x="36410" y="25752"/>
                    </a:cubicBezTo>
                    <a:cubicBezTo>
                      <a:pt x="35461" y="26394"/>
                      <a:pt x="34616" y="26821"/>
                      <a:pt x="32400" y="27676"/>
                    </a:cubicBezTo>
                    <a:lnTo>
                      <a:pt x="43587" y="46376"/>
                    </a:lnTo>
                    <a:lnTo>
                      <a:pt x="27440" y="46376"/>
                    </a:lnTo>
                    <a:close/>
                    <a:moveTo>
                      <a:pt x="26595" y="11754"/>
                    </a:moveTo>
                    <a:cubicBezTo>
                      <a:pt x="26173" y="11113"/>
                      <a:pt x="25540" y="10686"/>
                      <a:pt x="25223" y="10579"/>
                    </a:cubicBezTo>
                    <a:cubicBezTo>
                      <a:pt x="23746" y="9724"/>
                      <a:pt x="22057" y="9617"/>
                      <a:pt x="20369" y="9617"/>
                    </a:cubicBezTo>
                    <a:lnTo>
                      <a:pt x="14459" y="9617"/>
                    </a:lnTo>
                    <a:lnTo>
                      <a:pt x="14459" y="20410"/>
                    </a:lnTo>
                    <a:lnTo>
                      <a:pt x="20474" y="20410"/>
                    </a:lnTo>
                    <a:cubicBezTo>
                      <a:pt x="23113" y="20410"/>
                      <a:pt x="26068" y="20089"/>
                      <a:pt x="27123" y="17097"/>
                    </a:cubicBezTo>
                    <a:cubicBezTo>
                      <a:pt x="27123" y="16883"/>
                      <a:pt x="27440" y="16029"/>
                      <a:pt x="27440" y="15067"/>
                    </a:cubicBezTo>
                    <a:cubicBezTo>
                      <a:pt x="27440" y="13998"/>
                      <a:pt x="27123" y="12716"/>
                      <a:pt x="26490" y="11754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EFD648E-2B0D-1991-BFF2-4D1DE82C7830}"/>
                  </a:ext>
                </a:extLst>
              </p:cNvPr>
              <p:cNvSpPr/>
              <p:nvPr/>
            </p:nvSpPr>
            <p:spPr>
              <a:xfrm>
                <a:off x="6551658" y="2497322"/>
                <a:ext cx="38099" cy="46269"/>
              </a:xfrm>
              <a:custGeom>
                <a:avLst/>
                <a:gdLst>
                  <a:gd name="connsiteX0" fmla="*/ 0 w 38099"/>
                  <a:gd name="connsiteY0" fmla="*/ 46269 h 46269"/>
                  <a:gd name="connsiteX1" fmla="*/ 0 w 38099"/>
                  <a:gd name="connsiteY1" fmla="*/ 0 h 46269"/>
                  <a:gd name="connsiteX2" fmla="*/ 36199 w 38099"/>
                  <a:gd name="connsiteY2" fmla="*/ 0 h 46269"/>
                  <a:gd name="connsiteX3" fmla="*/ 36199 w 38099"/>
                  <a:gd name="connsiteY3" fmla="*/ 10151 h 46269"/>
                  <a:gd name="connsiteX4" fmla="*/ 14459 w 38099"/>
                  <a:gd name="connsiteY4" fmla="*/ 10151 h 46269"/>
                  <a:gd name="connsiteX5" fmla="*/ 14459 w 38099"/>
                  <a:gd name="connsiteY5" fmla="*/ 16990 h 46269"/>
                  <a:gd name="connsiteX6" fmla="*/ 34722 w 38099"/>
                  <a:gd name="connsiteY6" fmla="*/ 16990 h 46269"/>
                  <a:gd name="connsiteX7" fmla="*/ 34722 w 38099"/>
                  <a:gd name="connsiteY7" fmla="*/ 27035 h 46269"/>
                  <a:gd name="connsiteX8" fmla="*/ 14459 w 38099"/>
                  <a:gd name="connsiteY8" fmla="*/ 27035 h 46269"/>
                  <a:gd name="connsiteX9" fmla="*/ 14459 w 38099"/>
                  <a:gd name="connsiteY9" fmla="*/ 36224 h 46269"/>
                  <a:gd name="connsiteX10" fmla="*/ 38099 w 38099"/>
                  <a:gd name="connsiteY10" fmla="*/ 36224 h 46269"/>
                  <a:gd name="connsiteX11" fmla="*/ 38099 w 38099"/>
                  <a:gd name="connsiteY11" fmla="*/ 46269 h 46269"/>
                  <a:gd name="connsiteX12" fmla="*/ 0 w 38099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6199" y="0"/>
                    </a:lnTo>
                    <a:lnTo>
                      <a:pt x="36199" y="10151"/>
                    </a:lnTo>
                    <a:lnTo>
                      <a:pt x="14459" y="10151"/>
                    </a:lnTo>
                    <a:lnTo>
                      <a:pt x="14459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459" y="27035"/>
                    </a:lnTo>
                    <a:lnTo>
                      <a:pt x="14459" y="36224"/>
                    </a:lnTo>
                    <a:lnTo>
                      <a:pt x="38099" y="36224"/>
                    </a:lnTo>
                    <a:lnTo>
                      <a:pt x="3809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841A76DD-A10B-2E6F-519E-6E62DA6FEBB6}"/>
                  </a:ext>
                </a:extLst>
              </p:cNvPr>
              <p:cNvSpPr/>
              <p:nvPr/>
            </p:nvSpPr>
            <p:spPr>
              <a:xfrm>
                <a:off x="6595878" y="2495719"/>
                <a:ext cx="44959" cy="49261"/>
              </a:xfrm>
              <a:custGeom>
                <a:avLst/>
                <a:gdLst>
                  <a:gd name="connsiteX0" fmla="*/ 38838 w 44959"/>
                  <a:gd name="connsiteY0" fmla="*/ 44987 h 49261"/>
                  <a:gd name="connsiteX1" fmla="*/ 23324 w 44959"/>
                  <a:gd name="connsiteY1" fmla="*/ 49261 h 49261"/>
                  <a:gd name="connsiteX2" fmla="*/ 4855 w 44959"/>
                  <a:gd name="connsiteY2" fmla="*/ 44025 h 49261"/>
                  <a:gd name="connsiteX3" fmla="*/ 0 w 44959"/>
                  <a:gd name="connsiteY3" fmla="*/ 39003 h 49261"/>
                  <a:gd name="connsiteX4" fmla="*/ 11081 w 44959"/>
                  <a:gd name="connsiteY4" fmla="*/ 31843 h 49261"/>
                  <a:gd name="connsiteX5" fmla="*/ 13298 w 44959"/>
                  <a:gd name="connsiteY5" fmla="*/ 34622 h 49261"/>
                  <a:gd name="connsiteX6" fmla="*/ 23852 w 44959"/>
                  <a:gd name="connsiteY6" fmla="*/ 37934 h 49261"/>
                  <a:gd name="connsiteX7" fmla="*/ 30817 w 44959"/>
                  <a:gd name="connsiteY7" fmla="*/ 34408 h 49261"/>
                  <a:gd name="connsiteX8" fmla="*/ 30500 w 44959"/>
                  <a:gd name="connsiteY8" fmla="*/ 33339 h 49261"/>
                  <a:gd name="connsiteX9" fmla="*/ 28284 w 44959"/>
                  <a:gd name="connsiteY9" fmla="*/ 31630 h 49261"/>
                  <a:gd name="connsiteX10" fmla="*/ 19630 w 44959"/>
                  <a:gd name="connsiteY10" fmla="*/ 29813 h 49261"/>
                  <a:gd name="connsiteX11" fmla="*/ 7810 w 44959"/>
                  <a:gd name="connsiteY11" fmla="*/ 25005 h 49261"/>
                  <a:gd name="connsiteX12" fmla="*/ 3905 w 44959"/>
                  <a:gd name="connsiteY12" fmla="*/ 15601 h 49261"/>
                  <a:gd name="connsiteX13" fmla="*/ 5593 w 44959"/>
                  <a:gd name="connsiteY13" fmla="*/ 8549 h 49261"/>
                  <a:gd name="connsiteX14" fmla="*/ 24063 w 44959"/>
                  <a:gd name="connsiteY14" fmla="*/ 0 h 49261"/>
                  <a:gd name="connsiteX15" fmla="*/ 41160 w 44959"/>
                  <a:gd name="connsiteY15" fmla="*/ 5022 h 49261"/>
                  <a:gd name="connsiteX16" fmla="*/ 44642 w 44959"/>
                  <a:gd name="connsiteY16" fmla="*/ 8228 h 49261"/>
                  <a:gd name="connsiteX17" fmla="*/ 35566 w 44959"/>
                  <a:gd name="connsiteY17" fmla="*/ 15922 h 49261"/>
                  <a:gd name="connsiteX18" fmla="*/ 34300 w 44959"/>
                  <a:gd name="connsiteY18" fmla="*/ 14426 h 49261"/>
                  <a:gd name="connsiteX19" fmla="*/ 23640 w 44959"/>
                  <a:gd name="connsiteY19" fmla="*/ 11220 h 49261"/>
                  <a:gd name="connsiteX20" fmla="*/ 20158 w 44959"/>
                  <a:gd name="connsiteY20" fmla="*/ 11754 h 49261"/>
                  <a:gd name="connsiteX21" fmla="*/ 18364 w 44959"/>
                  <a:gd name="connsiteY21" fmla="*/ 14212 h 49261"/>
                  <a:gd name="connsiteX22" fmla="*/ 19524 w 44959"/>
                  <a:gd name="connsiteY22" fmla="*/ 16349 h 49261"/>
                  <a:gd name="connsiteX23" fmla="*/ 24590 w 44959"/>
                  <a:gd name="connsiteY23" fmla="*/ 17845 h 49261"/>
                  <a:gd name="connsiteX24" fmla="*/ 35038 w 44959"/>
                  <a:gd name="connsiteY24" fmla="*/ 20196 h 49261"/>
                  <a:gd name="connsiteX25" fmla="*/ 44959 w 44959"/>
                  <a:gd name="connsiteY25" fmla="*/ 32912 h 49261"/>
                  <a:gd name="connsiteX26" fmla="*/ 38943 w 44959"/>
                  <a:gd name="connsiteY26" fmla="*/ 44987 h 4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4959" h="49261">
                    <a:moveTo>
                      <a:pt x="38838" y="44987"/>
                    </a:moveTo>
                    <a:cubicBezTo>
                      <a:pt x="32928" y="49368"/>
                      <a:pt x="25224" y="49261"/>
                      <a:pt x="23324" y="49261"/>
                    </a:cubicBezTo>
                    <a:cubicBezTo>
                      <a:pt x="16675" y="49261"/>
                      <a:pt x="10343" y="48192"/>
                      <a:pt x="4855" y="44025"/>
                    </a:cubicBezTo>
                    <a:cubicBezTo>
                      <a:pt x="2744" y="42422"/>
                      <a:pt x="1583" y="41033"/>
                      <a:pt x="0" y="39003"/>
                    </a:cubicBezTo>
                    <a:lnTo>
                      <a:pt x="11081" y="31843"/>
                    </a:lnTo>
                    <a:cubicBezTo>
                      <a:pt x="12031" y="33446"/>
                      <a:pt x="12665" y="34087"/>
                      <a:pt x="13298" y="34622"/>
                    </a:cubicBezTo>
                    <a:cubicBezTo>
                      <a:pt x="15831" y="36866"/>
                      <a:pt x="20685" y="37934"/>
                      <a:pt x="23852" y="37934"/>
                    </a:cubicBezTo>
                    <a:cubicBezTo>
                      <a:pt x="27967" y="37934"/>
                      <a:pt x="30817" y="36652"/>
                      <a:pt x="30817" y="34408"/>
                    </a:cubicBezTo>
                    <a:cubicBezTo>
                      <a:pt x="30817" y="33874"/>
                      <a:pt x="30606" y="33446"/>
                      <a:pt x="30500" y="33339"/>
                    </a:cubicBezTo>
                    <a:cubicBezTo>
                      <a:pt x="30184" y="32698"/>
                      <a:pt x="29656" y="32057"/>
                      <a:pt x="28284" y="31630"/>
                    </a:cubicBezTo>
                    <a:cubicBezTo>
                      <a:pt x="26701" y="31095"/>
                      <a:pt x="23746" y="30668"/>
                      <a:pt x="19630" y="29813"/>
                    </a:cubicBezTo>
                    <a:cubicBezTo>
                      <a:pt x="13403" y="28531"/>
                      <a:pt x="10026" y="27035"/>
                      <a:pt x="7810" y="25005"/>
                    </a:cubicBezTo>
                    <a:cubicBezTo>
                      <a:pt x="6438" y="23722"/>
                      <a:pt x="3799" y="20730"/>
                      <a:pt x="3905" y="15601"/>
                    </a:cubicBezTo>
                    <a:cubicBezTo>
                      <a:pt x="3905" y="14319"/>
                      <a:pt x="3905" y="11541"/>
                      <a:pt x="5593" y="8549"/>
                    </a:cubicBezTo>
                    <a:cubicBezTo>
                      <a:pt x="10237" y="-107"/>
                      <a:pt x="22374" y="0"/>
                      <a:pt x="24063" y="0"/>
                    </a:cubicBezTo>
                    <a:cubicBezTo>
                      <a:pt x="26384" y="0"/>
                      <a:pt x="34616" y="107"/>
                      <a:pt x="41160" y="5022"/>
                    </a:cubicBezTo>
                    <a:cubicBezTo>
                      <a:pt x="42637" y="6091"/>
                      <a:pt x="43376" y="6946"/>
                      <a:pt x="44642" y="8228"/>
                    </a:cubicBezTo>
                    <a:lnTo>
                      <a:pt x="35566" y="15922"/>
                    </a:lnTo>
                    <a:cubicBezTo>
                      <a:pt x="34933" y="15174"/>
                      <a:pt x="34616" y="14746"/>
                      <a:pt x="34300" y="14426"/>
                    </a:cubicBezTo>
                    <a:cubicBezTo>
                      <a:pt x="31661" y="11968"/>
                      <a:pt x="27018" y="11220"/>
                      <a:pt x="23640" y="11220"/>
                    </a:cubicBezTo>
                    <a:cubicBezTo>
                      <a:pt x="23324" y="11220"/>
                      <a:pt x="21530" y="11220"/>
                      <a:pt x="20158" y="11754"/>
                    </a:cubicBezTo>
                    <a:cubicBezTo>
                      <a:pt x="19947" y="11861"/>
                      <a:pt x="18364" y="12609"/>
                      <a:pt x="18364" y="14212"/>
                    </a:cubicBezTo>
                    <a:cubicBezTo>
                      <a:pt x="18364" y="15067"/>
                      <a:pt x="18891" y="15815"/>
                      <a:pt x="19524" y="16349"/>
                    </a:cubicBezTo>
                    <a:cubicBezTo>
                      <a:pt x="20685" y="17097"/>
                      <a:pt x="23429" y="17631"/>
                      <a:pt x="24590" y="17845"/>
                    </a:cubicBezTo>
                    <a:cubicBezTo>
                      <a:pt x="26173" y="18059"/>
                      <a:pt x="30500" y="18700"/>
                      <a:pt x="35038" y="20196"/>
                    </a:cubicBezTo>
                    <a:cubicBezTo>
                      <a:pt x="37888" y="21158"/>
                      <a:pt x="44959" y="23615"/>
                      <a:pt x="44959" y="32912"/>
                    </a:cubicBezTo>
                    <a:cubicBezTo>
                      <a:pt x="44959" y="39751"/>
                      <a:pt x="40949" y="43491"/>
                      <a:pt x="38943" y="44987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8B5AF6CD-E941-0915-E938-1E747F2C479E}"/>
                  </a:ext>
                </a:extLst>
              </p:cNvPr>
              <p:cNvSpPr/>
              <p:nvPr/>
            </p:nvSpPr>
            <p:spPr>
              <a:xfrm>
                <a:off x="6650335" y="2497322"/>
                <a:ext cx="14458" cy="46269"/>
              </a:xfrm>
              <a:custGeom>
                <a:avLst/>
                <a:gdLst>
                  <a:gd name="connsiteX0" fmla="*/ 0 w 14458"/>
                  <a:gd name="connsiteY0" fmla="*/ 0 h 46269"/>
                  <a:gd name="connsiteX1" fmla="*/ 14459 w 14458"/>
                  <a:gd name="connsiteY1" fmla="*/ 0 h 46269"/>
                  <a:gd name="connsiteX2" fmla="*/ 14459 w 14458"/>
                  <a:gd name="connsiteY2" fmla="*/ 46269 h 46269"/>
                  <a:gd name="connsiteX3" fmla="*/ 0 w 14458"/>
                  <a:gd name="connsiteY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269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D4D15F0A-10DA-63D5-E74A-1DBB94B38038}"/>
                  </a:ext>
                </a:extLst>
              </p:cNvPr>
              <p:cNvSpPr/>
              <p:nvPr/>
            </p:nvSpPr>
            <p:spPr>
              <a:xfrm>
                <a:off x="6675453" y="2497322"/>
                <a:ext cx="32083" cy="46269"/>
              </a:xfrm>
              <a:custGeom>
                <a:avLst/>
                <a:gdLst>
                  <a:gd name="connsiteX0" fmla="*/ 0 w 32083"/>
                  <a:gd name="connsiteY0" fmla="*/ 46269 h 46269"/>
                  <a:gd name="connsiteX1" fmla="*/ 0 w 32083"/>
                  <a:gd name="connsiteY1" fmla="*/ 0 h 46269"/>
                  <a:gd name="connsiteX2" fmla="*/ 14353 w 32083"/>
                  <a:gd name="connsiteY2" fmla="*/ 0 h 46269"/>
                  <a:gd name="connsiteX3" fmla="*/ 14353 w 32083"/>
                  <a:gd name="connsiteY3" fmla="*/ 34622 h 46269"/>
                  <a:gd name="connsiteX4" fmla="*/ 32083 w 32083"/>
                  <a:gd name="connsiteY4" fmla="*/ 34622 h 46269"/>
                  <a:gd name="connsiteX5" fmla="*/ 32083 w 32083"/>
                  <a:gd name="connsiteY5" fmla="*/ 46269 h 46269"/>
                  <a:gd name="connsiteX6" fmla="*/ 0 w 32083"/>
                  <a:gd name="connsiteY6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083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14353" y="0"/>
                    </a:lnTo>
                    <a:lnTo>
                      <a:pt x="14353" y="34622"/>
                    </a:lnTo>
                    <a:lnTo>
                      <a:pt x="32083" y="34622"/>
                    </a:lnTo>
                    <a:lnTo>
                      <a:pt x="32083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20709867-49AF-C66F-B9EA-CD0D72C1CE95}"/>
                  </a:ext>
                </a:extLst>
              </p:cNvPr>
              <p:cNvSpPr/>
              <p:nvPr/>
            </p:nvSpPr>
            <p:spPr>
              <a:xfrm>
                <a:off x="6715347" y="2497322"/>
                <a:ext cx="14458" cy="46269"/>
              </a:xfrm>
              <a:custGeom>
                <a:avLst/>
                <a:gdLst>
                  <a:gd name="connsiteX0" fmla="*/ 0 w 14458"/>
                  <a:gd name="connsiteY0" fmla="*/ 0 h 46269"/>
                  <a:gd name="connsiteX1" fmla="*/ 14459 w 14458"/>
                  <a:gd name="connsiteY1" fmla="*/ 0 h 46269"/>
                  <a:gd name="connsiteX2" fmla="*/ 14459 w 14458"/>
                  <a:gd name="connsiteY2" fmla="*/ 46269 h 46269"/>
                  <a:gd name="connsiteX3" fmla="*/ 0 w 14458"/>
                  <a:gd name="connsiteY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269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9AF25B4C-7461-32E7-0538-F9ACA4957A41}"/>
                  </a:ext>
                </a:extLst>
              </p:cNvPr>
              <p:cNvSpPr/>
              <p:nvPr/>
            </p:nvSpPr>
            <p:spPr>
              <a:xfrm>
                <a:off x="6740464" y="2497322"/>
                <a:ext cx="38099" cy="46269"/>
              </a:xfrm>
              <a:custGeom>
                <a:avLst/>
                <a:gdLst>
                  <a:gd name="connsiteX0" fmla="*/ 0 w 38099"/>
                  <a:gd name="connsiteY0" fmla="*/ 46269 h 46269"/>
                  <a:gd name="connsiteX1" fmla="*/ 0 w 38099"/>
                  <a:gd name="connsiteY1" fmla="*/ 0 h 46269"/>
                  <a:gd name="connsiteX2" fmla="*/ 36094 w 38099"/>
                  <a:gd name="connsiteY2" fmla="*/ 0 h 46269"/>
                  <a:gd name="connsiteX3" fmla="*/ 36094 w 38099"/>
                  <a:gd name="connsiteY3" fmla="*/ 10151 h 46269"/>
                  <a:gd name="connsiteX4" fmla="*/ 14459 w 38099"/>
                  <a:gd name="connsiteY4" fmla="*/ 10151 h 46269"/>
                  <a:gd name="connsiteX5" fmla="*/ 14459 w 38099"/>
                  <a:gd name="connsiteY5" fmla="*/ 16990 h 46269"/>
                  <a:gd name="connsiteX6" fmla="*/ 34722 w 38099"/>
                  <a:gd name="connsiteY6" fmla="*/ 16990 h 46269"/>
                  <a:gd name="connsiteX7" fmla="*/ 34722 w 38099"/>
                  <a:gd name="connsiteY7" fmla="*/ 27035 h 46269"/>
                  <a:gd name="connsiteX8" fmla="*/ 14353 w 38099"/>
                  <a:gd name="connsiteY8" fmla="*/ 27035 h 46269"/>
                  <a:gd name="connsiteX9" fmla="*/ 14353 w 38099"/>
                  <a:gd name="connsiteY9" fmla="*/ 36224 h 46269"/>
                  <a:gd name="connsiteX10" fmla="*/ 38099 w 38099"/>
                  <a:gd name="connsiteY10" fmla="*/ 36224 h 46269"/>
                  <a:gd name="connsiteX11" fmla="*/ 38099 w 38099"/>
                  <a:gd name="connsiteY11" fmla="*/ 46269 h 46269"/>
                  <a:gd name="connsiteX12" fmla="*/ 0 w 38099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6094" y="0"/>
                    </a:lnTo>
                    <a:lnTo>
                      <a:pt x="36094" y="10151"/>
                    </a:lnTo>
                    <a:lnTo>
                      <a:pt x="14459" y="10151"/>
                    </a:lnTo>
                    <a:lnTo>
                      <a:pt x="14459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353" y="27035"/>
                    </a:lnTo>
                    <a:lnTo>
                      <a:pt x="14353" y="36224"/>
                    </a:lnTo>
                    <a:lnTo>
                      <a:pt x="38099" y="36224"/>
                    </a:lnTo>
                    <a:lnTo>
                      <a:pt x="3809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2212908C-A74D-AFCA-308E-6CE5DA7F5354}"/>
                  </a:ext>
                </a:extLst>
              </p:cNvPr>
              <p:cNvSpPr/>
              <p:nvPr/>
            </p:nvSpPr>
            <p:spPr>
              <a:xfrm>
                <a:off x="6787112" y="2497322"/>
                <a:ext cx="44114" cy="46269"/>
              </a:xfrm>
              <a:custGeom>
                <a:avLst/>
                <a:gdLst>
                  <a:gd name="connsiteX0" fmla="*/ 28495 w 44114"/>
                  <a:gd name="connsiteY0" fmla="*/ 46269 h 46269"/>
                  <a:gd name="connsiteX1" fmla="*/ 13298 w 44114"/>
                  <a:gd name="connsiteY1" fmla="*/ 19341 h 46269"/>
                  <a:gd name="connsiteX2" fmla="*/ 13403 w 44114"/>
                  <a:gd name="connsiteY2" fmla="*/ 46269 h 46269"/>
                  <a:gd name="connsiteX3" fmla="*/ 0 w 44114"/>
                  <a:gd name="connsiteY3" fmla="*/ 46269 h 46269"/>
                  <a:gd name="connsiteX4" fmla="*/ 0 w 44114"/>
                  <a:gd name="connsiteY4" fmla="*/ 0 h 46269"/>
                  <a:gd name="connsiteX5" fmla="*/ 15303 w 44114"/>
                  <a:gd name="connsiteY5" fmla="*/ 0 h 46269"/>
                  <a:gd name="connsiteX6" fmla="*/ 30711 w 44114"/>
                  <a:gd name="connsiteY6" fmla="*/ 26928 h 46269"/>
                  <a:gd name="connsiteX7" fmla="*/ 30606 w 44114"/>
                  <a:gd name="connsiteY7" fmla="*/ 0 h 46269"/>
                  <a:gd name="connsiteX8" fmla="*/ 44115 w 44114"/>
                  <a:gd name="connsiteY8" fmla="*/ 0 h 46269"/>
                  <a:gd name="connsiteX9" fmla="*/ 44115 w 44114"/>
                  <a:gd name="connsiteY9" fmla="*/ 46269 h 46269"/>
                  <a:gd name="connsiteX10" fmla="*/ 28495 w 44114"/>
                  <a:gd name="connsiteY10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114" h="46269">
                    <a:moveTo>
                      <a:pt x="28495" y="46269"/>
                    </a:moveTo>
                    <a:lnTo>
                      <a:pt x="13298" y="19341"/>
                    </a:lnTo>
                    <a:lnTo>
                      <a:pt x="13403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5303" y="0"/>
                    </a:lnTo>
                    <a:lnTo>
                      <a:pt x="30711" y="26928"/>
                    </a:lnTo>
                    <a:lnTo>
                      <a:pt x="30606" y="0"/>
                    </a:lnTo>
                    <a:lnTo>
                      <a:pt x="44115" y="0"/>
                    </a:lnTo>
                    <a:lnTo>
                      <a:pt x="44115" y="46269"/>
                    </a:lnTo>
                    <a:lnTo>
                      <a:pt x="28495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2B4FE6A-2E68-A6AD-B334-9D42B68210FF}"/>
                  </a:ext>
                </a:extLst>
              </p:cNvPr>
              <p:cNvSpPr/>
              <p:nvPr/>
            </p:nvSpPr>
            <p:spPr>
              <a:xfrm>
                <a:off x="6838826" y="2497322"/>
                <a:ext cx="37676" cy="46269"/>
              </a:xfrm>
              <a:custGeom>
                <a:avLst/>
                <a:gdLst>
                  <a:gd name="connsiteX0" fmla="*/ 26068 w 37676"/>
                  <a:gd name="connsiteY0" fmla="*/ 11434 h 46269"/>
                  <a:gd name="connsiteX1" fmla="*/ 26068 w 37676"/>
                  <a:gd name="connsiteY1" fmla="*/ 46269 h 46269"/>
                  <a:gd name="connsiteX2" fmla="*/ 11609 w 37676"/>
                  <a:gd name="connsiteY2" fmla="*/ 46269 h 46269"/>
                  <a:gd name="connsiteX3" fmla="*/ 11609 w 37676"/>
                  <a:gd name="connsiteY3" fmla="*/ 11434 h 46269"/>
                  <a:gd name="connsiteX4" fmla="*/ 0 w 37676"/>
                  <a:gd name="connsiteY4" fmla="*/ 11434 h 46269"/>
                  <a:gd name="connsiteX5" fmla="*/ 0 w 37676"/>
                  <a:gd name="connsiteY5" fmla="*/ 0 h 46269"/>
                  <a:gd name="connsiteX6" fmla="*/ 37677 w 37676"/>
                  <a:gd name="connsiteY6" fmla="*/ 0 h 46269"/>
                  <a:gd name="connsiteX7" fmla="*/ 37677 w 37676"/>
                  <a:gd name="connsiteY7" fmla="*/ 11434 h 46269"/>
                  <a:gd name="connsiteX8" fmla="*/ 26068 w 37676"/>
                  <a:gd name="connsiteY8" fmla="*/ 11434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76" h="46269">
                    <a:moveTo>
                      <a:pt x="26068" y="11434"/>
                    </a:moveTo>
                    <a:lnTo>
                      <a:pt x="26068" y="46269"/>
                    </a:lnTo>
                    <a:lnTo>
                      <a:pt x="11609" y="46269"/>
                    </a:lnTo>
                    <a:lnTo>
                      <a:pt x="11609" y="11434"/>
                    </a:lnTo>
                    <a:lnTo>
                      <a:pt x="0" y="11434"/>
                    </a:lnTo>
                    <a:lnTo>
                      <a:pt x="0" y="0"/>
                    </a:lnTo>
                    <a:lnTo>
                      <a:pt x="37677" y="0"/>
                    </a:lnTo>
                    <a:lnTo>
                      <a:pt x="37677" y="11434"/>
                    </a:lnTo>
                    <a:lnTo>
                      <a:pt x="26068" y="11434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5DA73CB-EBE2-70C7-6192-65A6DD0263DB}"/>
                  </a:ext>
                </a:extLst>
              </p:cNvPr>
              <p:cNvSpPr/>
              <p:nvPr/>
            </p:nvSpPr>
            <p:spPr>
              <a:xfrm>
                <a:off x="6962727" y="2495826"/>
                <a:ext cx="45803" cy="49367"/>
              </a:xfrm>
              <a:custGeom>
                <a:avLst/>
                <a:gdLst>
                  <a:gd name="connsiteX0" fmla="*/ 42321 w 45803"/>
                  <a:gd name="connsiteY0" fmla="*/ 41460 h 49367"/>
                  <a:gd name="connsiteX1" fmla="*/ 23640 w 45803"/>
                  <a:gd name="connsiteY1" fmla="*/ 49368 h 49367"/>
                  <a:gd name="connsiteX2" fmla="*/ 8232 w 45803"/>
                  <a:gd name="connsiteY2" fmla="*/ 44025 h 49367"/>
                  <a:gd name="connsiteX3" fmla="*/ 0 w 45803"/>
                  <a:gd name="connsiteY3" fmla="*/ 25004 h 49367"/>
                  <a:gd name="connsiteX4" fmla="*/ 4749 w 45803"/>
                  <a:gd name="connsiteY4" fmla="*/ 9617 h 49367"/>
                  <a:gd name="connsiteX5" fmla="*/ 23746 w 45803"/>
                  <a:gd name="connsiteY5" fmla="*/ 0 h 49367"/>
                  <a:gd name="connsiteX6" fmla="*/ 42848 w 45803"/>
                  <a:gd name="connsiteY6" fmla="*/ 8442 h 49367"/>
                  <a:gd name="connsiteX7" fmla="*/ 45803 w 45803"/>
                  <a:gd name="connsiteY7" fmla="*/ 12930 h 49367"/>
                  <a:gd name="connsiteX8" fmla="*/ 33667 w 45803"/>
                  <a:gd name="connsiteY8" fmla="*/ 19021 h 49367"/>
                  <a:gd name="connsiteX9" fmla="*/ 33033 w 45803"/>
                  <a:gd name="connsiteY9" fmla="*/ 17631 h 49367"/>
                  <a:gd name="connsiteX10" fmla="*/ 24168 w 45803"/>
                  <a:gd name="connsiteY10" fmla="*/ 11327 h 49367"/>
                  <a:gd name="connsiteX11" fmla="*/ 18891 w 45803"/>
                  <a:gd name="connsiteY11" fmla="*/ 12930 h 49367"/>
                  <a:gd name="connsiteX12" fmla="*/ 14564 w 45803"/>
                  <a:gd name="connsiteY12" fmla="*/ 24150 h 49367"/>
                  <a:gd name="connsiteX13" fmla="*/ 18786 w 45803"/>
                  <a:gd name="connsiteY13" fmla="*/ 35690 h 49367"/>
                  <a:gd name="connsiteX14" fmla="*/ 24168 w 45803"/>
                  <a:gd name="connsiteY14" fmla="*/ 37507 h 49367"/>
                  <a:gd name="connsiteX15" fmla="*/ 32400 w 45803"/>
                  <a:gd name="connsiteY15" fmla="*/ 32591 h 49367"/>
                  <a:gd name="connsiteX16" fmla="*/ 33455 w 45803"/>
                  <a:gd name="connsiteY16" fmla="*/ 29920 h 49367"/>
                  <a:gd name="connsiteX17" fmla="*/ 45803 w 45803"/>
                  <a:gd name="connsiteY17" fmla="*/ 35904 h 49367"/>
                  <a:gd name="connsiteX18" fmla="*/ 42215 w 45803"/>
                  <a:gd name="connsiteY18" fmla="*/ 41354 h 4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803" h="49367">
                    <a:moveTo>
                      <a:pt x="42321" y="41460"/>
                    </a:moveTo>
                    <a:cubicBezTo>
                      <a:pt x="39577" y="44559"/>
                      <a:pt x="33772" y="49368"/>
                      <a:pt x="23640" y="49368"/>
                    </a:cubicBezTo>
                    <a:cubicBezTo>
                      <a:pt x="17836" y="49368"/>
                      <a:pt x="12665" y="47979"/>
                      <a:pt x="8232" y="44025"/>
                    </a:cubicBezTo>
                    <a:cubicBezTo>
                      <a:pt x="633" y="37507"/>
                      <a:pt x="0" y="28317"/>
                      <a:pt x="0" y="25004"/>
                    </a:cubicBezTo>
                    <a:cubicBezTo>
                      <a:pt x="0" y="22226"/>
                      <a:pt x="317" y="15815"/>
                      <a:pt x="4749" y="9617"/>
                    </a:cubicBezTo>
                    <a:cubicBezTo>
                      <a:pt x="10976" y="641"/>
                      <a:pt x="19736" y="0"/>
                      <a:pt x="23746" y="0"/>
                    </a:cubicBezTo>
                    <a:cubicBezTo>
                      <a:pt x="34194" y="0"/>
                      <a:pt x="40315" y="5450"/>
                      <a:pt x="42848" y="8442"/>
                    </a:cubicBezTo>
                    <a:cubicBezTo>
                      <a:pt x="44220" y="10045"/>
                      <a:pt x="44854" y="11113"/>
                      <a:pt x="45803" y="12930"/>
                    </a:cubicBezTo>
                    <a:lnTo>
                      <a:pt x="33667" y="19021"/>
                    </a:lnTo>
                    <a:cubicBezTo>
                      <a:pt x="33667" y="19021"/>
                      <a:pt x="33244" y="18059"/>
                      <a:pt x="33033" y="17631"/>
                    </a:cubicBezTo>
                    <a:cubicBezTo>
                      <a:pt x="32295" y="16029"/>
                      <a:pt x="29973" y="11327"/>
                      <a:pt x="24168" y="11327"/>
                    </a:cubicBezTo>
                    <a:cubicBezTo>
                      <a:pt x="21530" y="11327"/>
                      <a:pt x="19841" y="12289"/>
                      <a:pt x="18891" y="12930"/>
                    </a:cubicBezTo>
                    <a:cubicBezTo>
                      <a:pt x="14353" y="16349"/>
                      <a:pt x="14564" y="22974"/>
                      <a:pt x="14564" y="24150"/>
                    </a:cubicBezTo>
                    <a:cubicBezTo>
                      <a:pt x="14564" y="30454"/>
                      <a:pt x="16569" y="33874"/>
                      <a:pt x="18786" y="35690"/>
                    </a:cubicBezTo>
                    <a:cubicBezTo>
                      <a:pt x="21002" y="37507"/>
                      <a:pt x="23113" y="37507"/>
                      <a:pt x="24168" y="37507"/>
                    </a:cubicBezTo>
                    <a:cubicBezTo>
                      <a:pt x="29128" y="37507"/>
                      <a:pt x="31450" y="34087"/>
                      <a:pt x="32400" y="32591"/>
                    </a:cubicBezTo>
                    <a:cubicBezTo>
                      <a:pt x="32717" y="31950"/>
                      <a:pt x="32928" y="31309"/>
                      <a:pt x="33455" y="29920"/>
                    </a:cubicBezTo>
                    <a:lnTo>
                      <a:pt x="45803" y="35904"/>
                    </a:lnTo>
                    <a:cubicBezTo>
                      <a:pt x="44220" y="38896"/>
                      <a:pt x="43376" y="40071"/>
                      <a:pt x="42215" y="41354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8D6F7B6D-12F3-B086-EC78-58EF731280DA}"/>
                  </a:ext>
                </a:extLst>
              </p:cNvPr>
              <p:cNvSpPr/>
              <p:nvPr/>
            </p:nvSpPr>
            <p:spPr>
              <a:xfrm>
                <a:off x="7016973" y="2497536"/>
                <a:ext cx="14458" cy="46162"/>
              </a:xfrm>
              <a:custGeom>
                <a:avLst/>
                <a:gdLst>
                  <a:gd name="connsiteX0" fmla="*/ 0 w 14458"/>
                  <a:gd name="connsiteY0" fmla="*/ 0 h 46162"/>
                  <a:gd name="connsiteX1" fmla="*/ 14459 w 14458"/>
                  <a:gd name="connsiteY1" fmla="*/ 0 h 46162"/>
                  <a:gd name="connsiteX2" fmla="*/ 14459 w 14458"/>
                  <a:gd name="connsiteY2" fmla="*/ 46162 h 46162"/>
                  <a:gd name="connsiteX3" fmla="*/ 0 w 1445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162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0E25728-1069-0F6E-3906-9E3B52ACCD86}"/>
                  </a:ext>
                </a:extLst>
              </p:cNvPr>
              <p:cNvSpPr/>
              <p:nvPr/>
            </p:nvSpPr>
            <p:spPr>
              <a:xfrm>
                <a:off x="7039136" y="2497536"/>
                <a:ext cx="37676" cy="46162"/>
              </a:xfrm>
              <a:custGeom>
                <a:avLst/>
                <a:gdLst>
                  <a:gd name="connsiteX0" fmla="*/ 26068 w 37676"/>
                  <a:gd name="connsiteY0" fmla="*/ 11327 h 46162"/>
                  <a:gd name="connsiteX1" fmla="*/ 26068 w 37676"/>
                  <a:gd name="connsiteY1" fmla="*/ 46162 h 46162"/>
                  <a:gd name="connsiteX2" fmla="*/ 11715 w 37676"/>
                  <a:gd name="connsiteY2" fmla="*/ 46162 h 46162"/>
                  <a:gd name="connsiteX3" fmla="*/ 11715 w 37676"/>
                  <a:gd name="connsiteY3" fmla="*/ 11327 h 46162"/>
                  <a:gd name="connsiteX4" fmla="*/ 0 w 37676"/>
                  <a:gd name="connsiteY4" fmla="*/ 11327 h 46162"/>
                  <a:gd name="connsiteX5" fmla="*/ 0 w 37676"/>
                  <a:gd name="connsiteY5" fmla="*/ 0 h 46162"/>
                  <a:gd name="connsiteX6" fmla="*/ 37677 w 37676"/>
                  <a:gd name="connsiteY6" fmla="*/ 0 h 46162"/>
                  <a:gd name="connsiteX7" fmla="*/ 37677 w 37676"/>
                  <a:gd name="connsiteY7" fmla="*/ 11327 h 46162"/>
                  <a:gd name="connsiteX8" fmla="*/ 26068 w 37676"/>
                  <a:gd name="connsiteY8" fmla="*/ 11327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76" h="46162">
                    <a:moveTo>
                      <a:pt x="26068" y="11327"/>
                    </a:moveTo>
                    <a:lnTo>
                      <a:pt x="26068" y="46162"/>
                    </a:lnTo>
                    <a:lnTo>
                      <a:pt x="11715" y="46162"/>
                    </a:lnTo>
                    <a:lnTo>
                      <a:pt x="11715" y="11327"/>
                    </a:lnTo>
                    <a:lnTo>
                      <a:pt x="0" y="11327"/>
                    </a:lnTo>
                    <a:lnTo>
                      <a:pt x="0" y="0"/>
                    </a:lnTo>
                    <a:lnTo>
                      <a:pt x="37677" y="0"/>
                    </a:lnTo>
                    <a:lnTo>
                      <a:pt x="37677" y="11327"/>
                    </a:lnTo>
                    <a:lnTo>
                      <a:pt x="26068" y="11327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18CD0661-30D4-C3D2-34B7-012E66F7D6B4}"/>
                  </a:ext>
                </a:extLst>
              </p:cNvPr>
              <p:cNvSpPr/>
              <p:nvPr/>
            </p:nvSpPr>
            <p:spPr>
              <a:xfrm>
                <a:off x="7084623" y="2497536"/>
                <a:ext cx="14458" cy="46162"/>
              </a:xfrm>
              <a:custGeom>
                <a:avLst/>
                <a:gdLst>
                  <a:gd name="connsiteX0" fmla="*/ 0 w 14458"/>
                  <a:gd name="connsiteY0" fmla="*/ 0 h 46162"/>
                  <a:gd name="connsiteX1" fmla="*/ 14459 w 14458"/>
                  <a:gd name="connsiteY1" fmla="*/ 0 h 46162"/>
                  <a:gd name="connsiteX2" fmla="*/ 14459 w 14458"/>
                  <a:gd name="connsiteY2" fmla="*/ 46162 h 46162"/>
                  <a:gd name="connsiteX3" fmla="*/ 0 w 1445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162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CCD4AF9A-83B9-0BD5-6168-40397016583A}"/>
                  </a:ext>
                </a:extLst>
              </p:cNvPr>
              <p:cNvSpPr/>
              <p:nvPr/>
            </p:nvSpPr>
            <p:spPr>
              <a:xfrm>
                <a:off x="7109635" y="2497536"/>
                <a:ext cx="38099" cy="46162"/>
              </a:xfrm>
              <a:custGeom>
                <a:avLst/>
                <a:gdLst>
                  <a:gd name="connsiteX0" fmla="*/ 0 w 38099"/>
                  <a:gd name="connsiteY0" fmla="*/ 46162 h 46162"/>
                  <a:gd name="connsiteX1" fmla="*/ 0 w 38099"/>
                  <a:gd name="connsiteY1" fmla="*/ 0 h 46162"/>
                  <a:gd name="connsiteX2" fmla="*/ 36199 w 38099"/>
                  <a:gd name="connsiteY2" fmla="*/ 0 h 46162"/>
                  <a:gd name="connsiteX3" fmla="*/ 36199 w 38099"/>
                  <a:gd name="connsiteY3" fmla="*/ 10151 h 46162"/>
                  <a:gd name="connsiteX4" fmla="*/ 14564 w 38099"/>
                  <a:gd name="connsiteY4" fmla="*/ 10151 h 46162"/>
                  <a:gd name="connsiteX5" fmla="*/ 14564 w 38099"/>
                  <a:gd name="connsiteY5" fmla="*/ 16990 h 46162"/>
                  <a:gd name="connsiteX6" fmla="*/ 34722 w 38099"/>
                  <a:gd name="connsiteY6" fmla="*/ 16990 h 46162"/>
                  <a:gd name="connsiteX7" fmla="*/ 34722 w 38099"/>
                  <a:gd name="connsiteY7" fmla="*/ 27035 h 46162"/>
                  <a:gd name="connsiteX8" fmla="*/ 14459 w 38099"/>
                  <a:gd name="connsiteY8" fmla="*/ 27035 h 46162"/>
                  <a:gd name="connsiteX9" fmla="*/ 14459 w 38099"/>
                  <a:gd name="connsiteY9" fmla="*/ 36118 h 46162"/>
                  <a:gd name="connsiteX10" fmla="*/ 38099 w 38099"/>
                  <a:gd name="connsiteY10" fmla="*/ 36118 h 46162"/>
                  <a:gd name="connsiteX11" fmla="*/ 38099 w 38099"/>
                  <a:gd name="connsiteY11" fmla="*/ 46162 h 46162"/>
                  <a:gd name="connsiteX12" fmla="*/ 0 w 38099"/>
                  <a:gd name="connsiteY12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162">
                    <a:moveTo>
                      <a:pt x="0" y="46162"/>
                    </a:moveTo>
                    <a:lnTo>
                      <a:pt x="0" y="0"/>
                    </a:lnTo>
                    <a:lnTo>
                      <a:pt x="36199" y="0"/>
                    </a:lnTo>
                    <a:lnTo>
                      <a:pt x="36199" y="10151"/>
                    </a:lnTo>
                    <a:lnTo>
                      <a:pt x="14564" y="10151"/>
                    </a:lnTo>
                    <a:lnTo>
                      <a:pt x="14564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459" y="27035"/>
                    </a:lnTo>
                    <a:lnTo>
                      <a:pt x="14459" y="36118"/>
                    </a:lnTo>
                    <a:lnTo>
                      <a:pt x="38099" y="36118"/>
                    </a:lnTo>
                    <a:lnTo>
                      <a:pt x="3809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2C3FFF7A-18CB-AD2B-DF04-A4768F2F3108}"/>
                  </a:ext>
                </a:extLst>
              </p:cNvPr>
              <p:cNvSpPr/>
              <p:nvPr/>
            </p:nvSpPr>
            <p:spPr>
              <a:xfrm>
                <a:off x="7154067" y="2495933"/>
                <a:ext cx="45170" cy="49154"/>
              </a:xfrm>
              <a:custGeom>
                <a:avLst/>
                <a:gdLst>
                  <a:gd name="connsiteX0" fmla="*/ 38732 w 45170"/>
                  <a:gd name="connsiteY0" fmla="*/ 44880 h 49154"/>
                  <a:gd name="connsiteX1" fmla="*/ 23218 w 45170"/>
                  <a:gd name="connsiteY1" fmla="*/ 49154 h 49154"/>
                  <a:gd name="connsiteX2" fmla="*/ 4855 w 45170"/>
                  <a:gd name="connsiteY2" fmla="*/ 43918 h 49154"/>
                  <a:gd name="connsiteX3" fmla="*/ 0 w 45170"/>
                  <a:gd name="connsiteY3" fmla="*/ 39003 h 49154"/>
                  <a:gd name="connsiteX4" fmla="*/ 11081 w 45170"/>
                  <a:gd name="connsiteY4" fmla="*/ 31843 h 49154"/>
                  <a:gd name="connsiteX5" fmla="*/ 13298 w 45170"/>
                  <a:gd name="connsiteY5" fmla="*/ 34622 h 49154"/>
                  <a:gd name="connsiteX6" fmla="*/ 23852 w 45170"/>
                  <a:gd name="connsiteY6" fmla="*/ 37934 h 49154"/>
                  <a:gd name="connsiteX7" fmla="*/ 30817 w 45170"/>
                  <a:gd name="connsiteY7" fmla="*/ 34408 h 49154"/>
                  <a:gd name="connsiteX8" fmla="*/ 30500 w 45170"/>
                  <a:gd name="connsiteY8" fmla="*/ 33339 h 49154"/>
                  <a:gd name="connsiteX9" fmla="*/ 28284 w 45170"/>
                  <a:gd name="connsiteY9" fmla="*/ 31630 h 49154"/>
                  <a:gd name="connsiteX10" fmla="*/ 19736 w 45170"/>
                  <a:gd name="connsiteY10" fmla="*/ 29813 h 49154"/>
                  <a:gd name="connsiteX11" fmla="*/ 7915 w 45170"/>
                  <a:gd name="connsiteY11" fmla="*/ 25005 h 49154"/>
                  <a:gd name="connsiteX12" fmla="*/ 4010 w 45170"/>
                  <a:gd name="connsiteY12" fmla="*/ 15601 h 49154"/>
                  <a:gd name="connsiteX13" fmla="*/ 5699 w 45170"/>
                  <a:gd name="connsiteY13" fmla="*/ 8549 h 49154"/>
                  <a:gd name="connsiteX14" fmla="*/ 24168 w 45170"/>
                  <a:gd name="connsiteY14" fmla="*/ 0 h 49154"/>
                  <a:gd name="connsiteX15" fmla="*/ 41265 w 45170"/>
                  <a:gd name="connsiteY15" fmla="*/ 5022 h 49154"/>
                  <a:gd name="connsiteX16" fmla="*/ 44748 w 45170"/>
                  <a:gd name="connsiteY16" fmla="*/ 8228 h 49154"/>
                  <a:gd name="connsiteX17" fmla="*/ 35672 w 45170"/>
                  <a:gd name="connsiteY17" fmla="*/ 15922 h 49154"/>
                  <a:gd name="connsiteX18" fmla="*/ 34405 w 45170"/>
                  <a:gd name="connsiteY18" fmla="*/ 14426 h 49154"/>
                  <a:gd name="connsiteX19" fmla="*/ 23746 w 45170"/>
                  <a:gd name="connsiteY19" fmla="*/ 11220 h 49154"/>
                  <a:gd name="connsiteX20" fmla="*/ 20369 w 45170"/>
                  <a:gd name="connsiteY20" fmla="*/ 11754 h 49154"/>
                  <a:gd name="connsiteX21" fmla="*/ 18575 w 45170"/>
                  <a:gd name="connsiteY21" fmla="*/ 14212 h 49154"/>
                  <a:gd name="connsiteX22" fmla="*/ 19736 w 45170"/>
                  <a:gd name="connsiteY22" fmla="*/ 16349 h 49154"/>
                  <a:gd name="connsiteX23" fmla="*/ 24801 w 45170"/>
                  <a:gd name="connsiteY23" fmla="*/ 17738 h 49154"/>
                  <a:gd name="connsiteX24" fmla="*/ 35250 w 45170"/>
                  <a:gd name="connsiteY24" fmla="*/ 20089 h 49154"/>
                  <a:gd name="connsiteX25" fmla="*/ 45170 w 45170"/>
                  <a:gd name="connsiteY25" fmla="*/ 32805 h 49154"/>
                  <a:gd name="connsiteX26" fmla="*/ 39154 w 45170"/>
                  <a:gd name="connsiteY26" fmla="*/ 44880 h 4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5170" h="49154">
                    <a:moveTo>
                      <a:pt x="38732" y="44880"/>
                    </a:moveTo>
                    <a:cubicBezTo>
                      <a:pt x="32822" y="49261"/>
                      <a:pt x="25118" y="49154"/>
                      <a:pt x="23218" y="49154"/>
                    </a:cubicBezTo>
                    <a:cubicBezTo>
                      <a:pt x="16569" y="49154"/>
                      <a:pt x="10237" y="48086"/>
                      <a:pt x="4855" y="43918"/>
                    </a:cubicBezTo>
                    <a:cubicBezTo>
                      <a:pt x="2744" y="42315"/>
                      <a:pt x="1583" y="40926"/>
                      <a:pt x="0" y="39003"/>
                    </a:cubicBezTo>
                    <a:lnTo>
                      <a:pt x="11081" y="31843"/>
                    </a:lnTo>
                    <a:cubicBezTo>
                      <a:pt x="12031" y="33446"/>
                      <a:pt x="12664" y="34087"/>
                      <a:pt x="13298" y="34622"/>
                    </a:cubicBezTo>
                    <a:cubicBezTo>
                      <a:pt x="15936" y="36866"/>
                      <a:pt x="20685" y="37934"/>
                      <a:pt x="23852" y="37934"/>
                    </a:cubicBezTo>
                    <a:cubicBezTo>
                      <a:pt x="27967" y="37934"/>
                      <a:pt x="30817" y="36652"/>
                      <a:pt x="30817" y="34408"/>
                    </a:cubicBezTo>
                    <a:cubicBezTo>
                      <a:pt x="30817" y="33874"/>
                      <a:pt x="30606" y="33446"/>
                      <a:pt x="30500" y="33339"/>
                    </a:cubicBezTo>
                    <a:cubicBezTo>
                      <a:pt x="30184" y="32698"/>
                      <a:pt x="29656" y="32057"/>
                      <a:pt x="28284" y="31630"/>
                    </a:cubicBezTo>
                    <a:cubicBezTo>
                      <a:pt x="26701" y="31095"/>
                      <a:pt x="23746" y="30668"/>
                      <a:pt x="19736" y="29813"/>
                    </a:cubicBezTo>
                    <a:cubicBezTo>
                      <a:pt x="13509" y="28531"/>
                      <a:pt x="10132" y="27035"/>
                      <a:pt x="7915" y="25005"/>
                    </a:cubicBezTo>
                    <a:cubicBezTo>
                      <a:pt x="6543" y="23722"/>
                      <a:pt x="3905" y="20730"/>
                      <a:pt x="4010" y="15601"/>
                    </a:cubicBezTo>
                    <a:cubicBezTo>
                      <a:pt x="4010" y="14319"/>
                      <a:pt x="4010" y="11541"/>
                      <a:pt x="5699" y="8549"/>
                    </a:cubicBezTo>
                    <a:cubicBezTo>
                      <a:pt x="10343" y="-107"/>
                      <a:pt x="22479" y="0"/>
                      <a:pt x="24168" y="0"/>
                    </a:cubicBezTo>
                    <a:cubicBezTo>
                      <a:pt x="26490" y="0"/>
                      <a:pt x="34722" y="107"/>
                      <a:pt x="41265" y="5022"/>
                    </a:cubicBezTo>
                    <a:cubicBezTo>
                      <a:pt x="42637" y="6091"/>
                      <a:pt x="43482" y="6946"/>
                      <a:pt x="44748" y="8228"/>
                    </a:cubicBezTo>
                    <a:lnTo>
                      <a:pt x="35672" y="15922"/>
                    </a:lnTo>
                    <a:cubicBezTo>
                      <a:pt x="35144" y="15174"/>
                      <a:pt x="34722" y="14746"/>
                      <a:pt x="34405" y="14426"/>
                    </a:cubicBezTo>
                    <a:cubicBezTo>
                      <a:pt x="31767" y="11968"/>
                      <a:pt x="27123" y="11220"/>
                      <a:pt x="23746" y="11220"/>
                    </a:cubicBezTo>
                    <a:cubicBezTo>
                      <a:pt x="23429" y="11220"/>
                      <a:pt x="21635" y="11220"/>
                      <a:pt x="20369" y="11754"/>
                    </a:cubicBezTo>
                    <a:cubicBezTo>
                      <a:pt x="20158" y="11861"/>
                      <a:pt x="18575" y="12609"/>
                      <a:pt x="18575" y="14212"/>
                    </a:cubicBezTo>
                    <a:cubicBezTo>
                      <a:pt x="18575" y="15067"/>
                      <a:pt x="19102" y="15815"/>
                      <a:pt x="19736" y="16349"/>
                    </a:cubicBezTo>
                    <a:cubicBezTo>
                      <a:pt x="20896" y="17097"/>
                      <a:pt x="23640" y="17631"/>
                      <a:pt x="24801" y="17738"/>
                    </a:cubicBezTo>
                    <a:cubicBezTo>
                      <a:pt x="26384" y="17952"/>
                      <a:pt x="30711" y="18593"/>
                      <a:pt x="35250" y="20089"/>
                    </a:cubicBezTo>
                    <a:cubicBezTo>
                      <a:pt x="38099" y="21051"/>
                      <a:pt x="45170" y="23509"/>
                      <a:pt x="45170" y="32805"/>
                    </a:cubicBezTo>
                    <a:cubicBezTo>
                      <a:pt x="45170" y="39644"/>
                      <a:pt x="41160" y="43384"/>
                      <a:pt x="39154" y="44880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F11E1A1F-28D5-8D53-C3EA-3BF96EF60FA2}"/>
                  </a:ext>
                </a:extLst>
              </p:cNvPr>
              <p:cNvSpPr/>
              <p:nvPr/>
            </p:nvSpPr>
            <p:spPr>
              <a:xfrm>
                <a:off x="6962727" y="2566245"/>
                <a:ext cx="38310" cy="46269"/>
              </a:xfrm>
              <a:custGeom>
                <a:avLst/>
                <a:gdLst>
                  <a:gd name="connsiteX0" fmla="*/ 27123 w 38310"/>
                  <a:gd name="connsiteY0" fmla="*/ 46269 h 46269"/>
                  <a:gd name="connsiteX1" fmla="*/ 10976 w 38310"/>
                  <a:gd name="connsiteY1" fmla="*/ 18273 h 46269"/>
                  <a:gd name="connsiteX2" fmla="*/ 10976 w 38310"/>
                  <a:gd name="connsiteY2" fmla="*/ 46269 h 46269"/>
                  <a:gd name="connsiteX3" fmla="*/ 0 w 38310"/>
                  <a:gd name="connsiteY3" fmla="*/ 46269 h 46269"/>
                  <a:gd name="connsiteX4" fmla="*/ 0 w 38310"/>
                  <a:gd name="connsiteY4" fmla="*/ 0 h 46269"/>
                  <a:gd name="connsiteX5" fmla="*/ 11187 w 38310"/>
                  <a:gd name="connsiteY5" fmla="*/ 0 h 46269"/>
                  <a:gd name="connsiteX6" fmla="*/ 27334 w 38310"/>
                  <a:gd name="connsiteY6" fmla="*/ 28210 h 46269"/>
                  <a:gd name="connsiteX7" fmla="*/ 27334 w 38310"/>
                  <a:gd name="connsiteY7" fmla="*/ 0 h 46269"/>
                  <a:gd name="connsiteX8" fmla="*/ 38310 w 38310"/>
                  <a:gd name="connsiteY8" fmla="*/ 0 h 46269"/>
                  <a:gd name="connsiteX9" fmla="*/ 38310 w 38310"/>
                  <a:gd name="connsiteY9" fmla="*/ 46269 h 46269"/>
                  <a:gd name="connsiteX10" fmla="*/ 27123 w 38310"/>
                  <a:gd name="connsiteY10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310" h="46269">
                    <a:moveTo>
                      <a:pt x="27123" y="46269"/>
                    </a:moveTo>
                    <a:lnTo>
                      <a:pt x="10976" y="18273"/>
                    </a:lnTo>
                    <a:lnTo>
                      <a:pt x="10976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1187" y="0"/>
                    </a:lnTo>
                    <a:lnTo>
                      <a:pt x="27334" y="28210"/>
                    </a:lnTo>
                    <a:lnTo>
                      <a:pt x="27334" y="0"/>
                    </a:lnTo>
                    <a:lnTo>
                      <a:pt x="38310" y="0"/>
                    </a:lnTo>
                    <a:lnTo>
                      <a:pt x="38310" y="46269"/>
                    </a:lnTo>
                    <a:lnTo>
                      <a:pt x="27123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A1CCC1B3-4B33-3CF6-9461-7001EDC71EF4}"/>
                  </a:ext>
                </a:extLst>
              </p:cNvPr>
              <p:cNvSpPr/>
              <p:nvPr/>
            </p:nvSpPr>
            <p:spPr>
              <a:xfrm>
                <a:off x="7013385" y="2566245"/>
                <a:ext cx="35777" cy="46269"/>
              </a:xfrm>
              <a:custGeom>
                <a:avLst/>
                <a:gdLst>
                  <a:gd name="connsiteX0" fmla="*/ 0 w 35777"/>
                  <a:gd name="connsiteY0" fmla="*/ 46269 h 46269"/>
                  <a:gd name="connsiteX1" fmla="*/ 0 w 35777"/>
                  <a:gd name="connsiteY1" fmla="*/ 0 h 46269"/>
                  <a:gd name="connsiteX2" fmla="*/ 33666 w 35777"/>
                  <a:gd name="connsiteY2" fmla="*/ 0 h 46269"/>
                  <a:gd name="connsiteX3" fmla="*/ 33666 w 35777"/>
                  <a:gd name="connsiteY3" fmla="*/ 8976 h 46269"/>
                  <a:gd name="connsiteX4" fmla="*/ 11293 w 35777"/>
                  <a:gd name="connsiteY4" fmla="*/ 8976 h 46269"/>
                  <a:gd name="connsiteX5" fmla="*/ 11293 w 35777"/>
                  <a:gd name="connsiteY5" fmla="*/ 17418 h 46269"/>
                  <a:gd name="connsiteX6" fmla="*/ 32189 w 35777"/>
                  <a:gd name="connsiteY6" fmla="*/ 17418 h 46269"/>
                  <a:gd name="connsiteX7" fmla="*/ 32189 w 35777"/>
                  <a:gd name="connsiteY7" fmla="*/ 26180 h 46269"/>
                  <a:gd name="connsiteX8" fmla="*/ 11293 w 35777"/>
                  <a:gd name="connsiteY8" fmla="*/ 26180 h 46269"/>
                  <a:gd name="connsiteX9" fmla="*/ 11293 w 35777"/>
                  <a:gd name="connsiteY9" fmla="*/ 37186 h 46269"/>
                  <a:gd name="connsiteX10" fmla="*/ 35777 w 35777"/>
                  <a:gd name="connsiteY10" fmla="*/ 37186 h 46269"/>
                  <a:gd name="connsiteX11" fmla="*/ 35777 w 35777"/>
                  <a:gd name="connsiteY11" fmla="*/ 46269 h 46269"/>
                  <a:gd name="connsiteX12" fmla="*/ 0 w 35777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777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3666" y="0"/>
                    </a:lnTo>
                    <a:lnTo>
                      <a:pt x="33666" y="8976"/>
                    </a:lnTo>
                    <a:lnTo>
                      <a:pt x="11293" y="8976"/>
                    </a:lnTo>
                    <a:lnTo>
                      <a:pt x="11293" y="17418"/>
                    </a:lnTo>
                    <a:lnTo>
                      <a:pt x="32189" y="17418"/>
                    </a:lnTo>
                    <a:lnTo>
                      <a:pt x="32189" y="26180"/>
                    </a:lnTo>
                    <a:lnTo>
                      <a:pt x="11293" y="26180"/>
                    </a:lnTo>
                    <a:lnTo>
                      <a:pt x="11293" y="37186"/>
                    </a:lnTo>
                    <a:lnTo>
                      <a:pt x="35777" y="37186"/>
                    </a:lnTo>
                    <a:lnTo>
                      <a:pt x="35777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F5205A44-5B69-665A-092B-CAC3189E56CD}"/>
                  </a:ext>
                </a:extLst>
              </p:cNvPr>
              <p:cNvSpPr/>
              <p:nvPr/>
            </p:nvSpPr>
            <p:spPr>
              <a:xfrm>
                <a:off x="7054650" y="2566245"/>
                <a:ext cx="35249" cy="46269"/>
              </a:xfrm>
              <a:custGeom>
                <a:avLst/>
                <a:gdLst>
                  <a:gd name="connsiteX0" fmla="*/ 23429 w 35249"/>
                  <a:gd name="connsiteY0" fmla="*/ 9190 h 46269"/>
                  <a:gd name="connsiteX1" fmla="*/ 23429 w 35249"/>
                  <a:gd name="connsiteY1" fmla="*/ 46269 h 46269"/>
                  <a:gd name="connsiteX2" fmla="*/ 11926 w 35249"/>
                  <a:gd name="connsiteY2" fmla="*/ 46269 h 46269"/>
                  <a:gd name="connsiteX3" fmla="*/ 11926 w 35249"/>
                  <a:gd name="connsiteY3" fmla="*/ 9190 h 46269"/>
                  <a:gd name="connsiteX4" fmla="*/ 0 w 35249"/>
                  <a:gd name="connsiteY4" fmla="*/ 9190 h 46269"/>
                  <a:gd name="connsiteX5" fmla="*/ 0 w 35249"/>
                  <a:gd name="connsiteY5" fmla="*/ 0 h 46269"/>
                  <a:gd name="connsiteX6" fmla="*/ 35250 w 35249"/>
                  <a:gd name="connsiteY6" fmla="*/ 0 h 46269"/>
                  <a:gd name="connsiteX7" fmla="*/ 35250 w 35249"/>
                  <a:gd name="connsiteY7" fmla="*/ 9190 h 46269"/>
                  <a:gd name="connsiteX8" fmla="*/ 23429 w 35249"/>
                  <a:gd name="connsiteY8" fmla="*/ 9190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49" h="46269">
                    <a:moveTo>
                      <a:pt x="23429" y="9190"/>
                    </a:moveTo>
                    <a:lnTo>
                      <a:pt x="23429" y="46269"/>
                    </a:lnTo>
                    <a:lnTo>
                      <a:pt x="11926" y="46269"/>
                    </a:lnTo>
                    <a:lnTo>
                      <a:pt x="11926" y="9190"/>
                    </a:lnTo>
                    <a:lnTo>
                      <a:pt x="0" y="9190"/>
                    </a:lnTo>
                    <a:lnTo>
                      <a:pt x="0" y="0"/>
                    </a:lnTo>
                    <a:lnTo>
                      <a:pt x="35250" y="0"/>
                    </a:lnTo>
                    <a:lnTo>
                      <a:pt x="35250" y="9190"/>
                    </a:lnTo>
                    <a:lnTo>
                      <a:pt x="23429" y="9190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D127AD9D-F6F4-B195-71ED-78748AB089A6}"/>
                  </a:ext>
                </a:extLst>
              </p:cNvPr>
              <p:cNvSpPr/>
              <p:nvPr/>
            </p:nvSpPr>
            <p:spPr>
              <a:xfrm>
                <a:off x="7096654" y="2566245"/>
                <a:ext cx="63111" cy="46269"/>
              </a:xfrm>
              <a:custGeom>
                <a:avLst/>
                <a:gdLst>
                  <a:gd name="connsiteX0" fmla="*/ 51502 w 63111"/>
                  <a:gd name="connsiteY0" fmla="*/ 46269 h 46269"/>
                  <a:gd name="connsiteX1" fmla="*/ 39788 w 63111"/>
                  <a:gd name="connsiteY1" fmla="*/ 46269 h 46269"/>
                  <a:gd name="connsiteX2" fmla="*/ 31556 w 63111"/>
                  <a:gd name="connsiteY2" fmla="*/ 16670 h 46269"/>
                  <a:gd name="connsiteX3" fmla="*/ 23324 w 63111"/>
                  <a:gd name="connsiteY3" fmla="*/ 46269 h 46269"/>
                  <a:gd name="connsiteX4" fmla="*/ 11504 w 63111"/>
                  <a:gd name="connsiteY4" fmla="*/ 46269 h 46269"/>
                  <a:gd name="connsiteX5" fmla="*/ 0 w 63111"/>
                  <a:gd name="connsiteY5" fmla="*/ 0 h 46269"/>
                  <a:gd name="connsiteX6" fmla="*/ 11398 w 63111"/>
                  <a:gd name="connsiteY6" fmla="*/ 0 h 46269"/>
                  <a:gd name="connsiteX7" fmla="*/ 18152 w 63111"/>
                  <a:gd name="connsiteY7" fmla="*/ 31843 h 46269"/>
                  <a:gd name="connsiteX8" fmla="*/ 26384 w 63111"/>
                  <a:gd name="connsiteY8" fmla="*/ 0 h 46269"/>
                  <a:gd name="connsiteX9" fmla="*/ 36516 w 63111"/>
                  <a:gd name="connsiteY9" fmla="*/ 0 h 46269"/>
                  <a:gd name="connsiteX10" fmla="*/ 45065 w 63111"/>
                  <a:gd name="connsiteY10" fmla="*/ 31843 h 46269"/>
                  <a:gd name="connsiteX11" fmla="*/ 51713 w 63111"/>
                  <a:gd name="connsiteY11" fmla="*/ 0 h 46269"/>
                  <a:gd name="connsiteX12" fmla="*/ 63112 w 63111"/>
                  <a:gd name="connsiteY12" fmla="*/ 0 h 46269"/>
                  <a:gd name="connsiteX13" fmla="*/ 51502 w 63111"/>
                  <a:gd name="connsiteY1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111" h="46269">
                    <a:moveTo>
                      <a:pt x="51502" y="46269"/>
                    </a:moveTo>
                    <a:lnTo>
                      <a:pt x="39788" y="46269"/>
                    </a:lnTo>
                    <a:lnTo>
                      <a:pt x="31556" y="16670"/>
                    </a:lnTo>
                    <a:lnTo>
                      <a:pt x="23324" y="46269"/>
                    </a:lnTo>
                    <a:lnTo>
                      <a:pt x="11504" y="46269"/>
                    </a:lnTo>
                    <a:lnTo>
                      <a:pt x="0" y="0"/>
                    </a:lnTo>
                    <a:lnTo>
                      <a:pt x="11398" y="0"/>
                    </a:lnTo>
                    <a:lnTo>
                      <a:pt x="18152" y="31843"/>
                    </a:lnTo>
                    <a:lnTo>
                      <a:pt x="26384" y="0"/>
                    </a:lnTo>
                    <a:lnTo>
                      <a:pt x="36516" y="0"/>
                    </a:lnTo>
                    <a:lnTo>
                      <a:pt x="45065" y="31843"/>
                    </a:lnTo>
                    <a:lnTo>
                      <a:pt x="51713" y="0"/>
                    </a:lnTo>
                    <a:lnTo>
                      <a:pt x="63112" y="0"/>
                    </a:lnTo>
                    <a:lnTo>
                      <a:pt x="51502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D6442946-FB88-2C27-16C0-2C48122C7C19}"/>
                  </a:ext>
                </a:extLst>
              </p:cNvPr>
              <p:cNvSpPr/>
              <p:nvPr/>
            </p:nvSpPr>
            <p:spPr>
              <a:xfrm>
                <a:off x="7165465" y="2564748"/>
                <a:ext cx="45697" cy="49047"/>
              </a:xfrm>
              <a:custGeom>
                <a:avLst/>
                <a:gdLst>
                  <a:gd name="connsiteX0" fmla="*/ 37044 w 45697"/>
                  <a:gd name="connsiteY0" fmla="*/ 44239 h 49047"/>
                  <a:gd name="connsiteX1" fmla="*/ 22691 w 45697"/>
                  <a:gd name="connsiteY1" fmla="*/ 49047 h 49047"/>
                  <a:gd name="connsiteX2" fmla="*/ 6543 w 45697"/>
                  <a:gd name="connsiteY2" fmla="*/ 42422 h 49047"/>
                  <a:gd name="connsiteX3" fmla="*/ 0 w 45697"/>
                  <a:gd name="connsiteY3" fmla="*/ 24363 h 49047"/>
                  <a:gd name="connsiteX4" fmla="*/ 4327 w 45697"/>
                  <a:gd name="connsiteY4" fmla="*/ 9403 h 49047"/>
                  <a:gd name="connsiteX5" fmla="*/ 22585 w 45697"/>
                  <a:gd name="connsiteY5" fmla="*/ 0 h 49047"/>
                  <a:gd name="connsiteX6" fmla="*/ 38838 w 45697"/>
                  <a:gd name="connsiteY6" fmla="*/ 6411 h 49047"/>
                  <a:gd name="connsiteX7" fmla="*/ 45698 w 45697"/>
                  <a:gd name="connsiteY7" fmla="*/ 24898 h 49047"/>
                  <a:gd name="connsiteX8" fmla="*/ 37044 w 45697"/>
                  <a:gd name="connsiteY8" fmla="*/ 44239 h 49047"/>
                  <a:gd name="connsiteX9" fmla="*/ 31345 w 45697"/>
                  <a:gd name="connsiteY9" fmla="*/ 14105 h 49047"/>
                  <a:gd name="connsiteX10" fmla="*/ 26912 w 45697"/>
                  <a:gd name="connsiteY10" fmla="*/ 10686 h 49047"/>
                  <a:gd name="connsiteX11" fmla="*/ 22479 w 45697"/>
                  <a:gd name="connsiteY11" fmla="*/ 9831 h 49047"/>
                  <a:gd name="connsiteX12" fmla="*/ 17414 w 45697"/>
                  <a:gd name="connsiteY12" fmla="*/ 11113 h 49047"/>
                  <a:gd name="connsiteX13" fmla="*/ 11187 w 45697"/>
                  <a:gd name="connsiteY13" fmla="*/ 24363 h 49047"/>
                  <a:gd name="connsiteX14" fmla="*/ 14986 w 45697"/>
                  <a:gd name="connsiteY14" fmla="*/ 36118 h 49047"/>
                  <a:gd name="connsiteX15" fmla="*/ 22691 w 45697"/>
                  <a:gd name="connsiteY15" fmla="*/ 39430 h 49047"/>
                  <a:gd name="connsiteX16" fmla="*/ 30606 w 45697"/>
                  <a:gd name="connsiteY16" fmla="*/ 36011 h 49047"/>
                  <a:gd name="connsiteX17" fmla="*/ 34194 w 45697"/>
                  <a:gd name="connsiteY17" fmla="*/ 25859 h 49047"/>
                  <a:gd name="connsiteX18" fmla="*/ 31239 w 45697"/>
                  <a:gd name="connsiteY18" fmla="*/ 14212 h 49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697" h="49047">
                    <a:moveTo>
                      <a:pt x="37044" y="44239"/>
                    </a:moveTo>
                    <a:cubicBezTo>
                      <a:pt x="34616" y="46269"/>
                      <a:pt x="30184" y="49047"/>
                      <a:pt x="22691" y="49047"/>
                    </a:cubicBezTo>
                    <a:cubicBezTo>
                      <a:pt x="19947" y="49047"/>
                      <a:pt x="12348" y="48620"/>
                      <a:pt x="6543" y="42422"/>
                    </a:cubicBezTo>
                    <a:cubicBezTo>
                      <a:pt x="422" y="35904"/>
                      <a:pt x="0" y="27142"/>
                      <a:pt x="0" y="24363"/>
                    </a:cubicBezTo>
                    <a:cubicBezTo>
                      <a:pt x="0" y="21906"/>
                      <a:pt x="317" y="15387"/>
                      <a:pt x="4327" y="9403"/>
                    </a:cubicBezTo>
                    <a:cubicBezTo>
                      <a:pt x="6649" y="5984"/>
                      <a:pt x="11926" y="0"/>
                      <a:pt x="22585" y="0"/>
                    </a:cubicBezTo>
                    <a:cubicBezTo>
                      <a:pt x="31239" y="0"/>
                      <a:pt x="36516" y="3954"/>
                      <a:pt x="38838" y="6411"/>
                    </a:cubicBezTo>
                    <a:cubicBezTo>
                      <a:pt x="43270" y="11006"/>
                      <a:pt x="45698" y="18486"/>
                      <a:pt x="45698" y="24898"/>
                    </a:cubicBezTo>
                    <a:cubicBezTo>
                      <a:pt x="45698" y="31950"/>
                      <a:pt x="42637" y="39537"/>
                      <a:pt x="37044" y="44239"/>
                    </a:cubicBezTo>
                    <a:moveTo>
                      <a:pt x="31345" y="14105"/>
                    </a:moveTo>
                    <a:cubicBezTo>
                      <a:pt x="30817" y="13357"/>
                      <a:pt x="29445" y="11647"/>
                      <a:pt x="26912" y="10686"/>
                    </a:cubicBezTo>
                    <a:cubicBezTo>
                      <a:pt x="25012" y="9938"/>
                      <a:pt x="23324" y="9831"/>
                      <a:pt x="22479" y="9831"/>
                    </a:cubicBezTo>
                    <a:cubicBezTo>
                      <a:pt x="19947" y="9831"/>
                      <a:pt x="18258" y="10686"/>
                      <a:pt x="17414" y="11113"/>
                    </a:cubicBezTo>
                    <a:cubicBezTo>
                      <a:pt x="12876" y="13678"/>
                      <a:pt x="11187" y="19448"/>
                      <a:pt x="11187" y="24363"/>
                    </a:cubicBezTo>
                    <a:cubicBezTo>
                      <a:pt x="11187" y="30668"/>
                      <a:pt x="13087" y="34087"/>
                      <a:pt x="14986" y="36118"/>
                    </a:cubicBezTo>
                    <a:cubicBezTo>
                      <a:pt x="16992" y="38255"/>
                      <a:pt x="19735" y="39430"/>
                      <a:pt x="22691" y="39430"/>
                    </a:cubicBezTo>
                    <a:cubicBezTo>
                      <a:pt x="24168" y="39430"/>
                      <a:pt x="27756" y="39003"/>
                      <a:pt x="30606" y="36011"/>
                    </a:cubicBezTo>
                    <a:cubicBezTo>
                      <a:pt x="33244" y="33232"/>
                      <a:pt x="34089" y="29492"/>
                      <a:pt x="34194" y="25859"/>
                    </a:cubicBezTo>
                    <a:cubicBezTo>
                      <a:pt x="34405" y="19982"/>
                      <a:pt x="32611" y="16135"/>
                      <a:pt x="31239" y="14212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AA5B1394-18CA-18D5-570D-C6CC35798463}"/>
                  </a:ext>
                </a:extLst>
              </p:cNvPr>
              <p:cNvSpPr/>
              <p:nvPr/>
            </p:nvSpPr>
            <p:spPr>
              <a:xfrm>
                <a:off x="7220555" y="2566351"/>
                <a:ext cx="40315" cy="46162"/>
              </a:xfrm>
              <a:custGeom>
                <a:avLst/>
                <a:gdLst>
                  <a:gd name="connsiteX0" fmla="*/ 27651 w 40315"/>
                  <a:gd name="connsiteY0" fmla="*/ 46162 h 46162"/>
                  <a:gd name="connsiteX1" fmla="*/ 18575 w 40315"/>
                  <a:gd name="connsiteY1" fmla="*/ 29706 h 46162"/>
                  <a:gd name="connsiteX2" fmla="*/ 11504 w 40315"/>
                  <a:gd name="connsiteY2" fmla="*/ 29706 h 46162"/>
                  <a:gd name="connsiteX3" fmla="*/ 11504 w 40315"/>
                  <a:gd name="connsiteY3" fmla="*/ 46162 h 46162"/>
                  <a:gd name="connsiteX4" fmla="*/ 0 w 40315"/>
                  <a:gd name="connsiteY4" fmla="*/ 46162 h 46162"/>
                  <a:gd name="connsiteX5" fmla="*/ 0 w 40315"/>
                  <a:gd name="connsiteY5" fmla="*/ 0 h 46162"/>
                  <a:gd name="connsiteX6" fmla="*/ 20580 w 40315"/>
                  <a:gd name="connsiteY6" fmla="*/ 0 h 46162"/>
                  <a:gd name="connsiteX7" fmla="*/ 24485 w 40315"/>
                  <a:gd name="connsiteY7" fmla="*/ 0 h 46162"/>
                  <a:gd name="connsiteX8" fmla="*/ 37360 w 40315"/>
                  <a:gd name="connsiteY8" fmla="*/ 7159 h 46162"/>
                  <a:gd name="connsiteX9" fmla="*/ 39154 w 40315"/>
                  <a:gd name="connsiteY9" fmla="*/ 14853 h 46162"/>
                  <a:gd name="connsiteX10" fmla="*/ 35566 w 40315"/>
                  <a:gd name="connsiteY10" fmla="*/ 24257 h 46162"/>
                  <a:gd name="connsiteX11" fmla="*/ 33455 w 40315"/>
                  <a:gd name="connsiteY11" fmla="*/ 25966 h 46162"/>
                  <a:gd name="connsiteX12" fmla="*/ 29762 w 40315"/>
                  <a:gd name="connsiteY12" fmla="*/ 27569 h 46162"/>
                  <a:gd name="connsiteX13" fmla="*/ 40315 w 40315"/>
                  <a:gd name="connsiteY13" fmla="*/ 46055 h 46162"/>
                  <a:gd name="connsiteX14" fmla="*/ 27756 w 40315"/>
                  <a:gd name="connsiteY14" fmla="*/ 46055 h 46162"/>
                  <a:gd name="connsiteX15" fmla="*/ 21108 w 40315"/>
                  <a:gd name="connsiteY15" fmla="*/ 8549 h 46162"/>
                  <a:gd name="connsiteX16" fmla="*/ 11398 w 40315"/>
                  <a:gd name="connsiteY16" fmla="*/ 8549 h 46162"/>
                  <a:gd name="connsiteX17" fmla="*/ 11398 w 40315"/>
                  <a:gd name="connsiteY17" fmla="*/ 21158 h 46162"/>
                  <a:gd name="connsiteX18" fmla="*/ 20791 w 40315"/>
                  <a:gd name="connsiteY18" fmla="*/ 21158 h 46162"/>
                  <a:gd name="connsiteX19" fmla="*/ 23851 w 40315"/>
                  <a:gd name="connsiteY19" fmla="*/ 20730 h 46162"/>
                  <a:gd name="connsiteX20" fmla="*/ 27651 w 40315"/>
                  <a:gd name="connsiteY20" fmla="*/ 14746 h 46162"/>
                  <a:gd name="connsiteX21" fmla="*/ 21108 w 40315"/>
                  <a:gd name="connsiteY21" fmla="*/ 8549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0315" h="46162">
                    <a:moveTo>
                      <a:pt x="27651" y="46162"/>
                    </a:moveTo>
                    <a:lnTo>
                      <a:pt x="18575" y="29706"/>
                    </a:lnTo>
                    <a:lnTo>
                      <a:pt x="11504" y="29706"/>
                    </a:lnTo>
                    <a:lnTo>
                      <a:pt x="11504" y="46162"/>
                    </a:lnTo>
                    <a:lnTo>
                      <a:pt x="0" y="46162"/>
                    </a:lnTo>
                    <a:lnTo>
                      <a:pt x="0" y="0"/>
                    </a:lnTo>
                    <a:lnTo>
                      <a:pt x="20580" y="0"/>
                    </a:lnTo>
                    <a:cubicBezTo>
                      <a:pt x="21846" y="0"/>
                      <a:pt x="23113" y="0"/>
                      <a:pt x="24485" y="0"/>
                    </a:cubicBezTo>
                    <a:cubicBezTo>
                      <a:pt x="26595" y="107"/>
                      <a:pt x="33772" y="534"/>
                      <a:pt x="37360" y="7159"/>
                    </a:cubicBezTo>
                    <a:cubicBezTo>
                      <a:pt x="37994" y="8442"/>
                      <a:pt x="39154" y="11113"/>
                      <a:pt x="39154" y="14853"/>
                    </a:cubicBezTo>
                    <a:cubicBezTo>
                      <a:pt x="39154" y="19982"/>
                      <a:pt x="37149" y="22761"/>
                      <a:pt x="35566" y="24257"/>
                    </a:cubicBezTo>
                    <a:cubicBezTo>
                      <a:pt x="34933" y="24898"/>
                      <a:pt x="34194" y="25539"/>
                      <a:pt x="33455" y="25966"/>
                    </a:cubicBezTo>
                    <a:cubicBezTo>
                      <a:pt x="32611" y="26394"/>
                      <a:pt x="31661" y="26928"/>
                      <a:pt x="29762" y="27569"/>
                    </a:cubicBezTo>
                    <a:lnTo>
                      <a:pt x="40315" y="46055"/>
                    </a:lnTo>
                    <a:lnTo>
                      <a:pt x="27756" y="46055"/>
                    </a:lnTo>
                    <a:close/>
                    <a:moveTo>
                      <a:pt x="21108" y="8549"/>
                    </a:moveTo>
                    <a:lnTo>
                      <a:pt x="11398" y="8549"/>
                    </a:lnTo>
                    <a:lnTo>
                      <a:pt x="11398" y="21158"/>
                    </a:lnTo>
                    <a:lnTo>
                      <a:pt x="20791" y="21158"/>
                    </a:lnTo>
                    <a:cubicBezTo>
                      <a:pt x="20791" y="21158"/>
                      <a:pt x="22585" y="21158"/>
                      <a:pt x="23851" y="20730"/>
                    </a:cubicBezTo>
                    <a:cubicBezTo>
                      <a:pt x="27545" y="19448"/>
                      <a:pt x="27651" y="15922"/>
                      <a:pt x="27651" y="14746"/>
                    </a:cubicBezTo>
                    <a:cubicBezTo>
                      <a:pt x="27651" y="8762"/>
                      <a:pt x="23113" y="8549"/>
                      <a:pt x="21108" y="8549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5B322B93-6690-28A8-4D60-84C63892A4BB}"/>
                  </a:ext>
                </a:extLst>
              </p:cNvPr>
              <p:cNvSpPr/>
              <p:nvPr/>
            </p:nvSpPr>
            <p:spPr>
              <a:xfrm>
                <a:off x="7271108" y="2566245"/>
                <a:ext cx="42953" cy="46269"/>
              </a:xfrm>
              <a:custGeom>
                <a:avLst/>
                <a:gdLst>
                  <a:gd name="connsiteX0" fmla="*/ 30078 w 42953"/>
                  <a:gd name="connsiteY0" fmla="*/ 46269 h 46269"/>
                  <a:gd name="connsiteX1" fmla="*/ 17941 w 42953"/>
                  <a:gd name="connsiteY1" fmla="*/ 25325 h 46269"/>
                  <a:gd name="connsiteX2" fmla="*/ 10870 w 42953"/>
                  <a:gd name="connsiteY2" fmla="*/ 32698 h 46269"/>
                  <a:gd name="connsiteX3" fmla="*/ 10870 w 42953"/>
                  <a:gd name="connsiteY3" fmla="*/ 46269 h 46269"/>
                  <a:gd name="connsiteX4" fmla="*/ 0 w 42953"/>
                  <a:gd name="connsiteY4" fmla="*/ 46269 h 46269"/>
                  <a:gd name="connsiteX5" fmla="*/ 0 w 42953"/>
                  <a:gd name="connsiteY5" fmla="*/ 0 h 46269"/>
                  <a:gd name="connsiteX6" fmla="*/ 10870 w 42953"/>
                  <a:gd name="connsiteY6" fmla="*/ 0 h 46269"/>
                  <a:gd name="connsiteX7" fmla="*/ 10870 w 42953"/>
                  <a:gd name="connsiteY7" fmla="*/ 18914 h 46269"/>
                  <a:gd name="connsiteX8" fmla="*/ 27967 w 42953"/>
                  <a:gd name="connsiteY8" fmla="*/ 0 h 46269"/>
                  <a:gd name="connsiteX9" fmla="*/ 41687 w 42953"/>
                  <a:gd name="connsiteY9" fmla="*/ 0 h 46269"/>
                  <a:gd name="connsiteX10" fmla="*/ 25540 w 42953"/>
                  <a:gd name="connsiteY10" fmla="*/ 17204 h 46269"/>
                  <a:gd name="connsiteX11" fmla="*/ 42954 w 42953"/>
                  <a:gd name="connsiteY11" fmla="*/ 46269 h 46269"/>
                  <a:gd name="connsiteX12" fmla="*/ 30078 w 42953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953" h="46269">
                    <a:moveTo>
                      <a:pt x="30078" y="46269"/>
                    </a:moveTo>
                    <a:lnTo>
                      <a:pt x="17941" y="25325"/>
                    </a:lnTo>
                    <a:lnTo>
                      <a:pt x="10870" y="32698"/>
                    </a:lnTo>
                    <a:lnTo>
                      <a:pt x="10870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0870" y="0"/>
                    </a:lnTo>
                    <a:lnTo>
                      <a:pt x="10870" y="18914"/>
                    </a:lnTo>
                    <a:lnTo>
                      <a:pt x="27967" y="0"/>
                    </a:lnTo>
                    <a:lnTo>
                      <a:pt x="41687" y="0"/>
                    </a:lnTo>
                    <a:lnTo>
                      <a:pt x="25540" y="17204"/>
                    </a:lnTo>
                    <a:lnTo>
                      <a:pt x="42954" y="46269"/>
                    </a:lnTo>
                    <a:lnTo>
                      <a:pt x="30078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5041A848-56C0-0F63-023E-7D2611D466A6}"/>
              </a:ext>
            </a:extLst>
          </p:cNvPr>
          <p:cNvSpPr/>
          <p:nvPr userDrawn="1"/>
        </p:nvSpPr>
        <p:spPr>
          <a:xfrm>
            <a:off x="7009066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C3A9CB7-0387-C894-40E5-E56A2367EF32}"/>
              </a:ext>
            </a:extLst>
          </p:cNvPr>
          <p:cNvSpPr/>
          <p:nvPr userDrawn="1"/>
        </p:nvSpPr>
        <p:spPr>
          <a:xfrm>
            <a:off x="10038532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1C2B2DB-3F25-FAE7-530A-8E03412A7466}"/>
              </a:ext>
            </a:extLst>
          </p:cNvPr>
          <p:cNvSpPr/>
          <p:nvPr userDrawn="1"/>
        </p:nvSpPr>
        <p:spPr>
          <a:xfrm>
            <a:off x="10851358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</p:spTree>
    <p:extLst>
      <p:ext uri="{BB962C8B-B14F-4D97-AF65-F5344CB8AC3E}">
        <p14:creationId xmlns:p14="http://schemas.microsoft.com/office/powerpoint/2010/main" val="22511254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652F408-1CA7-5969-58F3-1A50E97425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949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52F408-1CA7-5969-58F3-1A50E9742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828000"/>
            <a:ext cx="5718175" cy="504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3237" y="1800000"/>
            <a:ext cx="5718175" cy="4500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21499" y="269875"/>
            <a:ext cx="4765676" cy="6316663"/>
          </a:xfr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2A72FAD3-8E6B-1BAD-169F-7CFA0CB6DDD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7CD98A2-EED4-8B7C-BD86-E1C052CDFD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8040FA6F-B337-F307-0915-EB8BCA4C70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B1DEA5-3EFA-966A-8562-497B1BC9925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278674" y="6187910"/>
            <a:ext cx="539750" cy="52516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1C210D-ED18-3112-0B3F-A2E53CC70A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90250" y="142381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4847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036BCB-C2DC-8846-BC4D-82AD3BF98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32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036BCB-C2DC-8846-BC4D-82AD3BF98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943F149-6126-AD81-72AB-36299E39D89B}"/>
              </a:ext>
            </a:extLst>
          </p:cNvPr>
          <p:cNvSpPr/>
          <p:nvPr userDrawn="1"/>
        </p:nvSpPr>
        <p:spPr bwMode="white">
          <a:xfrm>
            <a:off x="5268912" y="1"/>
            <a:ext cx="6923087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45132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Chart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tx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description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8C1285F6-F55C-DF33-5253-38E27A950D2C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969001" y="1222915"/>
            <a:ext cx="5382654" cy="4412172"/>
          </a:xfrm>
        </p:spPr>
        <p:txBody>
          <a:bodyPr tIns="648000" anchor="ctr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Click to add chart</a:t>
            </a: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DF98CB90-57B9-31BB-7242-DA1DB3F1311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D0201953-C69B-9620-F08C-BCE98406BA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911EA752-AC00-D17F-381D-5C6A263C7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E9558941-C443-D419-7F4B-ABE0BFD352DB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793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036BCB-C2DC-8846-BC4D-82AD3BF98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32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036BCB-C2DC-8846-BC4D-82AD3BF98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943F149-6126-AD81-72AB-36299E39D89B}"/>
              </a:ext>
            </a:extLst>
          </p:cNvPr>
          <p:cNvSpPr/>
          <p:nvPr userDrawn="1"/>
        </p:nvSpPr>
        <p:spPr bwMode="white">
          <a:xfrm>
            <a:off x="5268912" y="1"/>
            <a:ext cx="692308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45132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GB"/>
              <a:t>Chart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tx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description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8C1285F6-F55C-DF33-5253-38E27A950D2C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969001" y="1222915"/>
            <a:ext cx="5382654" cy="4412172"/>
          </a:xfrm>
        </p:spPr>
        <p:txBody>
          <a:bodyPr tIns="648000"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chart</a:t>
            </a: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DF98CB90-57B9-31BB-7242-DA1DB3F1311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D0201953-C69B-9620-F08C-BCE98406BA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4AC21A61-BB0B-F8C2-5E44-3BDA3E3F0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6B2FAE77-052E-7E81-431C-C43B11C824C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9901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036BCB-C2DC-8846-BC4D-82AD3BF98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32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036BCB-C2DC-8846-BC4D-82AD3BF98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943F149-6126-AD81-72AB-36299E39D89B}"/>
              </a:ext>
            </a:extLst>
          </p:cNvPr>
          <p:cNvSpPr/>
          <p:nvPr userDrawn="1"/>
        </p:nvSpPr>
        <p:spPr bwMode="white">
          <a:xfrm>
            <a:off x="5268912" y="1"/>
            <a:ext cx="6923087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45132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Chart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tx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description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8C1285F6-F55C-DF33-5253-38E27A950D2C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969001" y="1222915"/>
            <a:ext cx="5382654" cy="4412172"/>
          </a:xfrm>
        </p:spPr>
        <p:txBody>
          <a:bodyPr tIns="648000" anchor="ctr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Click to add chart</a:t>
            </a: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DF98CB90-57B9-31BB-7242-DA1DB3F1311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D0201953-C69B-9620-F08C-BCE98406BA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911EA752-AC00-D17F-381D-5C6A263C7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E9558941-C443-D419-7F4B-ABE0BFD352DB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789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036BCB-C2DC-8846-BC4D-82AD3BF98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32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036BCB-C2DC-8846-BC4D-82AD3BF98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943F149-6126-AD81-72AB-36299E39D89B}"/>
              </a:ext>
            </a:extLst>
          </p:cNvPr>
          <p:cNvSpPr/>
          <p:nvPr userDrawn="1"/>
        </p:nvSpPr>
        <p:spPr bwMode="white">
          <a:xfrm>
            <a:off x="0" y="1"/>
            <a:ext cx="12191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45132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GB"/>
              <a:t>Chart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8C1285F6-F55C-DF33-5253-38E27A950D2C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969001" y="1222915"/>
            <a:ext cx="5382654" cy="4412172"/>
          </a:xfrm>
        </p:spPr>
        <p:txBody>
          <a:bodyPr tIns="648000"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chart</a:t>
            </a: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DF98CB90-57B9-31BB-7242-DA1DB3F1311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D0201953-C69B-9620-F08C-BCE98406BA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4AC21A61-BB0B-F8C2-5E44-3BDA3E3F0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6B2FAE77-052E-7E81-431C-C43B11C824C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9830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036BCB-C2DC-8846-BC4D-82AD3BF98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32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036BCB-C2DC-8846-BC4D-82AD3BF98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943F149-6126-AD81-72AB-36299E39D89B}"/>
              </a:ext>
            </a:extLst>
          </p:cNvPr>
          <p:cNvSpPr/>
          <p:nvPr userDrawn="1"/>
        </p:nvSpPr>
        <p:spPr bwMode="white">
          <a:xfrm>
            <a:off x="0" y="1"/>
            <a:ext cx="12191999" cy="6858000"/>
          </a:xfrm>
          <a:prstGeom prst="rect">
            <a:avLst/>
          </a:prstGeom>
          <a:solidFill>
            <a:srgbClr val="E5E8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GB" sz="200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45132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GB"/>
              <a:t>Chart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8C1285F6-F55C-DF33-5253-38E27A950D2C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969001" y="1222915"/>
            <a:ext cx="5382654" cy="4412172"/>
          </a:xfrm>
        </p:spPr>
        <p:txBody>
          <a:bodyPr tIns="648000" anchor="ctr"/>
          <a:lstStyle>
            <a:lvl1pPr marL="0" indent="0" algn="ctr" rtl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chart</a:t>
            </a: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DF98CB90-57B9-31BB-7242-DA1DB3F1311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D0201953-C69B-9620-F08C-BCE98406BA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4AC21A61-BB0B-F8C2-5E44-3BDA3E3F0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6B2FAE77-052E-7E81-431C-C43B11C824C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3731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C65D522-122E-E0A3-FC62-0C85F768A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096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65D522-122E-E0A3-FC62-0C85F768A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3985" y="1511808"/>
            <a:ext cx="10924031" cy="4949952"/>
          </a:xfrm>
          <a:prstGeom prst="round2DiagRect">
            <a:avLst>
              <a:gd name="adj1" fmla="val 1769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8040FA6F-B337-F307-0915-EB8BCA4C70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E5CD45D-03EA-81B8-CDAE-698AB3835E8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F5F046E-2864-2A3B-CD52-7FE8625CB0C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0494" y="1390287"/>
            <a:ext cx="539750" cy="52516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250524BC-D83B-0260-73A2-5D610C933F2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140168" y="6057810"/>
            <a:ext cx="539750" cy="52516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E9DCF88-BA15-21B1-0609-5F567525BBDF}"/>
              </a:ext>
            </a:extLst>
          </p:cNvPr>
          <p:cNvSpPr txBox="1">
            <a:spLocks/>
          </p:cNvSpPr>
          <p:nvPr userDrawn="1"/>
        </p:nvSpPr>
        <p:spPr>
          <a:xfrm>
            <a:off x="503238" y="828000"/>
            <a:ext cx="5465762" cy="5550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Oscine" panose="020B0506040202020204" pitchFamily="34" charset="0"/>
                <a:ea typeface="+mj-ea"/>
                <a:cs typeface="Oscine" panose="020B050604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2" name="Footer Placeholder 17">
            <a:extLst>
              <a:ext uri="{FF2B5EF4-FFF2-40B4-BE49-F238E27FC236}">
                <a16:creationId xmlns:a16="http://schemas.microsoft.com/office/drawing/2014/main" id="{043C07A3-09F9-30BF-04C4-1FC404A3BA0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03238" y="268915"/>
            <a:ext cx="3560762" cy="126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8615F642-41B0-24F0-2E36-CCE3B6D51BC9}"/>
              </a:ext>
            </a:extLst>
          </p:cNvPr>
          <p:cNvSpPr txBox="1">
            <a:spLocks/>
          </p:cNvSpPr>
          <p:nvPr userDrawn="1"/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 vert="horz" lIns="0" tIns="0" rIns="0" bIns="1800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1" kern="1200">
                <a:solidFill>
                  <a:schemeClr val="accent3"/>
                </a:solidFill>
                <a:latin typeface="Oscine" panose="020B0506040202020204" pitchFamily="34" charset="0"/>
                <a:ea typeface="+mn-ea"/>
                <a:cs typeface="Oscine" panose="020B050604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F7265BAA-E559-3988-4F55-F2C9E752A14D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4748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C65D522-122E-E0A3-FC62-0C85F768A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19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65D522-122E-E0A3-FC62-0C85F768A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68913" y="394914"/>
            <a:ext cx="6418261" cy="6191623"/>
          </a:xfrm>
          <a:prstGeom prst="round2DiagRect">
            <a:avLst>
              <a:gd name="adj1" fmla="val 154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878588"/>
            <a:ext cx="8324851" cy="159619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9600" b="0" i="0" u="none" strike="noStrike">
                <a:solidFill>
                  <a:schemeClr val="accent1">
                    <a:lumMod val="100000"/>
                  </a:schemeClr>
                </a:solidFill>
                <a:latin typeface="+mj-lt"/>
                <a:cs typeface="Oscine" panose="020B0506040202020204" pitchFamily="34" charset="0"/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9" y="890337"/>
            <a:ext cx="3560762" cy="159619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 i="1"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7CD98A2-EED4-8B7C-BD86-E1C052CDFD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8040FA6F-B337-F307-0915-EB8BCA4C70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E5CD45D-03EA-81B8-CDAE-698AB3835E8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F5F046E-2864-2A3B-CD52-7FE8625CB0C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46013" y="276172"/>
            <a:ext cx="539750" cy="52516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250524BC-D83B-0260-73A2-5D610C933F2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271417" y="6180653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0301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54DCF3-BE3A-160B-540D-D7A791CF9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495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54DCF3-BE3A-160B-540D-D7A791CF9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54657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3913" y="384174"/>
            <a:ext cx="4513261" cy="6202363"/>
          </a:xfrm>
          <a:prstGeom prst="round2DiagRect">
            <a:avLst>
              <a:gd name="adj1" fmla="val 2105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7CD98A2-EED4-8B7C-BD86-E1C052CDFD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8040FA6F-B337-F307-0915-EB8BCA4C70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12227A4-26BD-3ADB-3075-E575A36E93D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E5AAC0-0909-B423-99E4-9642A5AA86B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271417" y="6180653"/>
            <a:ext cx="539750" cy="525162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57F2C41-996F-C5FE-167E-25BA44298C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49920" y="260350"/>
            <a:ext cx="539750" cy="525162"/>
          </a:xfrm>
          <a:prstGeom prst="rect">
            <a:avLst/>
          </a:prstGeom>
        </p:spPr>
      </p:pic>
      <p:sp>
        <p:nvSpPr>
          <p:cNvPr id="3" name="Footer Placeholder 17">
            <a:extLst>
              <a:ext uri="{FF2B5EF4-FFF2-40B4-BE49-F238E27FC236}">
                <a16:creationId xmlns:a16="http://schemas.microsoft.com/office/drawing/2014/main" id="{73CF62A0-2C81-E743-B7D5-28514E1A491C}"/>
              </a:ext>
            </a:extLst>
          </p:cNvPr>
          <p:cNvSpPr txBox="1">
            <a:spLocks/>
          </p:cNvSpPr>
          <p:nvPr userDrawn="1"/>
        </p:nvSpPr>
        <p:spPr>
          <a:xfrm>
            <a:off x="503238" y="268915"/>
            <a:ext cx="3560762" cy="126000"/>
          </a:xfrm>
          <a:prstGeom prst="rect">
            <a:avLst/>
          </a:prstGeom>
        </p:spPr>
        <p:txBody>
          <a:bodyPr vert="horz" lIns="0" tIns="0" rIns="0" bIns="1800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Oscine" panose="020B0506040202020204" pitchFamily="34" charset="0"/>
                <a:ea typeface="+mn-ea"/>
                <a:cs typeface="Oscine" panose="020B050604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+mn-lt"/>
              </a:rPr>
              <a:t>RESILIENT CITIES, REIMAGINING HEALTH</a:t>
            </a:r>
          </a:p>
        </p:txBody>
      </p:sp>
    </p:spTree>
    <p:extLst>
      <p:ext uri="{BB962C8B-B14F-4D97-AF65-F5344CB8AC3E}">
        <p14:creationId xmlns:p14="http://schemas.microsoft.com/office/powerpoint/2010/main" val="12824938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D3A7D7-3E6C-7BC1-6311-F0AC97BB9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87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D3A7D7-3E6C-7BC1-6311-F0AC97BB9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3844" y="1710125"/>
            <a:ext cx="5214857" cy="2788916"/>
          </a:xfrm>
          <a:prstGeom prst="round2DiagRect">
            <a:avLst>
              <a:gd name="adj1" fmla="val 365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F43A0467-854D-A5E9-4475-554AC19F71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7" y="5342021"/>
            <a:ext cx="5465762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DB837B-4D48-D012-61B0-0EE41DB9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E55A046-A771-0C89-980B-90FCE6138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4756976"/>
            <a:ext cx="5465762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F23EAE1A-D748-3862-E1EB-F37656124B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1412" y="5342021"/>
            <a:ext cx="5467351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50261D2-B563-943E-4224-81DE75FFF2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1413" y="4756976"/>
            <a:ext cx="5467351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4BC724C8-AFD4-11D0-B4F1-65649C83EA6D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EF087-D346-03AB-D43F-2E15F47EC48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D32A8-05A1-6DD9-B854-7475A355913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5421993" y="4095590"/>
            <a:ext cx="539750" cy="52516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3A6947C-529B-3DB1-7732-D638FA0DC97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238" y="1590376"/>
            <a:ext cx="539750" cy="525162"/>
          </a:xfrm>
          <a:prstGeom prst="rect">
            <a:avLst/>
          </a:prstGeom>
        </p:spPr>
      </p:pic>
      <p:sp>
        <p:nvSpPr>
          <p:cNvPr id="13" name="Slide Number Placeholder 10">
            <a:extLst>
              <a:ext uri="{FF2B5EF4-FFF2-40B4-BE49-F238E27FC236}">
                <a16:creationId xmlns:a16="http://schemas.microsoft.com/office/drawing/2014/main" id="{88CD7566-746D-105C-3FFE-578A88A58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D860AF60-C90F-FC4D-6EE9-2A3E40599E9E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45AB1674-78F5-9C90-CDF4-89B4921C0D3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53301" y="1709684"/>
            <a:ext cx="5214857" cy="2788916"/>
          </a:xfrm>
          <a:prstGeom prst="round2DiagRect">
            <a:avLst>
              <a:gd name="adj1" fmla="val 365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B5A7CAE2-04DC-0316-DED8-D7F760BAD40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151450" y="4095149"/>
            <a:ext cx="539750" cy="525162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CCB9B6B9-81A1-FFBD-AF63-453C6DE6008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32695" y="1589935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571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1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F106BB1-8670-1AAA-FB07-7F7061717F6C}"/>
              </a:ext>
            </a:extLst>
          </p:cNvPr>
          <p:cNvGrpSpPr/>
          <p:nvPr userDrawn="1"/>
        </p:nvGrpSpPr>
        <p:grpSpPr>
          <a:xfrm>
            <a:off x="6177092" y="5967840"/>
            <a:ext cx="1366471" cy="544436"/>
            <a:chOff x="503238" y="3212070"/>
            <a:chExt cx="1854158" cy="73874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49F4C488-0066-4163-FC32-D274047DCE0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87226" y="3480642"/>
              <a:ext cx="470170" cy="47017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5D65BCF-55FD-CE27-891D-F917AC9CE4A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3239" y="3480642"/>
              <a:ext cx="897597" cy="47017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BFACC51-5A81-B996-9778-E471349D8916}"/>
                </a:ext>
              </a:extLst>
            </p:cNvPr>
            <p:cNvSpPr txBox="1"/>
            <p:nvPr/>
          </p:nvSpPr>
          <p:spPr>
            <a:xfrm>
              <a:off x="503238" y="3212070"/>
              <a:ext cx="524201" cy="208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Oscine Trial" panose="020B0506040202020204" pitchFamily="34" charset="0"/>
                  <a:cs typeface="Oscine Trial" panose="020B0506040202020204" pitchFamily="34" charset="0"/>
                </a:rPr>
                <a:t>Led by: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833CDF4-BC6E-AACE-342E-0D5A4DACA25E}"/>
                </a:ext>
              </a:extLst>
            </p:cNvPr>
            <p:cNvCxnSpPr/>
            <p:nvPr/>
          </p:nvCxnSpPr>
          <p:spPr>
            <a:xfrm>
              <a:off x="1644031" y="3480642"/>
              <a:ext cx="0" cy="47017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FF4DFD9-7E96-04D8-3524-2863EA6B92AD}"/>
              </a:ext>
            </a:extLst>
          </p:cNvPr>
          <p:cNvGrpSpPr/>
          <p:nvPr userDrawn="1"/>
        </p:nvGrpSpPr>
        <p:grpSpPr>
          <a:xfrm>
            <a:off x="8969267" y="5897266"/>
            <a:ext cx="2723790" cy="633666"/>
            <a:chOff x="503238" y="4424793"/>
            <a:chExt cx="3724578" cy="866490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CF244A9C-D328-C66C-DD25-8E4C910F96D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58714" y="4878103"/>
              <a:ext cx="869102" cy="21371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2CC900D-5D59-613D-EF8D-FBD962F1111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58671" y="4678637"/>
              <a:ext cx="626893" cy="612646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3297B8A8-6560-22DF-A54B-B562194BBB6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3239" y="4835360"/>
              <a:ext cx="1282282" cy="29919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41E0825-CA27-E3B3-FE3A-75CC63779789}"/>
                </a:ext>
              </a:extLst>
            </p:cNvPr>
            <p:cNvSpPr txBox="1"/>
            <p:nvPr/>
          </p:nvSpPr>
          <p:spPr>
            <a:xfrm>
              <a:off x="503238" y="4424793"/>
              <a:ext cx="1374375" cy="2104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Oscine Trial" panose="020B0506040202020204" pitchFamily="34" charset="0"/>
                  <a:cs typeface="Oscine Trial" panose="020B0506040202020204" pitchFamily="34" charset="0"/>
                </a:rPr>
                <a:t>With support from: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0122951-7EC8-4FFF-75EB-750AA54C7BB7}"/>
                </a:ext>
              </a:extLst>
            </p:cNvPr>
            <p:cNvCxnSpPr/>
            <p:nvPr/>
          </p:nvCxnSpPr>
          <p:spPr>
            <a:xfrm>
              <a:off x="2022096" y="4757039"/>
              <a:ext cx="0" cy="47017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411EA07-EBBD-CA44-C9F4-94BA989ECEDC}"/>
                </a:ext>
              </a:extLst>
            </p:cNvPr>
            <p:cNvCxnSpPr/>
            <p:nvPr/>
          </p:nvCxnSpPr>
          <p:spPr>
            <a:xfrm>
              <a:off x="3122139" y="4749875"/>
              <a:ext cx="0" cy="47017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72FEC22-9292-8C42-0CC5-5E209B05EAA5}"/>
              </a:ext>
            </a:extLst>
          </p:cNvPr>
          <p:cNvGrpSpPr/>
          <p:nvPr userDrawn="1"/>
        </p:nvGrpSpPr>
        <p:grpSpPr>
          <a:xfrm>
            <a:off x="3102174" y="5953915"/>
            <a:ext cx="1655808" cy="598633"/>
            <a:chOff x="503203" y="2022640"/>
            <a:chExt cx="2039472" cy="737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7816CD9C-3CAC-ECC9-4211-0B017107FBD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16583" y="2289811"/>
              <a:ext cx="926092" cy="47017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0674B09-3A88-E16D-23A9-4C2D7E419127}"/>
                </a:ext>
              </a:extLst>
            </p:cNvPr>
            <p:cNvSpPr txBox="1"/>
            <p:nvPr/>
          </p:nvSpPr>
          <p:spPr>
            <a:xfrm>
              <a:off x="503237" y="2022640"/>
              <a:ext cx="979318" cy="1895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Oscine Trial" panose="020B0506040202020204" pitchFamily="34" charset="0"/>
                  <a:cs typeface="Oscine Trial" panose="020B0506040202020204" pitchFamily="34" charset="0"/>
                </a:rPr>
                <a:t>Partnership of: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74B0913-ED28-20D0-52E2-F4E1F0A91A84}"/>
                </a:ext>
              </a:extLst>
            </p:cNvPr>
            <p:cNvGrpSpPr/>
            <p:nvPr/>
          </p:nvGrpSpPr>
          <p:grpSpPr>
            <a:xfrm>
              <a:off x="503203" y="2289771"/>
              <a:ext cx="859744" cy="468658"/>
              <a:chOff x="503203" y="2289771"/>
              <a:chExt cx="859744" cy="468658"/>
            </a:xfrm>
          </p:grpSpPr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FBEA81A2-3A6F-A2D8-9A8A-2A485144695B}"/>
                  </a:ext>
                </a:extLst>
              </p:cNvPr>
              <p:cNvSpPr/>
              <p:nvPr/>
            </p:nvSpPr>
            <p:spPr>
              <a:xfrm>
                <a:off x="503203" y="2289771"/>
                <a:ext cx="462960" cy="468658"/>
              </a:xfrm>
              <a:custGeom>
                <a:avLst/>
                <a:gdLst>
                  <a:gd name="connsiteX0" fmla="*/ 254381 w 462960"/>
                  <a:gd name="connsiteY0" fmla="*/ 894 h 468658"/>
                  <a:gd name="connsiteX1" fmla="*/ 326780 w 462960"/>
                  <a:gd name="connsiteY1" fmla="*/ 20556 h 468658"/>
                  <a:gd name="connsiteX2" fmla="*/ 436539 w 462960"/>
                  <a:gd name="connsiteY2" fmla="*/ 125382 h 468658"/>
                  <a:gd name="connsiteX3" fmla="*/ 460707 w 462960"/>
                  <a:gd name="connsiteY3" fmla="*/ 201785 h 468658"/>
                  <a:gd name="connsiteX4" fmla="*/ 438228 w 462960"/>
                  <a:gd name="connsiteY4" fmla="*/ 339310 h 468658"/>
                  <a:gd name="connsiteX5" fmla="*/ 282454 w 462960"/>
                  <a:gd name="connsiteY5" fmla="*/ 462836 h 468658"/>
                  <a:gd name="connsiteX6" fmla="*/ 221559 w 462960"/>
                  <a:gd name="connsiteY6" fmla="*/ 468393 h 468658"/>
                  <a:gd name="connsiteX7" fmla="*/ 83832 w 462960"/>
                  <a:gd name="connsiteY7" fmla="*/ 414751 h 468658"/>
                  <a:gd name="connsiteX8" fmla="*/ 6579 w 462960"/>
                  <a:gd name="connsiteY8" fmla="*/ 290476 h 468658"/>
                  <a:gd name="connsiteX9" fmla="*/ 36 w 462960"/>
                  <a:gd name="connsiteY9" fmla="*/ 238971 h 468658"/>
                  <a:gd name="connsiteX10" fmla="*/ 43201 w 462960"/>
                  <a:gd name="connsiteY10" fmla="*/ 97813 h 468658"/>
                  <a:gd name="connsiteX11" fmla="*/ 175122 w 462960"/>
                  <a:gd name="connsiteY11" fmla="*/ 6771 h 468658"/>
                  <a:gd name="connsiteX12" fmla="*/ 214699 w 462960"/>
                  <a:gd name="connsiteY12" fmla="*/ 467 h 468658"/>
                  <a:gd name="connsiteX13" fmla="*/ 254381 w 462960"/>
                  <a:gd name="connsiteY13" fmla="*/ 894 h 46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960" h="468658">
                    <a:moveTo>
                      <a:pt x="254381" y="894"/>
                    </a:moveTo>
                    <a:cubicBezTo>
                      <a:pt x="279605" y="3352"/>
                      <a:pt x="303773" y="9870"/>
                      <a:pt x="326780" y="20556"/>
                    </a:cubicBezTo>
                    <a:cubicBezTo>
                      <a:pt x="375011" y="42996"/>
                      <a:pt x="411632" y="78045"/>
                      <a:pt x="436539" y="125382"/>
                    </a:cubicBezTo>
                    <a:cubicBezTo>
                      <a:pt x="449098" y="149318"/>
                      <a:pt x="457224" y="174857"/>
                      <a:pt x="460707" y="201785"/>
                    </a:cubicBezTo>
                    <a:cubicBezTo>
                      <a:pt x="467039" y="249871"/>
                      <a:pt x="460179" y="296140"/>
                      <a:pt x="438228" y="339310"/>
                    </a:cubicBezTo>
                    <a:cubicBezTo>
                      <a:pt x="405089" y="404386"/>
                      <a:pt x="352848" y="445525"/>
                      <a:pt x="282454" y="462836"/>
                    </a:cubicBezTo>
                    <a:cubicBezTo>
                      <a:pt x="262508" y="467752"/>
                      <a:pt x="242139" y="469355"/>
                      <a:pt x="221559" y="468393"/>
                    </a:cubicBezTo>
                    <a:cubicBezTo>
                      <a:pt x="169846" y="465828"/>
                      <a:pt x="123726" y="448197"/>
                      <a:pt x="83832" y="414751"/>
                    </a:cubicBezTo>
                    <a:cubicBezTo>
                      <a:pt x="44678" y="381946"/>
                      <a:pt x="19032" y="340378"/>
                      <a:pt x="6579" y="290476"/>
                    </a:cubicBezTo>
                    <a:cubicBezTo>
                      <a:pt x="2463" y="273593"/>
                      <a:pt x="352" y="256389"/>
                      <a:pt x="36" y="238971"/>
                    </a:cubicBezTo>
                    <a:cubicBezTo>
                      <a:pt x="-809" y="187146"/>
                      <a:pt x="13333" y="139915"/>
                      <a:pt x="43201" y="97813"/>
                    </a:cubicBezTo>
                    <a:cubicBezTo>
                      <a:pt x="76234" y="51331"/>
                      <a:pt x="120454" y="21197"/>
                      <a:pt x="175122" y="6771"/>
                    </a:cubicBezTo>
                    <a:cubicBezTo>
                      <a:pt x="188104" y="3352"/>
                      <a:pt x="201296" y="1322"/>
                      <a:pt x="214699" y="467"/>
                    </a:cubicBezTo>
                    <a:cubicBezTo>
                      <a:pt x="232324" y="-709"/>
                      <a:pt x="251743" y="681"/>
                      <a:pt x="254381" y="894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8" name="Graphic 34">
                <a:extLst>
                  <a:ext uri="{FF2B5EF4-FFF2-40B4-BE49-F238E27FC236}">
                    <a16:creationId xmlns:a16="http://schemas.microsoft.com/office/drawing/2014/main" id="{D220AE91-1FC8-CA9C-ABDB-CA6975B16903}"/>
                  </a:ext>
                </a:extLst>
              </p:cNvPr>
              <p:cNvGrpSpPr/>
              <p:nvPr/>
            </p:nvGrpSpPr>
            <p:grpSpPr>
              <a:xfrm>
                <a:off x="548303" y="2503310"/>
                <a:ext cx="376030" cy="49261"/>
                <a:chOff x="548303" y="2503310"/>
                <a:chExt cx="376030" cy="49261"/>
              </a:xfrm>
              <a:solidFill>
                <a:srgbClr val="FFFFFF"/>
              </a:solidFill>
            </p:grpSpPr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FFE207EE-0F20-E14E-502C-A02A4A5172F7}"/>
                    </a:ext>
                  </a:extLst>
                </p:cNvPr>
                <p:cNvSpPr/>
                <p:nvPr/>
              </p:nvSpPr>
              <p:spPr>
                <a:xfrm>
                  <a:off x="548303" y="2504806"/>
                  <a:ext cx="43798" cy="46375"/>
                </a:xfrm>
                <a:custGeom>
                  <a:avLst/>
                  <a:gdLst>
                    <a:gd name="connsiteX0" fmla="*/ 27651 w 43798"/>
                    <a:gd name="connsiteY0" fmla="*/ 46376 h 46375"/>
                    <a:gd name="connsiteX1" fmla="*/ 18786 w 43798"/>
                    <a:gd name="connsiteY1" fmla="*/ 30027 h 46375"/>
                    <a:gd name="connsiteX2" fmla="*/ 14564 w 43798"/>
                    <a:gd name="connsiteY2" fmla="*/ 30027 h 46375"/>
                    <a:gd name="connsiteX3" fmla="*/ 14564 w 43798"/>
                    <a:gd name="connsiteY3" fmla="*/ 46376 h 46375"/>
                    <a:gd name="connsiteX4" fmla="*/ 0 w 43798"/>
                    <a:gd name="connsiteY4" fmla="*/ 46376 h 46375"/>
                    <a:gd name="connsiteX5" fmla="*/ 0 w 43798"/>
                    <a:gd name="connsiteY5" fmla="*/ 0 h 46375"/>
                    <a:gd name="connsiteX6" fmla="*/ 24801 w 43798"/>
                    <a:gd name="connsiteY6" fmla="*/ 0 h 46375"/>
                    <a:gd name="connsiteX7" fmla="*/ 28706 w 43798"/>
                    <a:gd name="connsiteY7" fmla="*/ 214 h 46375"/>
                    <a:gd name="connsiteX8" fmla="*/ 39893 w 43798"/>
                    <a:gd name="connsiteY8" fmla="*/ 6518 h 46375"/>
                    <a:gd name="connsiteX9" fmla="*/ 42004 w 43798"/>
                    <a:gd name="connsiteY9" fmla="*/ 14853 h 46375"/>
                    <a:gd name="connsiteX10" fmla="*/ 36622 w 43798"/>
                    <a:gd name="connsiteY10" fmla="*/ 25752 h 46375"/>
                    <a:gd name="connsiteX11" fmla="*/ 32611 w 43798"/>
                    <a:gd name="connsiteY11" fmla="*/ 27676 h 46375"/>
                    <a:gd name="connsiteX12" fmla="*/ 43798 w 43798"/>
                    <a:gd name="connsiteY12" fmla="*/ 46376 h 46375"/>
                    <a:gd name="connsiteX13" fmla="*/ 27545 w 43798"/>
                    <a:gd name="connsiteY13" fmla="*/ 46376 h 46375"/>
                    <a:gd name="connsiteX14" fmla="*/ 26595 w 43798"/>
                    <a:gd name="connsiteY14" fmla="*/ 11861 h 46375"/>
                    <a:gd name="connsiteX15" fmla="*/ 25223 w 43798"/>
                    <a:gd name="connsiteY15" fmla="*/ 10686 h 46375"/>
                    <a:gd name="connsiteX16" fmla="*/ 20369 w 43798"/>
                    <a:gd name="connsiteY16" fmla="*/ 9724 h 46375"/>
                    <a:gd name="connsiteX17" fmla="*/ 14459 w 43798"/>
                    <a:gd name="connsiteY17" fmla="*/ 9724 h 46375"/>
                    <a:gd name="connsiteX18" fmla="*/ 14459 w 43798"/>
                    <a:gd name="connsiteY18" fmla="*/ 20517 h 46375"/>
                    <a:gd name="connsiteX19" fmla="*/ 20474 w 43798"/>
                    <a:gd name="connsiteY19" fmla="*/ 20517 h 46375"/>
                    <a:gd name="connsiteX20" fmla="*/ 27123 w 43798"/>
                    <a:gd name="connsiteY20" fmla="*/ 17204 h 46375"/>
                    <a:gd name="connsiteX21" fmla="*/ 27440 w 43798"/>
                    <a:gd name="connsiteY21" fmla="*/ 15174 h 46375"/>
                    <a:gd name="connsiteX22" fmla="*/ 26490 w 43798"/>
                    <a:gd name="connsiteY22" fmla="*/ 11861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3798" h="46375">
                      <a:moveTo>
                        <a:pt x="27651" y="46376"/>
                      </a:moveTo>
                      <a:lnTo>
                        <a:pt x="18786" y="30027"/>
                      </a:lnTo>
                      <a:lnTo>
                        <a:pt x="14564" y="30027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lnTo>
                        <a:pt x="0" y="0"/>
                      </a:lnTo>
                      <a:lnTo>
                        <a:pt x="24801" y="0"/>
                      </a:lnTo>
                      <a:cubicBezTo>
                        <a:pt x="26068" y="0"/>
                        <a:pt x="27440" y="0"/>
                        <a:pt x="28706" y="214"/>
                      </a:cubicBezTo>
                      <a:cubicBezTo>
                        <a:pt x="30711" y="427"/>
                        <a:pt x="36516" y="962"/>
                        <a:pt x="39893" y="6518"/>
                      </a:cubicBezTo>
                      <a:cubicBezTo>
                        <a:pt x="40632" y="7907"/>
                        <a:pt x="42004" y="10793"/>
                        <a:pt x="42004" y="14853"/>
                      </a:cubicBezTo>
                      <a:cubicBezTo>
                        <a:pt x="42004" y="19234"/>
                        <a:pt x="40315" y="23295"/>
                        <a:pt x="36622" y="25752"/>
                      </a:cubicBezTo>
                      <a:cubicBezTo>
                        <a:pt x="35672" y="26394"/>
                        <a:pt x="34827" y="26821"/>
                        <a:pt x="32611" y="27676"/>
                      </a:cubicBezTo>
                      <a:lnTo>
                        <a:pt x="43798" y="46376"/>
                      </a:lnTo>
                      <a:lnTo>
                        <a:pt x="27545" y="46376"/>
                      </a:lnTo>
                      <a:close/>
                      <a:moveTo>
                        <a:pt x="26595" y="11861"/>
                      </a:moveTo>
                      <a:cubicBezTo>
                        <a:pt x="26173" y="11220"/>
                        <a:pt x="25540" y="10793"/>
                        <a:pt x="25223" y="10686"/>
                      </a:cubicBezTo>
                      <a:cubicBezTo>
                        <a:pt x="23746" y="9831"/>
                        <a:pt x="22057" y="9724"/>
                        <a:pt x="20369" y="9724"/>
                      </a:cubicBezTo>
                      <a:lnTo>
                        <a:pt x="14459" y="9724"/>
                      </a:lnTo>
                      <a:lnTo>
                        <a:pt x="14459" y="20517"/>
                      </a:lnTo>
                      <a:lnTo>
                        <a:pt x="20474" y="20517"/>
                      </a:lnTo>
                      <a:cubicBezTo>
                        <a:pt x="23113" y="20517"/>
                        <a:pt x="26068" y="20196"/>
                        <a:pt x="27123" y="17204"/>
                      </a:cubicBezTo>
                      <a:cubicBezTo>
                        <a:pt x="27123" y="16990"/>
                        <a:pt x="27440" y="16135"/>
                        <a:pt x="27440" y="15174"/>
                      </a:cubicBezTo>
                      <a:cubicBezTo>
                        <a:pt x="27440" y="14105"/>
                        <a:pt x="27123" y="12823"/>
                        <a:pt x="26490" y="118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DB60ED3B-2239-5A6B-ED2D-C45A990ADC3C}"/>
                    </a:ext>
                  </a:extLst>
                </p:cNvPr>
                <p:cNvSpPr/>
                <p:nvPr/>
              </p:nvSpPr>
              <p:spPr>
                <a:xfrm>
                  <a:off x="598961" y="2504806"/>
                  <a:ext cx="38204" cy="46375"/>
                </a:xfrm>
                <a:custGeom>
                  <a:avLst/>
                  <a:gdLst>
                    <a:gd name="connsiteX0" fmla="*/ 106 w 38204"/>
                    <a:gd name="connsiteY0" fmla="*/ 46376 h 46375"/>
                    <a:gd name="connsiteX1" fmla="*/ 106 w 38204"/>
                    <a:gd name="connsiteY1" fmla="*/ 0 h 46375"/>
                    <a:gd name="connsiteX2" fmla="*/ 36305 w 38204"/>
                    <a:gd name="connsiteY2" fmla="*/ 0 h 46375"/>
                    <a:gd name="connsiteX3" fmla="*/ 36305 w 38204"/>
                    <a:gd name="connsiteY3" fmla="*/ 10151 h 46375"/>
                    <a:gd name="connsiteX4" fmla="*/ 14564 w 38204"/>
                    <a:gd name="connsiteY4" fmla="*/ 10151 h 46375"/>
                    <a:gd name="connsiteX5" fmla="*/ 14564 w 38204"/>
                    <a:gd name="connsiteY5" fmla="*/ 16990 h 46375"/>
                    <a:gd name="connsiteX6" fmla="*/ 34827 w 38204"/>
                    <a:gd name="connsiteY6" fmla="*/ 16990 h 46375"/>
                    <a:gd name="connsiteX7" fmla="*/ 34827 w 38204"/>
                    <a:gd name="connsiteY7" fmla="*/ 27035 h 46375"/>
                    <a:gd name="connsiteX8" fmla="*/ 14459 w 38204"/>
                    <a:gd name="connsiteY8" fmla="*/ 27035 h 46375"/>
                    <a:gd name="connsiteX9" fmla="*/ 14459 w 38204"/>
                    <a:gd name="connsiteY9" fmla="*/ 36224 h 46375"/>
                    <a:gd name="connsiteX10" fmla="*/ 38205 w 38204"/>
                    <a:gd name="connsiteY10" fmla="*/ 36224 h 46375"/>
                    <a:gd name="connsiteX11" fmla="*/ 38205 w 38204"/>
                    <a:gd name="connsiteY11" fmla="*/ 46269 h 46375"/>
                    <a:gd name="connsiteX12" fmla="*/ 0 w 38204"/>
                    <a:gd name="connsiteY12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375">
                      <a:moveTo>
                        <a:pt x="106" y="46376"/>
                      </a:moveTo>
                      <a:lnTo>
                        <a:pt x="106" y="0"/>
                      </a:lnTo>
                      <a:lnTo>
                        <a:pt x="36305" y="0"/>
                      </a:lnTo>
                      <a:lnTo>
                        <a:pt x="36305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F8FA522A-0027-B564-E6CE-5E6A3F9040F1}"/>
                    </a:ext>
                  </a:extLst>
                </p:cNvPr>
                <p:cNvSpPr/>
                <p:nvPr/>
              </p:nvSpPr>
              <p:spPr>
                <a:xfrm>
                  <a:off x="643392" y="2503310"/>
                  <a:ext cx="45064" cy="49261"/>
                </a:xfrm>
                <a:custGeom>
                  <a:avLst/>
                  <a:gdLst>
                    <a:gd name="connsiteX0" fmla="*/ 38838 w 45064"/>
                    <a:gd name="connsiteY0" fmla="*/ 44987 h 49261"/>
                    <a:gd name="connsiteX1" fmla="*/ 23324 w 45064"/>
                    <a:gd name="connsiteY1" fmla="*/ 49261 h 49261"/>
                    <a:gd name="connsiteX2" fmla="*/ 4855 w 45064"/>
                    <a:gd name="connsiteY2" fmla="*/ 44025 h 49261"/>
                    <a:gd name="connsiteX3" fmla="*/ 0 w 45064"/>
                    <a:gd name="connsiteY3" fmla="*/ 39003 h 49261"/>
                    <a:gd name="connsiteX4" fmla="*/ 11081 w 45064"/>
                    <a:gd name="connsiteY4" fmla="*/ 31843 h 49261"/>
                    <a:gd name="connsiteX5" fmla="*/ 13298 w 45064"/>
                    <a:gd name="connsiteY5" fmla="*/ 34622 h 49261"/>
                    <a:gd name="connsiteX6" fmla="*/ 23851 w 45064"/>
                    <a:gd name="connsiteY6" fmla="*/ 37934 h 49261"/>
                    <a:gd name="connsiteX7" fmla="*/ 30817 w 45064"/>
                    <a:gd name="connsiteY7" fmla="*/ 34408 h 49261"/>
                    <a:gd name="connsiteX8" fmla="*/ 30500 w 45064"/>
                    <a:gd name="connsiteY8" fmla="*/ 33339 h 49261"/>
                    <a:gd name="connsiteX9" fmla="*/ 28284 w 45064"/>
                    <a:gd name="connsiteY9" fmla="*/ 31630 h 49261"/>
                    <a:gd name="connsiteX10" fmla="*/ 19630 w 45064"/>
                    <a:gd name="connsiteY10" fmla="*/ 29813 h 49261"/>
                    <a:gd name="connsiteX11" fmla="*/ 7810 w 45064"/>
                    <a:gd name="connsiteY11" fmla="*/ 25005 h 49261"/>
                    <a:gd name="connsiteX12" fmla="*/ 3905 w 45064"/>
                    <a:gd name="connsiteY12" fmla="*/ 15601 h 49261"/>
                    <a:gd name="connsiteX13" fmla="*/ 5593 w 45064"/>
                    <a:gd name="connsiteY13" fmla="*/ 8549 h 49261"/>
                    <a:gd name="connsiteX14" fmla="*/ 24168 w 45064"/>
                    <a:gd name="connsiteY14" fmla="*/ 0 h 49261"/>
                    <a:gd name="connsiteX15" fmla="*/ 41265 w 45064"/>
                    <a:gd name="connsiteY15" fmla="*/ 5022 h 49261"/>
                    <a:gd name="connsiteX16" fmla="*/ 44748 w 45064"/>
                    <a:gd name="connsiteY16" fmla="*/ 8228 h 49261"/>
                    <a:gd name="connsiteX17" fmla="*/ 35566 w 45064"/>
                    <a:gd name="connsiteY17" fmla="*/ 15922 h 49261"/>
                    <a:gd name="connsiteX18" fmla="*/ 34300 w 45064"/>
                    <a:gd name="connsiteY18" fmla="*/ 14426 h 49261"/>
                    <a:gd name="connsiteX19" fmla="*/ 23640 w 45064"/>
                    <a:gd name="connsiteY19" fmla="*/ 11220 h 49261"/>
                    <a:gd name="connsiteX20" fmla="*/ 20158 w 45064"/>
                    <a:gd name="connsiteY20" fmla="*/ 11861 h 49261"/>
                    <a:gd name="connsiteX21" fmla="*/ 18364 w 45064"/>
                    <a:gd name="connsiteY21" fmla="*/ 14319 h 49261"/>
                    <a:gd name="connsiteX22" fmla="*/ 19524 w 45064"/>
                    <a:gd name="connsiteY22" fmla="*/ 16456 h 49261"/>
                    <a:gd name="connsiteX23" fmla="*/ 24696 w 45064"/>
                    <a:gd name="connsiteY23" fmla="*/ 17952 h 49261"/>
                    <a:gd name="connsiteX24" fmla="*/ 35144 w 45064"/>
                    <a:gd name="connsiteY24" fmla="*/ 20303 h 49261"/>
                    <a:gd name="connsiteX25" fmla="*/ 45065 w 45064"/>
                    <a:gd name="connsiteY25" fmla="*/ 33019 h 49261"/>
                    <a:gd name="connsiteX26" fmla="*/ 39049 w 45064"/>
                    <a:gd name="connsiteY26" fmla="*/ 45200 h 49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5064" h="49261">
                      <a:moveTo>
                        <a:pt x="38838" y="44987"/>
                      </a:moveTo>
                      <a:cubicBezTo>
                        <a:pt x="32928" y="49368"/>
                        <a:pt x="25223" y="49261"/>
                        <a:pt x="23324" y="49261"/>
                      </a:cubicBezTo>
                      <a:cubicBezTo>
                        <a:pt x="16675" y="49261"/>
                        <a:pt x="10343" y="48192"/>
                        <a:pt x="4855" y="44025"/>
                      </a:cubicBezTo>
                      <a:cubicBezTo>
                        <a:pt x="2744" y="42422"/>
                        <a:pt x="1583" y="41033"/>
                        <a:pt x="0" y="39003"/>
                      </a:cubicBezTo>
                      <a:lnTo>
                        <a:pt x="11081" y="31843"/>
                      </a:lnTo>
                      <a:cubicBezTo>
                        <a:pt x="12031" y="33446"/>
                        <a:pt x="12665" y="34087"/>
                        <a:pt x="13298" y="34622"/>
                      </a:cubicBezTo>
                      <a:cubicBezTo>
                        <a:pt x="15936" y="36866"/>
                        <a:pt x="20685" y="37934"/>
                        <a:pt x="23851" y="37934"/>
                      </a:cubicBezTo>
                      <a:cubicBezTo>
                        <a:pt x="27967" y="37934"/>
                        <a:pt x="30817" y="36652"/>
                        <a:pt x="30817" y="34408"/>
                      </a:cubicBezTo>
                      <a:cubicBezTo>
                        <a:pt x="30817" y="33874"/>
                        <a:pt x="30606" y="33446"/>
                        <a:pt x="30500" y="33339"/>
                      </a:cubicBezTo>
                      <a:cubicBezTo>
                        <a:pt x="30184" y="32698"/>
                        <a:pt x="29656" y="32057"/>
                        <a:pt x="28284" y="31630"/>
                      </a:cubicBezTo>
                      <a:cubicBezTo>
                        <a:pt x="26701" y="30989"/>
                        <a:pt x="23746" y="30668"/>
                        <a:pt x="19630" y="29813"/>
                      </a:cubicBezTo>
                      <a:cubicBezTo>
                        <a:pt x="13298" y="28531"/>
                        <a:pt x="9921" y="27035"/>
                        <a:pt x="7810" y="25005"/>
                      </a:cubicBezTo>
                      <a:cubicBezTo>
                        <a:pt x="6332" y="23722"/>
                        <a:pt x="3799" y="20623"/>
                        <a:pt x="3905" y="15601"/>
                      </a:cubicBezTo>
                      <a:cubicBezTo>
                        <a:pt x="3905" y="14319"/>
                        <a:pt x="3905" y="11541"/>
                        <a:pt x="5593" y="8549"/>
                      </a:cubicBezTo>
                      <a:cubicBezTo>
                        <a:pt x="10237" y="-107"/>
                        <a:pt x="22374" y="0"/>
                        <a:pt x="24168" y="0"/>
                      </a:cubicBezTo>
                      <a:cubicBezTo>
                        <a:pt x="26490" y="0"/>
                        <a:pt x="34722" y="107"/>
                        <a:pt x="41265" y="5022"/>
                      </a:cubicBezTo>
                      <a:cubicBezTo>
                        <a:pt x="42743" y="6091"/>
                        <a:pt x="43481" y="6946"/>
                        <a:pt x="44748" y="8228"/>
                      </a:cubicBezTo>
                      <a:lnTo>
                        <a:pt x="35566" y="15922"/>
                      </a:lnTo>
                      <a:cubicBezTo>
                        <a:pt x="34933" y="15174"/>
                        <a:pt x="34616" y="14746"/>
                        <a:pt x="34300" y="14426"/>
                      </a:cubicBezTo>
                      <a:cubicBezTo>
                        <a:pt x="31661" y="11968"/>
                        <a:pt x="27018" y="11220"/>
                        <a:pt x="23640" y="11220"/>
                      </a:cubicBezTo>
                      <a:cubicBezTo>
                        <a:pt x="23324" y="11220"/>
                        <a:pt x="21530" y="11220"/>
                        <a:pt x="20158" y="11861"/>
                      </a:cubicBezTo>
                      <a:cubicBezTo>
                        <a:pt x="19947" y="11968"/>
                        <a:pt x="18364" y="12716"/>
                        <a:pt x="18364" y="14319"/>
                      </a:cubicBezTo>
                      <a:cubicBezTo>
                        <a:pt x="18364" y="15174"/>
                        <a:pt x="18891" y="15922"/>
                        <a:pt x="19524" y="16456"/>
                      </a:cubicBezTo>
                      <a:cubicBezTo>
                        <a:pt x="20685" y="17204"/>
                        <a:pt x="23429" y="17738"/>
                        <a:pt x="24696" y="17952"/>
                      </a:cubicBezTo>
                      <a:cubicBezTo>
                        <a:pt x="26279" y="18166"/>
                        <a:pt x="30606" y="18807"/>
                        <a:pt x="35144" y="20303"/>
                      </a:cubicBezTo>
                      <a:cubicBezTo>
                        <a:pt x="37994" y="21265"/>
                        <a:pt x="45065" y="23829"/>
                        <a:pt x="45065" y="33019"/>
                      </a:cubicBezTo>
                      <a:cubicBezTo>
                        <a:pt x="45065" y="39858"/>
                        <a:pt x="41054" y="43598"/>
                        <a:pt x="39049" y="452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460EE558-3E1E-1818-7FF5-F4F9EE27628B}"/>
                    </a:ext>
                  </a:extLst>
                </p:cNvPr>
                <p:cNvSpPr/>
                <p:nvPr/>
              </p:nvSpPr>
              <p:spPr>
                <a:xfrm>
                  <a:off x="697850" y="2504806"/>
                  <a:ext cx="14564" cy="46375"/>
                </a:xfrm>
                <a:custGeom>
                  <a:avLst/>
                  <a:gdLst>
                    <a:gd name="connsiteX0" fmla="*/ 0 w 14564"/>
                    <a:gd name="connsiteY0" fmla="*/ 46376 h 46375"/>
                    <a:gd name="connsiteX1" fmla="*/ 0 w 14564"/>
                    <a:gd name="connsiteY1" fmla="*/ 0 h 46375"/>
                    <a:gd name="connsiteX2" fmla="*/ 14564 w 14564"/>
                    <a:gd name="connsiteY2" fmla="*/ 0 h 46375"/>
                    <a:gd name="connsiteX3" fmla="*/ 14564 w 14564"/>
                    <a:gd name="connsiteY3" fmla="*/ 46376 h 46375"/>
                    <a:gd name="connsiteX4" fmla="*/ 0 w 14564"/>
                    <a:gd name="connsiteY4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64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564" y="0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6DE64EB2-F0BD-C85E-2BF0-6BB56109AACD}"/>
                    </a:ext>
                  </a:extLst>
                </p:cNvPr>
                <p:cNvSpPr/>
                <p:nvPr/>
              </p:nvSpPr>
              <p:spPr>
                <a:xfrm>
                  <a:off x="723073" y="2504806"/>
                  <a:ext cx="32188" cy="46375"/>
                </a:xfrm>
                <a:custGeom>
                  <a:avLst/>
                  <a:gdLst>
                    <a:gd name="connsiteX0" fmla="*/ 0 w 32188"/>
                    <a:gd name="connsiteY0" fmla="*/ 46376 h 46375"/>
                    <a:gd name="connsiteX1" fmla="*/ 0 w 32188"/>
                    <a:gd name="connsiteY1" fmla="*/ 0 h 46375"/>
                    <a:gd name="connsiteX2" fmla="*/ 14459 w 32188"/>
                    <a:gd name="connsiteY2" fmla="*/ 0 h 46375"/>
                    <a:gd name="connsiteX3" fmla="*/ 14459 w 32188"/>
                    <a:gd name="connsiteY3" fmla="*/ 34622 h 46375"/>
                    <a:gd name="connsiteX4" fmla="*/ 32189 w 32188"/>
                    <a:gd name="connsiteY4" fmla="*/ 34622 h 46375"/>
                    <a:gd name="connsiteX5" fmla="*/ 32189 w 32188"/>
                    <a:gd name="connsiteY5" fmla="*/ 46269 h 46375"/>
                    <a:gd name="connsiteX6" fmla="*/ 0 w 32188"/>
                    <a:gd name="connsiteY6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188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34622"/>
                      </a:lnTo>
                      <a:lnTo>
                        <a:pt x="32189" y="34622"/>
                      </a:lnTo>
                      <a:lnTo>
                        <a:pt x="3218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" name="Freeform 48">
                  <a:extLst>
                    <a:ext uri="{FF2B5EF4-FFF2-40B4-BE49-F238E27FC236}">
                      <a16:creationId xmlns:a16="http://schemas.microsoft.com/office/drawing/2014/main" id="{2AAA235C-AC23-C7AA-F416-5A0868CF93E6}"/>
                    </a:ext>
                  </a:extLst>
                </p:cNvPr>
                <p:cNvSpPr/>
                <p:nvPr/>
              </p:nvSpPr>
              <p:spPr>
                <a:xfrm>
                  <a:off x="763072" y="2504806"/>
                  <a:ext cx="14564" cy="46375"/>
                </a:xfrm>
                <a:custGeom>
                  <a:avLst/>
                  <a:gdLst>
                    <a:gd name="connsiteX0" fmla="*/ 0 w 14564"/>
                    <a:gd name="connsiteY0" fmla="*/ 46376 h 46375"/>
                    <a:gd name="connsiteX1" fmla="*/ 0 w 14564"/>
                    <a:gd name="connsiteY1" fmla="*/ 0 h 46375"/>
                    <a:gd name="connsiteX2" fmla="*/ 14564 w 14564"/>
                    <a:gd name="connsiteY2" fmla="*/ 0 h 46375"/>
                    <a:gd name="connsiteX3" fmla="*/ 14564 w 14564"/>
                    <a:gd name="connsiteY3" fmla="*/ 46376 h 46375"/>
                    <a:gd name="connsiteX4" fmla="*/ 0 w 14564"/>
                    <a:gd name="connsiteY4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64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564" y="0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" name="Freeform 49">
                  <a:extLst>
                    <a:ext uri="{FF2B5EF4-FFF2-40B4-BE49-F238E27FC236}">
                      <a16:creationId xmlns:a16="http://schemas.microsoft.com/office/drawing/2014/main" id="{BCAD1F5A-31E1-81FA-87FD-41746D1CB4C2}"/>
                    </a:ext>
                  </a:extLst>
                </p:cNvPr>
                <p:cNvSpPr/>
                <p:nvPr/>
              </p:nvSpPr>
              <p:spPr>
                <a:xfrm>
                  <a:off x="788084" y="2504806"/>
                  <a:ext cx="38204" cy="46375"/>
                </a:xfrm>
                <a:custGeom>
                  <a:avLst/>
                  <a:gdLst>
                    <a:gd name="connsiteX0" fmla="*/ 106 w 38204"/>
                    <a:gd name="connsiteY0" fmla="*/ 46376 h 46375"/>
                    <a:gd name="connsiteX1" fmla="*/ 106 w 38204"/>
                    <a:gd name="connsiteY1" fmla="*/ 0 h 46375"/>
                    <a:gd name="connsiteX2" fmla="*/ 36305 w 38204"/>
                    <a:gd name="connsiteY2" fmla="*/ 0 h 46375"/>
                    <a:gd name="connsiteX3" fmla="*/ 36305 w 38204"/>
                    <a:gd name="connsiteY3" fmla="*/ 10151 h 46375"/>
                    <a:gd name="connsiteX4" fmla="*/ 14564 w 38204"/>
                    <a:gd name="connsiteY4" fmla="*/ 10151 h 46375"/>
                    <a:gd name="connsiteX5" fmla="*/ 14564 w 38204"/>
                    <a:gd name="connsiteY5" fmla="*/ 16990 h 46375"/>
                    <a:gd name="connsiteX6" fmla="*/ 34827 w 38204"/>
                    <a:gd name="connsiteY6" fmla="*/ 16990 h 46375"/>
                    <a:gd name="connsiteX7" fmla="*/ 34827 w 38204"/>
                    <a:gd name="connsiteY7" fmla="*/ 27035 h 46375"/>
                    <a:gd name="connsiteX8" fmla="*/ 14459 w 38204"/>
                    <a:gd name="connsiteY8" fmla="*/ 27035 h 46375"/>
                    <a:gd name="connsiteX9" fmla="*/ 14459 w 38204"/>
                    <a:gd name="connsiteY9" fmla="*/ 36224 h 46375"/>
                    <a:gd name="connsiteX10" fmla="*/ 38205 w 38204"/>
                    <a:gd name="connsiteY10" fmla="*/ 36224 h 46375"/>
                    <a:gd name="connsiteX11" fmla="*/ 38205 w 38204"/>
                    <a:gd name="connsiteY11" fmla="*/ 46269 h 46375"/>
                    <a:gd name="connsiteX12" fmla="*/ 0 w 38204"/>
                    <a:gd name="connsiteY12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375">
                      <a:moveTo>
                        <a:pt x="106" y="46376"/>
                      </a:moveTo>
                      <a:lnTo>
                        <a:pt x="106" y="0"/>
                      </a:lnTo>
                      <a:lnTo>
                        <a:pt x="36305" y="0"/>
                      </a:lnTo>
                      <a:lnTo>
                        <a:pt x="36305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FEFA7788-D398-C7A9-A493-B08D0CB4CF3F}"/>
                    </a:ext>
                  </a:extLst>
                </p:cNvPr>
                <p:cNvSpPr/>
                <p:nvPr/>
              </p:nvSpPr>
              <p:spPr>
                <a:xfrm>
                  <a:off x="834943" y="2504806"/>
                  <a:ext cx="44220" cy="46375"/>
                </a:xfrm>
                <a:custGeom>
                  <a:avLst/>
                  <a:gdLst>
                    <a:gd name="connsiteX0" fmla="*/ 28495 w 44220"/>
                    <a:gd name="connsiteY0" fmla="*/ 46376 h 46375"/>
                    <a:gd name="connsiteX1" fmla="*/ 13298 w 44220"/>
                    <a:gd name="connsiteY1" fmla="*/ 19448 h 46375"/>
                    <a:gd name="connsiteX2" fmla="*/ 13298 w 44220"/>
                    <a:gd name="connsiteY2" fmla="*/ 46376 h 46375"/>
                    <a:gd name="connsiteX3" fmla="*/ 0 w 44220"/>
                    <a:gd name="connsiteY3" fmla="*/ 46376 h 46375"/>
                    <a:gd name="connsiteX4" fmla="*/ 0 w 44220"/>
                    <a:gd name="connsiteY4" fmla="*/ 0 h 46375"/>
                    <a:gd name="connsiteX5" fmla="*/ 15408 w 44220"/>
                    <a:gd name="connsiteY5" fmla="*/ 0 h 46375"/>
                    <a:gd name="connsiteX6" fmla="*/ 30923 w 44220"/>
                    <a:gd name="connsiteY6" fmla="*/ 26928 h 46375"/>
                    <a:gd name="connsiteX7" fmla="*/ 30711 w 44220"/>
                    <a:gd name="connsiteY7" fmla="*/ 0 h 46375"/>
                    <a:gd name="connsiteX8" fmla="*/ 44220 w 44220"/>
                    <a:gd name="connsiteY8" fmla="*/ 0 h 46375"/>
                    <a:gd name="connsiteX9" fmla="*/ 44220 w 44220"/>
                    <a:gd name="connsiteY9" fmla="*/ 46376 h 46375"/>
                    <a:gd name="connsiteX10" fmla="*/ 28601 w 44220"/>
                    <a:gd name="connsiteY10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4220" h="46375">
                      <a:moveTo>
                        <a:pt x="28495" y="46376"/>
                      </a:moveTo>
                      <a:lnTo>
                        <a:pt x="13298" y="19448"/>
                      </a:lnTo>
                      <a:lnTo>
                        <a:pt x="13298" y="46376"/>
                      </a:lnTo>
                      <a:cubicBezTo>
                        <a:pt x="13298" y="46376"/>
                        <a:pt x="0" y="46376"/>
                        <a:pt x="0" y="46376"/>
                      </a:cubicBezTo>
                      <a:lnTo>
                        <a:pt x="0" y="0"/>
                      </a:lnTo>
                      <a:lnTo>
                        <a:pt x="15408" y="0"/>
                      </a:lnTo>
                      <a:lnTo>
                        <a:pt x="30923" y="26928"/>
                      </a:lnTo>
                      <a:lnTo>
                        <a:pt x="30711" y="0"/>
                      </a:lnTo>
                      <a:lnTo>
                        <a:pt x="44220" y="0"/>
                      </a:lnTo>
                      <a:lnTo>
                        <a:pt x="44220" y="46376"/>
                      </a:lnTo>
                      <a:lnTo>
                        <a:pt x="28601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2" name="Freeform 51">
                  <a:extLst>
                    <a:ext uri="{FF2B5EF4-FFF2-40B4-BE49-F238E27FC236}">
                      <a16:creationId xmlns:a16="http://schemas.microsoft.com/office/drawing/2014/main" id="{4430DDCE-7B24-BFD1-BCAC-F8E62D340149}"/>
                    </a:ext>
                  </a:extLst>
                </p:cNvPr>
                <p:cNvSpPr/>
                <p:nvPr/>
              </p:nvSpPr>
              <p:spPr>
                <a:xfrm>
                  <a:off x="886656" y="2504913"/>
                  <a:ext cx="37676" cy="46375"/>
                </a:xfrm>
                <a:custGeom>
                  <a:avLst/>
                  <a:gdLst>
                    <a:gd name="connsiteX0" fmla="*/ 26173 w 37676"/>
                    <a:gd name="connsiteY0" fmla="*/ 11434 h 46375"/>
                    <a:gd name="connsiteX1" fmla="*/ 26173 w 37676"/>
                    <a:gd name="connsiteY1" fmla="*/ 46376 h 46375"/>
                    <a:gd name="connsiteX2" fmla="*/ 11715 w 37676"/>
                    <a:gd name="connsiteY2" fmla="*/ 46376 h 46375"/>
                    <a:gd name="connsiteX3" fmla="*/ 11715 w 37676"/>
                    <a:gd name="connsiteY3" fmla="*/ 11434 h 46375"/>
                    <a:gd name="connsiteX4" fmla="*/ 0 w 37676"/>
                    <a:gd name="connsiteY4" fmla="*/ 11434 h 46375"/>
                    <a:gd name="connsiteX5" fmla="*/ 0 w 37676"/>
                    <a:gd name="connsiteY5" fmla="*/ 0 h 46375"/>
                    <a:gd name="connsiteX6" fmla="*/ 37677 w 37676"/>
                    <a:gd name="connsiteY6" fmla="*/ 0 h 46375"/>
                    <a:gd name="connsiteX7" fmla="*/ 37677 w 37676"/>
                    <a:gd name="connsiteY7" fmla="*/ 11434 h 46375"/>
                    <a:gd name="connsiteX8" fmla="*/ 26068 w 37676"/>
                    <a:gd name="connsiteY8" fmla="*/ 11434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676" h="46375">
                      <a:moveTo>
                        <a:pt x="26173" y="11434"/>
                      </a:moveTo>
                      <a:lnTo>
                        <a:pt x="26173" y="46376"/>
                      </a:lnTo>
                      <a:lnTo>
                        <a:pt x="11715" y="46376"/>
                      </a:lnTo>
                      <a:lnTo>
                        <a:pt x="11715" y="11434"/>
                      </a:lnTo>
                      <a:lnTo>
                        <a:pt x="0" y="11434"/>
                      </a:lnTo>
                      <a:lnTo>
                        <a:pt x="0" y="0"/>
                      </a:lnTo>
                      <a:lnTo>
                        <a:pt x="37677" y="0"/>
                      </a:lnTo>
                      <a:lnTo>
                        <a:pt x="37677" y="11434"/>
                      </a:lnTo>
                      <a:lnTo>
                        <a:pt x="26068" y="1143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9" name="Graphic 34">
                <a:extLst>
                  <a:ext uri="{FF2B5EF4-FFF2-40B4-BE49-F238E27FC236}">
                    <a16:creationId xmlns:a16="http://schemas.microsoft.com/office/drawing/2014/main" id="{57720709-5229-E5A7-1B83-CEB6D0702522}"/>
                  </a:ext>
                </a:extLst>
              </p:cNvPr>
              <p:cNvGrpSpPr/>
              <p:nvPr/>
            </p:nvGrpSpPr>
            <p:grpSpPr>
              <a:xfrm>
                <a:off x="1010874" y="2503417"/>
                <a:ext cx="236720" cy="49474"/>
                <a:chOff x="1010874" y="2503417"/>
                <a:chExt cx="236720" cy="49474"/>
              </a:xfrm>
              <a:solidFill>
                <a:srgbClr val="000000"/>
              </a:solidFill>
            </p:grpSpPr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D443F2A3-0635-F8B8-B71E-07036084A727}"/>
                    </a:ext>
                  </a:extLst>
                </p:cNvPr>
                <p:cNvSpPr/>
                <p:nvPr/>
              </p:nvSpPr>
              <p:spPr>
                <a:xfrm>
                  <a:off x="1010874" y="2503417"/>
                  <a:ext cx="46014" cy="49474"/>
                </a:xfrm>
                <a:custGeom>
                  <a:avLst/>
                  <a:gdLst>
                    <a:gd name="connsiteX0" fmla="*/ 42426 w 46014"/>
                    <a:gd name="connsiteY0" fmla="*/ 41567 h 49474"/>
                    <a:gd name="connsiteX1" fmla="*/ 23746 w 46014"/>
                    <a:gd name="connsiteY1" fmla="*/ 49475 h 49474"/>
                    <a:gd name="connsiteX2" fmla="*/ 8232 w 46014"/>
                    <a:gd name="connsiteY2" fmla="*/ 44132 h 49474"/>
                    <a:gd name="connsiteX3" fmla="*/ 0 w 46014"/>
                    <a:gd name="connsiteY3" fmla="*/ 25111 h 49474"/>
                    <a:gd name="connsiteX4" fmla="*/ 4749 w 46014"/>
                    <a:gd name="connsiteY4" fmla="*/ 9617 h 49474"/>
                    <a:gd name="connsiteX5" fmla="*/ 23746 w 46014"/>
                    <a:gd name="connsiteY5" fmla="*/ 0 h 49474"/>
                    <a:gd name="connsiteX6" fmla="*/ 42954 w 46014"/>
                    <a:gd name="connsiteY6" fmla="*/ 8442 h 49474"/>
                    <a:gd name="connsiteX7" fmla="*/ 45909 w 46014"/>
                    <a:gd name="connsiteY7" fmla="*/ 12930 h 49474"/>
                    <a:gd name="connsiteX8" fmla="*/ 33772 w 46014"/>
                    <a:gd name="connsiteY8" fmla="*/ 19021 h 49474"/>
                    <a:gd name="connsiteX9" fmla="*/ 33139 w 46014"/>
                    <a:gd name="connsiteY9" fmla="*/ 17631 h 49474"/>
                    <a:gd name="connsiteX10" fmla="*/ 24274 w 46014"/>
                    <a:gd name="connsiteY10" fmla="*/ 11327 h 49474"/>
                    <a:gd name="connsiteX11" fmla="*/ 18997 w 46014"/>
                    <a:gd name="connsiteY11" fmla="*/ 12930 h 49474"/>
                    <a:gd name="connsiteX12" fmla="*/ 14670 w 46014"/>
                    <a:gd name="connsiteY12" fmla="*/ 24257 h 49474"/>
                    <a:gd name="connsiteX13" fmla="*/ 18891 w 46014"/>
                    <a:gd name="connsiteY13" fmla="*/ 35797 h 49474"/>
                    <a:gd name="connsiteX14" fmla="*/ 24379 w 46014"/>
                    <a:gd name="connsiteY14" fmla="*/ 37614 h 49474"/>
                    <a:gd name="connsiteX15" fmla="*/ 32611 w 46014"/>
                    <a:gd name="connsiteY15" fmla="*/ 32591 h 49474"/>
                    <a:gd name="connsiteX16" fmla="*/ 33667 w 46014"/>
                    <a:gd name="connsiteY16" fmla="*/ 29920 h 49474"/>
                    <a:gd name="connsiteX17" fmla="*/ 46014 w 46014"/>
                    <a:gd name="connsiteY17" fmla="*/ 35904 h 49474"/>
                    <a:gd name="connsiteX18" fmla="*/ 42426 w 46014"/>
                    <a:gd name="connsiteY18" fmla="*/ 41460 h 49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6014" h="49474">
                      <a:moveTo>
                        <a:pt x="42426" y="41567"/>
                      </a:moveTo>
                      <a:cubicBezTo>
                        <a:pt x="39682" y="44666"/>
                        <a:pt x="33878" y="49475"/>
                        <a:pt x="23746" y="49475"/>
                      </a:cubicBezTo>
                      <a:cubicBezTo>
                        <a:pt x="17941" y="49475"/>
                        <a:pt x="12770" y="48086"/>
                        <a:pt x="8232" y="44132"/>
                      </a:cubicBezTo>
                      <a:cubicBezTo>
                        <a:pt x="633" y="37614"/>
                        <a:pt x="0" y="28424"/>
                        <a:pt x="0" y="25111"/>
                      </a:cubicBezTo>
                      <a:cubicBezTo>
                        <a:pt x="0" y="22333"/>
                        <a:pt x="317" y="15922"/>
                        <a:pt x="4749" y="9617"/>
                      </a:cubicBezTo>
                      <a:cubicBezTo>
                        <a:pt x="11081" y="641"/>
                        <a:pt x="19736" y="0"/>
                        <a:pt x="23746" y="0"/>
                      </a:cubicBezTo>
                      <a:cubicBezTo>
                        <a:pt x="34194" y="0"/>
                        <a:pt x="40421" y="5557"/>
                        <a:pt x="42954" y="8442"/>
                      </a:cubicBezTo>
                      <a:cubicBezTo>
                        <a:pt x="44326" y="10045"/>
                        <a:pt x="44959" y="11113"/>
                        <a:pt x="45909" y="12930"/>
                      </a:cubicBezTo>
                      <a:lnTo>
                        <a:pt x="33772" y="19021"/>
                      </a:lnTo>
                      <a:cubicBezTo>
                        <a:pt x="33772" y="19021"/>
                        <a:pt x="33350" y="18059"/>
                        <a:pt x="33139" y="17631"/>
                      </a:cubicBezTo>
                      <a:cubicBezTo>
                        <a:pt x="32400" y="16029"/>
                        <a:pt x="30078" y="11220"/>
                        <a:pt x="24274" y="11327"/>
                      </a:cubicBezTo>
                      <a:cubicBezTo>
                        <a:pt x="21635" y="11327"/>
                        <a:pt x="19947" y="12289"/>
                        <a:pt x="18997" y="12930"/>
                      </a:cubicBezTo>
                      <a:cubicBezTo>
                        <a:pt x="14459" y="16349"/>
                        <a:pt x="14670" y="22974"/>
                        <a:pt x="14670" y="24257"/>
                      </a:cubicBezTo>
                      <a:cubicBezTo>
                        <a:pt x="14670" y="30668"/>
                        <a:pt x="16675" y="33980"/>
                        <a:pt x="18891" y="35797"/>
                      </a:cubicBezTo>
                      <a:cubicBezTo>
                        <a:pt x="21108" y="37614"/>
                        <a:pt x="23218" y="37614"/>
                        <a:pt x="24379" y="37614"/>
                      </a:cubicBezTo>
                      <a:cubicBezTo>
                        <a:pt x="29339" y="37614"/>
                        <a:pt x="31661" y="34194"/>
                        <a:pt x="32611" y="32591"/>
                      </a:cubicBezTo>
                      <a:cubicBezTo>
                        <a:pt x="32928" y="31950"/>
                        <a:pt x="33244" y="31309"/>
                        <a:pt x="33667" y="29920"/>
                      </a:cubicBezTo>
                      <a:lnTo>
                        <a:pt x="46014" y="35904"/>
                      </a:lnTo>
                      <a:cubicBezTo>
                        <a:pt x="44431" y="38896"/>
                        <a:pt x="43587" y="40071"/>
                        <a:pt x="42426" y="4146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61B79C25-F57C-041B-0F3F-7AF023620DFC}"/>
                    </a:ext>
                  </a:extLst>
                </p:cNvPr>
                <p:cNvSpPr/>
                <p:nvPr/>
              </p:nvSpPr>
              <p:spPr>
                <a:xfrm>
                  <a:off x="1065331" y="2505127"/>
                  <a:ext cx="14458" cy="46269"/>
                </a:xfrm>
                <a:custGeom>
                  <a:avLst/>
                  <a:gdLst>
                    <a:gd name="connsiteX0" fmla="*/ 0 w 14458"/>
                    <a:gd name="connsiteY0" fmla="*/ 46269 h 46269"/>
                    <a:gd name="connsiteX1" fmla="*/ 0 w 14458"/>
                    <a:gd name="connsiteY1" fmla="*/ 0 h 46269"/>
                    <a:gd name="connsiteX2" fmla="*/ 14459 w 14458"/>
                    <a:gd name="connsiteY2" fmla="*/ 0 h 46269"/>
                    <a:gd name="connsiteX3" fmla="*/ 14459 w 14458"/>
                    <a:gd name="connsiteY3" fmla="*/ 46269 h 46269"/>
                    <a:gd name="connsiteX4" fmla="*/ 0 w 14458"/>
                    <a:gd name="connsiteY4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8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990E3041-57A1-7618-AB63-E1DDDDA6EF20}"/>
                    </a:ext>
                  </a:extLst>
                </p:cNvPr>
                <p:cNvSpPr/>
                <p:nvPr/>
              </p:nvSpPr>
              <p:spPr>
                <a:xfrm>
                  <a:off x="1087494" y="2505020"/>
                  <a:ext cx="37676" cy="46269"/>
                </a:xfrm>
                <a:custGeom>
                  <a:avLst/>
                  <a:gdLst>
                    <a:gd name="connsiteX0" fmla="*/ 26068 w 37676"/>
                    <a:gd name="connsiteY0" fmla="*/ 11434 h 46269"/>
                    <a:gd name="connsiteX1" fmla="*/ 26068 w 37676"/>
                    <a:gd name="connsiteY1" fmla="*/ 46269 h 46269"/>
                    <a:gd name="connsiteX2" fmla="*/ 11609 w 37676"/>
                    <a:gd name="connsiteY2" fmla="*/ 46269 h 46269"/>
                    <a:gd name="connsiteX3" fmla="*/ 11609 w 37676"/>
                    <a:gd name="connsiteY3" fmla="*/ 11434 h 46269"/>
                    <a:gd name="connsiteX4" fmla="*/ 0 w 37676"/>
                    <a:gd name="connsiteY4" fmla="*/ 11434 h 46269"/>
                    <a:gd name="connsiteX5" fmla="*/ 0 w 37676"/>
                    <a:gd name="connsiteY5" fmla="*/ 0 h 46269"/>
                    <a:gd name="connsiteX6" fmla="*/ 37677 w 37676"/>
                    <a:gd name="connsiteY6" fmla="*/ 0 h 46269"/>
                    <a:gd name="connsiteX7" fmla="*/ 37677 w 37676"/>
                    <a:gd name="connsiteY7" fmla="*/ 11434 h 46269"/>
                    <a:gd name="connsiteX8" fmla="*/ 26068 w 37676"/>
                    <a:gd name="connsiteY8" fmla="*/ 11434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676" h="46269">
                      <a:moveTo>
                        <a:pt x="26068" y="11434"/>
                      </a:moveTo>
                      <a:lnTo>
                        <a:pt x="26068" y="46269"/>
                      </a:lnTo>
                      <a:lnTo>
                        <a:pt x="11609" y="46269"/>
                      </a:lnTo>
                      <a:lnTo>
                        <a:pt x="11609" y="11434"/>
                      </a:lnTo>
                      <a:lnTo>
                        <a:pt x="0" y="11434"/>
                      </a:lnTo>
                      <a:lnTo>
                        <a:pt x="0" y="0"/>
                      </a:lnTo>
                      <a:lnTo>
                        <a:pt x="37677" y="0"/>
                      </a:lnTo>
                      <a:lnTo>
                        <a:pt x="37677" y="11434"/>
                      </a:lnTo>
                      <a:lnTo>
                        <a:pt x="26068" y="114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reeform 40">
                  <a:extLst>
                    <a:ext uri="{FF2B5EF4-FFF2-40B4-BE49-F238E27FC236}">
                      <a16:creationId xmlns:a16="http://schemas.microsoft.com/office/drawing/2014/main" id="{25B4BCD5-C12D-F5DF-EAAD-F6B4BE69C322}"/>
                    </a:ext>
                  </a:extLst>
                </p:cNvPr>
                <p:cNvSpPr/>
                <p:nvPr/>
              </p:nvSpPr>
              <p:spPr>
                <a:xfrm>
                  <a:off x="1132981" y="2505127"/>
                  <a:ext cx="14458" cy="46269"/>
                </a:xfrm>
                <a:custGeom>
                  <a:avLst/>
                  <a:gdLst>
                    <a:gd name="connsiteX0" fmla="*/ 0 w 14458"/>
                    <a:gd name="connsiteY0" fmla="*/ 46269 h 46269"/>
                    <a:gd name="connsiteX1" fmla="*/ 0 w 14458"/>
                    <a:gd name="connsiteY1" fmla="*/ 0 h 46269"/>
                    <a:gd name="connsiteX2" fmla="*/ 14459 w 14458"/>
                    <a:gd name="connsiteY2" fmla="*/ 0 h 46269"/>
                    <a:gd name="connsiteX3" fmla="*/ 14459 w 14458"/>
                    <a:gd name="connsiteY3" fmla="*/ 46269 h 46269"/>
                    <a:gd name="connsiteX4" fmla="*/ 0 w 14458"/>
                    <a:gd name="connsiteY4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8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reeform 41">
                  <a:extLst>
                    <a:ext uri="{FF2B5EF4-FFF2-40B4-BE49-F238E27FC236}">
                      <a16:creationId xmlns:a16="http://schemas.microsoft.com/office/drawing/2014/main" id="{67816219-6316-5EEC-D631-584B1760AAB5}"/>
                    </a:ext>
                  </a:extLst>
                </p:cNvPr>
                <p:cNvSpPr/>
                <p:nvPr/>
              </p:nvSpPr>
              <p:spPr>
                <a:xfrm>
                  <a:off x="1158099" y="2505127"/>
                  <a:ext cx="38204" cy="46269"/>
                </a:xfrm>
                <a:custGeom>
                  <a:avLst/>
                  <a:gdLst>
                    <a:gd name="connsiteX0" fmla="*/ 0 w 38204"/>
                    <a:gd name="connsiteY0" fmla="*/ 46269 h 46269"/>
                    <a:gd name="connsiteX1" fmla="*/ 0 w 38204"/>
                    <a:gd name="connsiteY1" fmla="*/ 0 h 46269"/>
                    <a:gd name="connsiteX2" fmla="*/ 36199 w 38204"/>
                    <a:gd name="connsiteY2" fmla="*/ 0 h 46269"/>
                    <a:gd name="connsiteX3" fmla="*/ 36199 w 38204"/>
                    <a:gd name="connsiteY3" fmla="*/ 10151 h 46269"/>
                    <a:gd name="connsiteX4" fmla="*/ 14564 w 38204"/>
                    <a:gd name="connsiteY4" fmla="*/ 10151 h 46269"/>
                    <a:gd name="connsiteX5" fmla="*/ 14564 w 38204"/>
                    <a:gd name="connsiteY5" fmla="*/ 16990 h 46269"/>
                    <a:gd name="connsiteX6" fmla="*/ 34827 w 38204"/>
                    <a:gd name="connsiteY6" fmla="*/ 16990 h 46269"/>
                    <a:gd name="connsiteX7" fmla="*/ 34827 w 38204"/>
                    <a:gd name="connsiteY7" fmla="*/ 27035 h 46269"/>
                    <a:gd name="connsiteX8" fmla="*/ 14459 w 38204"/>
                    <a:gd name="connsiteY8" fmla="*/ 27035 h 46269"/>
                    <a:gd name="connsiteX9" fmla="*/ 14459 w 38204"/>
                    <a:gd name="connsiteY9" fmla="*/ 36224 h 46269"/>
                    <a:gd name="connsiteX10" fmla="*/ 38205 w 38204"/>
                    <a:gd name="connsiteY10" fmla="*/ 36224 h 46269"/>
                    <a:gd name="connsiteX11" fmla="*/ 38205 w 38204"/>
                    <a:gd name="connsiteY11" fmla="*/ 46269 h 46269"/>
                    <a:gd name="connsiteX12" fmla="*/ 106 w 38204"/>
                    <a:gd name="connsiteY12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36199" y="0"/>
                      </a:lnTo>
                      <a:lnTo>
                        <a:pt x="36199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106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88E406F2-8E47-FFD1-6847-B37C289B7E72}"/>
                    </a:ext>
                  </a:extLst>
                </p:cNvPr>
                <p:cNvSpPr/>
                <p:nvPr/>
              </p:nvSpPr>
              <p:spPr>
                <a:xfrm>
                  <a:off x="1202636" y="2503524"/>
                  <a:ext cx="44959" cy="49261"/>
                </a:xfrm>
                <a:custGeom>
                  <a:avLst/>
                  <a:gdLst>
                    <a:gd name="connsiteX0" fmla="*/ 38838 w 44959"/>
                    <a:gd name="connsiteY0" fmla="*/ 44987 h 49261"/>
                    <a:gd name="connsiteX1" fmla="*/ 23324 w 44959"/>
                    <a:gd name="connsiteY1" fmla="*/ 49261 h 49261"/>
                    <a:gd name="connsiteX2" fmla="*/ 4855 w 44959"/>
                    <a:gd name="connsiteY2" fmla="*/ 44025 h 49261"/>
                    <a:gd name="connsiteX3" fmla="*/ 0 w 44959"/>
                    <a:gd name="connsiteY3" fmla="*/ 39003 h 49261"/>
                    <a:gd name="connsiteX4" fmla="*/ 11081 w 44959"/>
                    <a:gd name="connsiteY4" fmla="*/ 31843 h 49261"/>
                    <a:gd name="connsiteX5" fmla="*/ 13298 w 44959"/>
                    <a:gd name="connsiteY5" fmla="*/ 34622 h 49261"/>
                    <a:gd name="connsiteX6" fmla="*/ 23852 w 44959"/>
                    <a:gd name="connsiteY6" fmla="*/ 37934 h 49261"/>
                    <a:gd name="connsiteX7" fmla="*/ 30817 w 44959"/>
                    <a:gd name="connsiteY7" fmla="*/ 34408 h 49261"/>
                    <a:gd name="connsiteX8" fmla="*/ 30500 w 44959"/>
                    <a:gd name="connsiteY8" fmla="*/ 33339 h 49261"/>
                    <a:gd name="connsiteX9" fmla="*/ 28284 w 44959"/>
                    <a:gd name="connsiteY9" fmla="*/ 31630 h 49261"/>
                    <a:gd name="connsiteX10" fmla="*/ 19630 w 44959"/>
                    <a:gd name="connsiteY10" fmla="*/ 29813 h 49261"/>
                    <a:gd name="connsiteX11" fmla="*/ 7810 w 44959"/>
                    <a:gd name="connsiteY11" fmla="*/ 25005 h 49261"/>
                    <a:gd name="connsiteX12" fmla="*/ 3905 w 44959"/>
                    <a:gd name="connsiteY12" fmla="*/ 15601 h 49261"/>
                    <a:gd name="connsiteX13" fmla="*/ 5594 w 44959"/>
                    <a:gd name="connsiteY13" fmla="*/ 8549 h 49261"/>
                    <a:gd name="connsiteX14" fmla="*/ 24063 w 44959"/>
                    <a:gd name="connsiteY14" fmla="*/ 0 h 49261"/>
                    <a:gd name="connsiteX15" fmla="*/ 41160 w 44959"/>
                    <a:gd name="connsiteY15" fmla="*/ 5022 h 49261"/>
                    <a:gd name="connsiteX16" fmla="*/ 44642 w 44959"/>
                    <a:gd name="connsiteY16" fmla="*/ 8228 h 49261"/>
                    <a:gd name="connsiteX17" fmla="*/ 35566 w 44959"/>
                    <a:gd name="connsiteY17" fmla="*/ 15922 h 49261"/>
                    <a:gd name="connsiteX18" fmla="*/ 34300 w 44959"/>
                    <a:gd name="connsiteY18" fmla="*/ 14426 h 49261"/>
                    <a:gd name="connsiteX19" fmla="*/ 23640 w 44959"/>
                    <a:gd name="connsiteY19" fmla="*/ 11220 h 49261"/>
                    <a:gd name="connsiteX20" fmla="*/ 20158 w 44959"/>
                    <a:gd name="connsiteY20" fmla="*/ 11861 h 49261"/>
                    <a:gd name="connsiteX21" fmla="*/ 18364 w 44959"/>
                    <a:gd name="connsiteY21" fmla="*/ 14319 h 49261"/>
                    <a:gd name="connsiteX22" fmla="*/ 19525 w 44959"/>
                    <a:gd name="connsiteY22" fmla="*/ 16456 h 49261"/>
                    <a:gd name="connsiteX23" fmla="*/ 24590 w 44959"/>
                    <a:gd name="connsiteY23" fmla="*/ 17845 h 49261"/>
                    <a:gd name="connsiteX24" fmla="*/ 35038 w 44959"/>
                    <a:gd name="connsiteY24" fmla="*/ 20196 h 49261"/>
                    <a:gd name="connsiteX25" fmla="*/ 44959 w 44959"/>
                    <a:gd name="connsiteY25" fmla="*/ 32912 h 49261"/>
                    <a:gd name="connsiteX26" fmla="*/ 38943 w 44959"/>
                    <a:gd name="connsiteY26" fmla="*/ 44987 h 49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4959" h="49261">
                      <a:moveTo>
                        <a:pt x="38838" y="44987"/>
                      </a:moveTo>
                      <a:cubicBezTo>
                        <a:pt x="32928" y="49368"/>
                        <a:pt x="25224" y="49261"/>
                        <a:pt x="23324" y="49261"/>
                      </a:cubicBezTo>
                      <a:cubicBezTo>
                        <a:pt x="16675" y="49261"/>
                        <a:pt x="10343" y="48192"/>
                        <a:pt x="4855" y="44025"/>
                      </a:cubicBezTo>
                      <a:cubicBezTo>
                        <a:pt x="2744" y="42422"/>
                        <a:pt x="1583" y="41033"/>
                        <a:pt x="0" y="39003"/>
                      </a:cubicBezTo>
                      <a:lnTo>
                        <a:pt x="11081" y="31843"/>
                      </a:lnTo>
                      <a:cubicBezTo>
                        <a:pt x="12031" y="33446"/>
                        <a:pt x="12665" y="34087"/>
                        <a:pt x="13298" y="34622"/>
                      </a:cubicBezTo>
                      <a:cubicBezTo>
                        <a:pt x="15936" y="36866"/>
                        <a:pt x="20685" y="37934"/>
                        <a:pt x="23852" y="37934"/>
                      </a:cubicBezTo>
                      <a:cubicBezTo>
                        <a:pt x="27967" y="37934"/>
                        <a:pt x="30817" y="36652"/>
                        <a:pt x="30817" y="34408"/>
                      </a:cubicBezTo>
                      <a:cubicBezTo>
                        <a:pt x="30817" y="33874"/>
                        <a:pt x="30606" y="33446"/>
                        <a:pt x="30500" y="33339"/>
                      </a:cubicBezTo>
                      <a:cubicBezTo>
                        <a:pt x="30184" y="32698"/>
                        <a:pt x="29656" y="32057"/>
                        <a:pt x="28284" y="31630"/>
                      </a:cubicBezTo>
                      <a:cubicBezTo>
                        <a:pt x="26701" y="30989"/>
                        <a:pt x="23746" y="30668"/>
                        <a:pt x="19630" y="29813"/>
                      </a:cubicBezTo>
                      <a:cubicBezTo>
                        <a:pt x="13298" y="28531"/>
                        <a:pt x="10026" y="27035"/>
                        <a:pt x="7810" y="25005"/>
                      </a:cubicBezTo>
                      <a:cubicBezTo>
                        <a:pt x="6438" y="23722"/>
                        <a:pt x="3799" y="20730"/>
                        <a:pt x="3905" y="15601"/>
                      </a:cubicBezTo>
                      <a:cubicBezTo>
                        <a:pt x="3905" y="14319"/>
                        <a:pt x="3905" y="11541"/>
                        <a:pt x="5594" y="8549"/>
                      </a:cubicBezTo>
                      <a:cubicBezTo>
                        <a:pt x="10237" y="-107"/>
                        <a:pt x="22374" y="0"/>
                        <a:pt x="24063" y="0"/>
                      </a:cubicBezTo>
                      <a:cubicBezTo>
                        <a:pt x="26384" y="0"/>
                        <a:pt x="34616" y="107"/>
                        <a:pt x="41160" y="5022"/>
                      </a:cubicBezTo>
                      <a:cubicBezTo>
                        <a:pt x="42532" y="6091"/>
                        <a:pt x="43376" y="6946"/>
                        <a:pt x="44642" y="8228"/>
                      </a:cubicBezTo>
                      <a:lnTo>
                        <a:pt x="35566" y="15922"/>
                      </a:lnTo>
                      <a:cubicBezTo>
                        <a:pt x="34933" y="15174"/>
                        <a:pt x="34616" y="14746"/>
                        <a:pt x="34300" y="14426"/>
                      </a:cubicBezTo>
                      <a:cubicBezTo>
                        <a:pt x="31661" y="11968"/>
                        <a:pt x="27018" y="11220"/>
                        <a:pt x="23640" y="11220"/>
                      </a:cubicBezTo>
                      <a:cubicBezTo>
                        <a:pt x="23324" y="11220"/>
                        <a:pt x="21530" y="11220"/>
                        <a:pt x="20158" y="11861"/>
                      </a:cubicBezTo>
                      <a:cubicBezTo>
                        <a:pt x="19947" y="11968"/>
                        <a:pt x="18364" y="12716"/>
                        <a:pt x="18364" y="14319"/>
                      </a:cubicBezTo>
                      <a:cubicBezTo>
                        <a:pt x="18364" y="15174"/>
                        <a:pt x="18891" y="15922"/>
                        <a:pt x="19525" y="16456"/>
                      </a:cubicBezTo>
                      <a:cubicBezTo>
                        <a:pt x="20685" y="17204"/>
                        <a:pt x="23429" y="17738"/>
                        <a:pt x="24590" y="17845"/>
                      </a:cubicBezTo>
                      <a:cubicBezTo>
                        <a:pt x="26173" y="18059"/>
                        <a:pt x="30500" y="18700"/>
                        <a:pt x="35038" y="20196"/>
                      </a:cubicBezTo>
                      <a:cubicBezTo>
                        <a:pt x="37888" y="21158"/>
                        <a:pt x="44959" y="23722"/>
                        <a:pt x="44959" y="32912"/>
                      </a:cubicBezTo>
                      <a:cubicBezTo>
                        <a:pt x="44959" y="39751"/>
                        <a:pt x="40949" y="43491"/>
                        <a:pt x="38943" y="4498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0" name="Graphic 34">
                <a:extLst>
                  <a:ext uri="{FF2B5EF4-FFF2-40B4-BE49-F238E27FC236}">
                    <a16:creationId xmlns:a16="http://schemas.microsoft.com/office/drawing/2014/main" id="{DF51672E-D8C5-C5D5-BB3E-59925EB0865E}"/>
                  </a:ext>
                </a:extLst>
              </p:cNvPr>
              <p:cNvGrpSpPr/>
              <p:nvPr/>
            </p:nvGrpSpPr>
            <p:grpSpPr>
              <a:xfrm>
                <a:off x="1010874" y="2572554"/>
                <a:ext cx="352073" cy="49047"/>
                <a:chOff x="1010874" y="2572554"/>
                <a:chExt cx="352073" cy="49047"/>
              </a:xfrm>
              <a:solidFill>
                <a:srgbClr val="000000"/>
              </a:solidFill>
            </p:grpSpPr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2205B972-8386-8899-522E-1B99B131FB85}"/>
                    </a:ext>
                  </a:extLst>
                </p:cNvPr>
                <p:cNvSpPr/>
                <p:nvPr/>
              </p:nvSpPr>
              <p:spPr>
                <a:xfrm>
                  <a:off x="1010874" y="2574050"/>
                  <a:ext cx="38415" cy="46269"/>
                </a:xfrm>
                <a:custGeom>
                  <a:avLst/>
                  <a:gdLst>
                    <a:gd name="connsiteX0" fmla="*/ 27123 w 38415"/>
                    <a:gd name="connsiteY0" fmla="*/ 46269 h 46269"/>
                    <a:gd name="connsiteX1" fmla="*/ 10976 w 38415"/>
                    <a:gd name="connsiteY1" fmla="*/ 18273 h 46269"/>
                    <a:gd name="connsiteX2" fmla="*/ 10976 w 38415"/>
                    <a:gd name="connsiteY2" fmla="*/ 46269 h 46269"/>
                    <a:gd name="connsiteX3" fmla="*/ 0 w 38415"/>
                    <a:gd name="connsiteY3" fmla="*/ 46269 h 46269"/>
                    <a:gd name="connsiteX4" fmla="*/ 0 w 38415"/>
                    <a:gd name="connsiteY4" fmla="*/ 0 h 46269"/>
                    <a:gd name="connsiteX5" fmla="*/ 11187 w 38415"/>
                    <a:gd name="connsiteY5" fmla="*/ 0 h 46269"/>
                    <a:gd name="connsiteX6" fmla="*/ 27440 w 38415"/>
                    <a:gd name="connsiteY6" fmla="*/ 28210 h 46269"/>
                    <a:gd name="connsiteX7" fmla="*/ 27440 w 38415"/>
                    <a:gd name="connsiteY7" fmla="*/ 0 h 46269"/>
                    <a:gd name="connsiteX8" fmla="*/ 38416 w 38415"/>
                    <a:gd name="connsiteY8" fmla="*/ 0 h 46269"/>
                    <a:gd name="connsiteX9" fmla="*/ 38416 w 38415"/>
                    <a:gd name="connsiteY9" fmla="*/ 46269 h 46269"/>
                    <a:gd name="connsiteX10" fmla="*/ 27229 w 38415"/>
                    <a:gd name="connsiteY10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8415" h="46269">
                      <a:moveTo>
                        <a:pt x="27123" y="46269"/>
                      </a:moveTo>
                      <a:lnTo>
                        <a:pt x="10976" y="18273"/>
                      </a:lnTo>
                      <a:lnTo>
                        <a:pt x="10976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11187" y="0"/>
                      </a:lnTo>
                      <a:lnTo>
                        <a:pt x="27440" y="28210"/>
                      </a:lnTo>
                      <a:lnTo>
                        <a:pt x="27440" y="0"/>
                      </a:lnTo>
                      <a:lnTo>
                        <a:pt x="38416" y="0"/>
                      </a:lnTo>
                      <a:lnTo>
                        <a:pt x="38416" y="46269"/>
                      </a:lnTo>
                      <a:lnTo>
                        <a:pt x="27229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5306E3C9-79FA-E8C8-4AC9-2A9CD541DA3E}"/>
                    </a:ext>
                  </a:extLst>
                </p:cNvPr>
                <p:cNvSpPr/>
                <p:nvPr/>
              </p:nvSpPr>
              <p:spPr>
                <a:xfrm>
                  <a:off x="1061638" y="2574050"/>
                  <a:ext cx="35882" cy="46269"/>
                </a:xfrm>
                <a:custGeom>
                  <a:avLst/>
                  <a:gdLst>
                    <a:gd name="connsiteX0" fmla="*/ 0 w 35882"/>
                    <a:gd name="connsiteY0" fmla="*/ 46269 h 46269"/>
                    <a:gd name="connsiteX1" fmla="*/ 0 w 35882"/>
                    <a:gd name="connsiteY1" fmla="*/ 0 h 46269"/>
                    <a:gd name="connsiteX2" fmla="*/ 33772 w 35882"/>
                    <a:gd name="connsiteY2" fmla="*/ 0 h 46269"/>
                    <a:gd name="connsiteX3" fmla="*/ 33772 w 35882"/>
                    <a:gd name="connsiteY3" fmla="*/ 8869 h 46269"/>
                    <a:gd name="connsiteX4" fmla="*/ 11398 w 35882"/>
                    <a:gd name="connsiteY4" fmla="*/ 8869 h 46269"/>
                    <a:gd name="connsiteX5" fmla="*/ 11398 w 35882"/>
                    <a:gd name="connsiteY5" fmla="*/ 17311 h 46269"/>
                    <a:gd name="connsiteX6" fmla="*/ 32294 w 35882"/>
                    <a:gd name="connsiteY6" fmla="*/ 17311 h 46269"/>
                    <a:gd name="connsiteX7" fmla="*/ 32294 w 35882"/>
                    <a:gd name="connsiteY7" fmla="*/ 26073 h 46269"/>
                    <a:gd name="connsiteX8" fmla="*/ 11398 w 35882"/>
                    <a:gd name="connsiteY8" fmla="*/ 26073 h 46269"/>
                    <a:gd name="connsiteX9" fmla="*/ 11398 w 35882"/>
                    <a:gd name="connsiteY9" fmla="*/ 37079 h 46269"/>
                    <a:gd name="connsiteX10" fmla="*/ 35883 w 35882"/>
                    <a:gd name="connsiteY10" fmla="*/ 37079 h 46269"/>
                    <a:gd name="connsiteX11" fmla="*/ 35883 w 35882"/>
                    <a:gd name="connsiteY11" fmla="*/ 46162 h 46269"/>
                    <a:gd name="connsiteX12" fmla="*/ 0 w 35882"/>
                    <a:gd name="connsiteY12" fmla="*/ 46162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5882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33772" y="0"/>
                      </a:lnTo>
                      <a:lnTo>
                        <a:pt x="33772" y="8869"/>
                      </a:lnTo>
                      <a:lnTo>
                        <a:pt x="11398" y="8869"/>
                      </a:lnTo>
                      <a:lnTo>
                        <a:pt x="11398" y="17311"/>
                      </a:lnTo>
                      <a:lnTo>
                        <a:pt x="32294" y="17311"/>
                      </a:lnTo>
                      <a:lnTo>
                        <a:pt x="32294" y="26073"/>
                      </a:lnTo>
                      <a:lnTo>
                        <a:pt x="11398" y="26073"/>
                      </a:lnTo>
                      <a:lnTo>
                        <a:pt x="11398" y="37079"/>
                      </a:lnTo>
                      <a:lnTo>
                        <a:pt x="35883" y="37079"/>
                      </a:lnTo>
                      <a:lnTo>
                        <a:pt x="35883" y="46162"/>
                      </a:lnTo>
                      <a:lnTo>
                        <a:pt x="0" y="4616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reeform 32">
                  <a:extLst>
                    <a:ext uri="{FF2B5EF4-FFF2-40B4-BE49-F238E27FC236}">
                      <a16:creationId xmlns:a16="http://schemas.microsoft.com/office/drawing/2014/main" id="{44EB8948-0D08-B3A2-A12A-71B2489CCCA6}"/>
                    </a:ext>
                  </a:extLst>
                </p:cNvPr>
                <p:cNvSpPr/>
                <p:nvPr/>
              </p:nvSpPr>
              <p:spPr>
                <a:xfrm>
                  <a:off x="1103008" y="2574050"/>
                  <a:ext cx="35249" cy="46269"/>
                </a:xfrm>
                <a:custGeom>
                  <a:avLst/>
                  <a:gdLst>
                    <a:gd name="connsiteX0" fmla="*/ 23429 w 35249"/>
                    <a:gd name="connsiteY0" fmla="*/ 9083 h 46269"/>
                    <a:gd name="connsiteX1" fmla="*/ 23429 w 35249"/>
                    <a:gd name="connsiteY1" fmla="*/ 46269 h 46269"/>
                    <a:gd name="connsiteX2" fmla="*/ 11926 w 35249"/>
                    <a:gd name="connsiteY2" fmla="*/ 46269 h 46269"/>
                    <a:gd name="connsiteX3" fmla="*/ 11926 w 35249"/>
                    <a:gd name="connsiteY3" fmla="*/ 9083 h 46269"/>
                    <a:gd name="connsiteX4" fmla="*/ 0 w 35249"/>
                    <a:gd name="connsiteY4" fmla="*/ 9083 h 46269"/>
                    <a:gd name="connsiteX5" fmla="*/ 0 w 35249"/>
                    <a:gd name="connsiteY5" fmla="*/ 0 h 46269"/>
                    <a:gd name="connsiteX6" fmla="*/ 35249 w 35249"/>
                    <a:gd name="connsiteY6" fmla="*/ 0 h 46269"/>
                    <a:gd name="connsiteX7" fmla="*/ 35249 w 35249"/>
                    <a:gd name="connsiteY7" fmla="*/ 9083 h 46269"/>
                    <a:gd name="connsiteX8" fmla="*/ 23429 w 35249"/>
                    <a:gd name="connsiteY8" fmla="*/ 9083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249" h="46269">
                      <a:moveTo>
                        <a:pt x="23429" y="9083"/>
                      </a:moveTo>
                      <a:lnTo>
                        <a:pt x="23429" y="46269"/>
                      </a:lnTo>
                      <a:lnTo>
                        <a:pt x="11926" y="46269"/>
                      </a:lnTo>
                      <a:lnTo>
                        <a:pt x="11926" y="9083"/>
                      </a:lnTo>
                      <a:lnTo>
                        <a:pt x="0" y="9083"/>
                      </a:lnTo>
                      <a:lnTo>
                        <a:pt x="0" y="0"/>
                      </a:lnTo>
                      <a:lnTo>
                        <a:pt x="35249" y="0"/>
                      </a:lnTo>
                      <a:lnTo>
                        <a:pt x="35249" y="9083"/>
                      </a:lnTo>
                      <a:lnTo>
                        <a:pt x="23429" y="908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AC65452F-A6D0-04CB-C8E3-A7A2AA937D74}"/>
                    </a:ext>
                  </a:extLst>
                </p:cNvPr>
                <p:cNvSpPr/>
                <p:nvPr/>
              </p:nvSpPr>
              <p:spPr>
                <a:xfrm>
                  <a:off x="1144907" y="2574050"/>
                  <a:ext cx="63322" cy="46269"/>
                </a:xfrm>
                <a:custGeom>
                  <a:avLst/>
                  <a:gdLst>
                    <a:gd name="connsiteX0" fmla="*/ 51819 w 63322"/>
                    <a:gd name="connsiteY0" fmla="*/ 46269 h 46269"/>
                    <a:gd name="connsiteX1" fmla="*/ 39999 w 63322"/>
                    <a:gd name="connsiteY1" fmla="*/ 46269 h 46269"/>
                    <a:gd name="connsiteX2" fmla="*/ 31767 w 63322"/>
                    <a:gd name="connsiteY2" fmla="*/ 16670 h 46269"/>
                    <a:gd name="connsiteX3" fmla="*/ 23429 w 63322"/>
                    <a:gd name="connsiteY3" fmla="*/ 46269 h 46269"/>
                    <a:gd name="connsiteX4" fmla="*/ 11609 w 63322"/>
                    <a:gd name="connsiteY4" fmla="*/ 46269 h 46269"/>
                    <a:gd name="connsiteX5" fmla="*/ 0 w 63322"/>
                    <a:gd name="connsiteY5" fmla="*/ 0 h 46269"/>
                    <a:gd name="connsiteX6" fmla="*/ 11504 w 63322"/>
                    <a:gd name="connsiteY6" fmla="*/ 0 h 46269"/>
                    <a:gd name="connsiteX7" fmla="*/ 18258 w 63322"/>
                    <a:gd name="connsiteY7" fmla="*/ 31843 h 46269"/>
                    <a:gd name="connsiteX8" fmla="*/ 26595 w 63322"/>
                    <a:gd name="connsiteY8" fmla="*/ 0 h 46269"/>
                    <a:gd name="connsiteX9" fmla="*/ 36727 w 63322"/>
                    <a:gd name="connsiteY9" fmla="*/ 0 h 46269"/>
                    <a:gd name="connsiteX10" fmla="*/ 45276 w 63322"/>
                    <a:gd name="connsiteY10" fmla="*/ 31843 h 46269"/>
                    <a:gd name="connsiteX11" fmla="*/ 51924 w 63322"/>
                    <a:gd name="connsiteY11" fmla="*/ 0 h 46269"/>
                    <a:gd name="connsiteX12" fmla="*/ 63323 w 63322"/>
                    <a:gd name="connsiteY12" fmla="*/ 0 h 46269"/>
                    <a:gd name="connsiteX13" fmla="*/ 51713 w 63322"/>
                    <a:gd name="connsiteY13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3322" h="46269">
                      <a:moveTo>
                        <a:pt x="51819" y="46269"/>
                      </a:moveTo>
                      <a:lnTo>
                        <a:pt x="39999" y="46269"/>
                      </a:lnTo>
                      <a:lnTo>
                        <a:pt x="31767" y="16670"/>
                      </a:lnTo>
                      <a:lnTo>
                        <a:pt x="23429" y="46269"/>
                      </a:lnTo>
                      <a:lnTo>
                        <a:pt x="11609" y="46269"/>
                      </a:lnTo>
                      <a:lnTo>
                        <a:pt x="0" y="0"/>
                      </a:lnTo>
                      <a:lnTo>
                        <a:pt x="11504" y="0"/>
                      </a:lnTo>
                      <a:lnTo>
                        <a:pt x="18258" y="31843"/>
                      </a:lnTo>
                      <a:lnTo>
                        <a:pt x="26595" y="0"/>
                      </a:lnTo>
                      <a:lnTo>
                        <a:pt x="36727" y="0"/>
                      </a:lnTo>
                      <a:lnTo>
                        <a:pt x="45276" y="31843"/>
                      </a:lnTo>
                      <a:lnTo>
                        <a:pt x="51924" y="0"/>
                      </a:lnTo>
                      <a:lnTo>
                        <a:pt x="63323" y="0"/>
                      </a:lnTo>
                      <a:lnTo>
                        <a:pt x="51713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reeform 34">
                  <a:extLst>
                    <a:ext uri="{FF2B5EF4-FFF2-40B4-BE49-F238E27FC236}">
                      <a16:creationId xmlns:a16="http://schemas.microsoft.com/office/drawing/2014/main" id="{3F83DB58-2BE8-5588-0B26-934356B27A9C}"/>
                    </a:ext>
                  </a:extLst>
                </p:cNvPr>
                <p:cNvSpPr/>
                <p:nvPr/>
              </p:nvSpPr>
              <p:spPr>
                <a:xfrm>
                  <a:off x="1214139" y="2572554"/>
                  <a:ext cx="45803" cy="49047"/>
                </a:xfrm>
                <a:custGeom>
                  <a:avLst/>
                  <a:gdLst>
                    <a:gd name="connsiteX0" fmla="*/ 37044 w 45803"/>
                    <a:gd name="connsiteY0" fmla="*/ 44239 h 49047"/>
                    <a:gd name="connsiteX1" fmla="*/ 22691 w 45803"/>
                    <a:gd name="connsiteY1" fmla="*/ 49047 h 49047"/>
                    <a:gd name="connsiteX2" fmla="*/ 6543 w 45803"/>
                    <a:gd name="connsiteY2" fmla="*/ 42422 h 49047"/>
                    <a:gd name="connsiteX3" fmla="*/ 0 w 45803"/>
                    <a:gd name="connsiteY3" fmla="*/ 24363 h 49047"/>
                    <a:gd name="connsiteX4" fmla="*/ 4327 w 45803"/>
                    <a:gd name="connsiteY4" fmla="*/ 9403 h 49047"/>
                    <a:gd name="connsiteX5" fmla="*/ 22585 w 45803"/>
                    <a:gd name="connsiteY5" fmla="*/ 0 h 49047"/>
                    <a:gd name="connsiteX6" fmla="*/ 38943 w 45803"/>
                    <a:gd name="connsiteY6" fmla="*/ 6411 h 49047"/>
                    <a:gd name="connsiteX7" fmla="*/ 45803 w 45803"/>
                    <a:gd name="connsiteY7" fmla="*/ 24898 h 49047"/>
                    <a:gd name="connsiteX8" fmla="*/ 37149 w 45803"/>
                    <a:gd name="connsiteY8" fmla="*/ 44239 h 49047"/>
                    <a:gd name="connsiteX9" fmla="*/ 31345 w 45803"/>
                    <a:gd name="connsiteY9" fmla="*/ 13998 h 49047"/>
                    <a:gd name="connsiteX10" fmla="*/ 26912 w 45803"/>
                    <a:gd name="connsiteY10" fmla="*/ 10472 h 49047"/>
                    <a:gd name="connsiteX11" fmla="*/ 22479 w 45803"/>
                    <a:gd name="connsiteY11" fmla="*/ 9617 h 49047"/>
                    <a:gd name="connsiteX12" fmla="*/ 17414 w 45803"/>
                    <a:gd name="connsiteY12" fmla="*/ 10899 h 49047"/>
                    <a:gd name="connsiteX13" fmla="*/ 11187 w 45803"/>
                    <a:gd name="connsiteY13" fmla="*/ 24150 h 49047"/>
                    <a:gd name="connsiteX14" fmla="*/ 14986 w 45803"/>
                    <a:gd name="connsiteY14" fmla="*/ 35904 h 49047"/>
                    <a:gd name="connsiteX15" fmla="*/ 22691 w 45803"/>
                    <a:gd name="connsiteY15" fmla="*/ 39216 h 49047"/>
                    <a:gd name="connsiteX16" fmla="*/ 30606 w 45803"/>
                    <a:gd name="connsiteY16" fmla="*/ 35690 h 49047"/>
                    <a:gd name="connsiteX17" fmla="*/ 34194 w 45803"/>
                    <a:gd name="connsiteY17" fmla="*/ 25539 h 49047"/>
                    <a:gd name="connsiteX18" fmla="*/ 31239 w 45803"/>
                    <a:gd name="connsiteY18" fmla="*/ 13891 h 49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5803" h="49047">
                      <a:moveTo>
                        <a:pt x="37044" y="44239"/>
                      </a:moveTo>
                      <a:cubicBezTo>
                        <a:pt x="34616" y="46269"/>
                        <a:pt x="30184" y="49047"/>
                        <a:pt x="22691" y="49047"/>
                      </a:cubicBezTo>
                      <a:cubicBezTo>
                        <a:pt x="19947" y="49047"/>
                        <a:pt x="12348" y="48620"/>
                        <a:pt x="6543" y="42422"/>
                      </a:cubicBezTo>
                      <a:cubicBezTo>
                        <a:pt x="422" y="35904"/>
                        <a:pt x="0" y="27035"/>
                        <a:pt x="0" y="24363"/>
                      </a:cubicBezTo>
                      <a:cubicBezTo>
                        <a:pt x="0" y="21906"/>
                        <a:pt x="317" y="15387"/>
                        <a:pt x="4327" y="9403"/>
                      </a:cubicBezTo>
                      <a:cubicBezTo>
                        <a:pt x="6649" y="5877"/>
                        <a:pt x="11926" y="0"/>
                        <a:pt x="22585" y="0"/>
                      </a:cubicBezTo>
                      <a:cubicBezTo>
                        <a:pt x="31239" y="0"/>
                        <a:pt x="36516" y="3954"/>
                        <a:pt x="38943" y="6411"/>
                      </a:cubicBezTo>
                      <a:cubicBezTo>
                        <a:pt x="43376" y="11006"/>
                        <a:pt x="45803" y="18486"/>
                        <a:pt x="45803" y="24898"/>
                      </a:cubicBezTo>
                      <a:cubicBezTo>
                        <a:pt x="45803" y="31950"/>
                        <a:pt x="42743" y="39537"/>
                        <a:pt x="37149" y="44239"/>
                      </a:cubicBezTo>
                      <a:close/>
                      <a:moveTo>
                        <a:pt x="31345" y="13998"/>
                      </a:moveTo>
                      <a:cubicBezTo>
                        <a:pt x="30711" y="13250"/>
                        <a:pt x="29445" y="11541"/>
                        <a:pt x="26912" y="10472"/>
                      </a:cubicBezTo>
                      <a:cubicBezTo>
                        <a:pt x="25012" y="9724"/>
                        <a:pt x="23324" y="9617"/>
                        <a:pt x="22479" y="9617"/>
                      </a:cubicBezTo>
                      <a:cubicBezTo>
                        <a:pt x="19947" y="9617"/>
                        <a:pt x="18258" y="10472"/>
                        <a:pt x="17414" y="10899"/>
                      </a:cubicBezTo>
                      <a:cubicBezTo>
                        <a:pt x="12770" y="13571"/>
                        <a:pt x="11187" y="19234"/>
                        <a:pt x="11187" y="24150"/>
                      </a:cubicBezTo>
                      <a:cubicBezTo>
                        <a:pt x="11187" y="30454"/>
                        <a:pt x="13087" y="33874"/>
                        <a:pt x="14986" y="35904"/>
                      </a:cubicBezTo>
                      <a:cubicBezTo>
                        <a:pt x="16992" y="38041"/>
                        <a:pt x="19736" y="39216"/>
                        <a:pt x="22691" y="39216"/>
                      </a:cubicBezTo>
                      <a:cubicBezTo>
                        <a:pt x="24168" y="39216"/>
                        <a:pt x="27756" y="38789"/>
                        <a:pt x="30606" y="35690"/>
                      </a:cubicBezTo>
                      <a:cubicBezTo>
                        <a:pt x="33244" y="32912"/>
                        <a:pt x="34089" y="29172"/>
                        <a:pt x="34194" y="25539"/>
                      </a:cubicBezTo>
                      <a:cubicBezTo>
                        <a:pt x="34405" y="19662"/>
                        <a:pt x="32611" y="15815"/>
                        <a:pt x="31239" y="1389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C5D4AB6E-8B94-C59A-87AD-5AFFA20B7317}"/>
                    </a:ext>
                  </a:extLst>
                </p:cNvPr>
                <p:cNvSpPr/>
                <p:nvPr/>
              </p:nvSpPr>
              <p:spPr>
                <a:xfrm>
                  <a:off x="1269230" y="2574050"/>
                  <a:ext cx="40315" cy="46269"/>
                </a:xfrm>
                <a:custGeom>
                  <a:avLst/>
                  <a:gdLst>
                    <a:gd name="connsiteX0" fmla="*/ 27651 w 40315"/>
                    <a:gd name="connsiteY0" fmla="*/ 46269 h 46269"/>
                    <a:gd name="connsiteX1" fmla="*/ 18575 w 40315"/>
                    <a:gd name="connsiteY1" fmla="*/ 29706 h 46269"/>
                    <a:gd name="connsiteX2" fmla="*/ 11504 w 40315"/>
                    <a:gd name="connsiteY2" fmla="*/ 29706 h 46269"/>
                    <a:gd name="connsiteX3" fmla="*/ 11504 w 40315"/>
                    <a:gd name="connsiteY3" fmla="*/ 46269 h 46269"/>
                    <a:gd name="connsiteX4" fmla="*/ 0 w 40315"/>
                    <a:gd name="connsiteY4" fmla="*/ 46269 h 46269"/>
                    <a:gd name="connsiteX5" fmla="*/ 0 w 40315"/>
                    <a:gd name="connsiteY5" fmla="*/ 0 h 46269"/>
                    <a:gd name="connsiteX6" fmla="*/ 20580 w 40315"/>
                    <a:gd name="connsiteY6" fmla="*/ 0 h 46269"/>
                    <a:gd name="connsiteX7" fmla="*/ 24485 w 40315"/>
                    <a:gd name="connsiteY7" fmla="*/ 0 h 46269"/>
                    <a:gd name="connsiteX8" fmla="*/ 37360 w 40315"/>
                    <a:gd name="connsiteY8" fmla="*/ 7159 h 46269"/>
                    <a:gd name="connsiteX9" fmla="*/ 39154 w 40315"/>
                    <a:gd name="connsiteY9" fmla="*/ 14853 h 46269"/>
                    <a:gd name="connsiteX10" fmla="*/ 35566 w 40315"/>
                    <a:gd name="connsiteY10" fmla="*/ 24257 h 46269"/>
                    <a:gd name="connsiteX11" fmla="*/ 33455 w 40315"/>
                    <a:gd name="connsiteY11" fmla="*/ 25966 h 46269"/>
                    <a:gd name="connsiteX12" fmla="*/ 29762 w 40315"/>
                    <a:gd name="connsiteY12" fmla="*/ 27569 h 46269"/>
                    <a:gd name="connsiteX13" fmla="*/ 40315 w 40315"/>
                    <a:gd name="connsiteY13" fmla="*/ 46055 h 46269"/>
                    <a:gd name="connsiteX14" fmla="*/ 27756 w 40315"/>
                    <a:gd name="connsiteY14" fmla="*/ 46055 h 46269"/>
                    <a:gd name="connsiteX15" fmla="*/ 21108 w 40315"/>
                    <a:gd name="connsiteY15" fmla="*/ 8549 h 46269"/>
                    <a:gd name="connsiteX16" fmla="*/ 11398 w 40315"/>
                    <a:gd name="connsiteY16" fmla="*/ 8549 h 46269"/>
                    <a:gd name="connsiteX17" fmla="*/ 11398 w 40315"/>
                    <a:gd name="connsiteY17" fmla="*/ 21158 h 46269"/>
                    <a:gd name="connsiteX18" fmla="*/ 20896 w 40315"/>
                    <a:gd name="connsiteY18" fmla="*/ 21158 h 46269"/>
                    <a:gd name="connsiteX19" fmla="*/ 23957 w 40315"/>
                    <a:gd name="connsiteY19" fmla="*/ 20730 h 46269"/>
                    <a:gd name="connsiteX20" fmla="*/ 27756 w 40315"/>
                    <a:gd name="connsiteY20" fmla="*/ 14746 h 46269"/>
                    <a:gd name="connsiteX21" fmla="*/ 21108 w 40315"/>
                    <a:gd name="connsiteY21" fmla="*/ 854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0315" h="46269">
                      <a:moveTo>
                        <a:pt x="27651" y="46269"/>
                      </a:moveTo>
                      <a:lnTo>
                        <a:pt x="18575" y="29706"/>
                      </a:lnTo>
                      <a:lnTo>
                        <a:pt x="11504" y="29706"/>
                      </a:lnTo>
                      <a:lnTo>
                        <a:pt x="11504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20580" y="0"/>
                      </a:lnTo>
                      <a:cubicBezTo>
                        <a:pt x="21846" y="0"/>
                        <a:pt x="23218" y="0"/>
                        <a:pt x="24485" y="0"/>
                      </a:cubicBezTo>
                      <a:cubicBezTo>
                        <a:pt x="26595" y="107"/>
                        <a:pt x="33772" y="641"/>
                        <a:pt x="37360" y="7159"/>
                      </a:cubicBezTo>
                      <a:cubicBezTo>
                        <a:pt x="37993" y="8442"/>
                        <a:pt x="39154" y="11113"/>
                        <a:pt x="39154" y="14853"/>
                      </a:cubicBezTo>
                      <a:cubicBezTo>
                        <a:pt x="39154" y="19982"/>
                        <a:pt x="37149" y="22760"/>
                        <a:pt x="35566" y="24257"/>
                      </a:cubicBezTo>
                      <a:cubicBezTo>
                        <a:pt x="34933" y="24898"/>
                        <a:pt x="34194" y="25539"/>
                        <a:pt x="33455" y="25966"/>
                      </a:cubicBezTo>
                      <a:cubicBezTo>
                        <a:pt x="32611" y="26394"/>
                        <a:pt x="31661" y="26928"/>
                        <a:pt x="29762" y="27569"/>
                      </a:cubicBezTo>
                      <a:lnTo>
                        <a:pt x="40315" y="46055"/>
                      </a:lnTo>
                      <a:lnTo>
                        <a:pt x="27756" y="46055"/>
                      </a:lnTo>
                      <a:close/>
                      <a:moveTo>
                        <a:pt x="21108" y="8549"/>
                      </a:moveTo>
                      <a:lnTo>
                        <a:pt x="11398" y="8549"/>
                      </a:lnTo>
                      <a:lnTo>
                        <a:pt x="11398" y="21158"/>
                      </a:lnTo>
                      <a:lnTo>
                        <a:pt x="20896" y="21158"/>
                      </a:lnTo>
                      <a:cubicBezTo>
                        <a:pt x="20896" y="21158"/>
                        <a:pt x="22691" y="21158"/>
                        <a:pt x="23957" y="20730"/>
                      </a:cubicBezTo>
                      <a:cubicBezTo>
                        <a:pt x="27651" y="19448"/>
                        <a:pt x="27756" y="15922"/>
                        <a:pt x="27756" y="14746"/>
                      </a:cubicBezTo>
                      <a:cubicBezTo>
                        <a:pt x="27756" y="8762"/>
                        <a:pt x="23113" y="8549"/>
                        <a:pt x="21108" y="854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A95C625D-912C-08F3-175F-8F69D60DBD3F}"/>
                    </a:ext>
                  </a:extLst>
                </p:cNvPr>
                <p:cNvSpPr/>
                <p:nvPr/>
              </p:nvSpPr>
              <p:spPr>
                <a:xfrm>
                  <a:off x="1319888" y="2574050"/>
                  <a:ext cx="43059" cy="46269"/>
                </a:xfrm>
                <a:custGeom>
                  <a:avLst/>
                  <a:gdLst>
                    <a:gd name="connsiteX0" fmla="*/ 30078 w 43059"/>
                    <a:gd name="connsiteY0" fmla="*/ 46269 h 46269"/>
                    <a:gd name="connsiteX1" fmla="*/ 17941 w 43059"/>
                    <a:gd name="connsiteY1" fmla="*/ 25325 h 46269"/>
                    <a:gd name="connsiteX2" fmla="*/ 10870 w 43059"/>
                    <a:gd name="connsiteY2" fmla="*/ 32698 h 46269"/>
                    <a:gd name="connsiteX3" fmla="*/ 10870 w 43059"/>
                    <a:gd name="connsiteY3" fmla="*/ 46269 h 46269"/>
                    <a:gd name="connsiteX4" fmla="*/ 0 w 43059"/>
                    <a:gd name="connsiteY4" fmla="*/ 46269 h 46269"/>
                    <a:gd name="connsiteX5" fmla="*/ 0 w 43059"/>
                    <a:gd name="connsiteY5" fmla="*/ 0 h 46269"/>
                    <a:gd name="connsiteX6" fmla="*/ 10870 w 43059"/>
                    <a:gd name="connsiteY6" fmla="*/ 0 h 46269"/>
                    <a:gd name="connsiteX7" fmla="*/ 10870 w 43059"/>
                    <a:gd name="connsiteY7" fmla="*/ 18914 h 46269"/>
                    <a:gd name="connsiteX8" fmla="*/ 27967 w 43059"/>
                    <a:gd name="connsiteY8" fmla="*/ 0 h 46269"/>
                    <a:gd name="connsiteX9" fmla="*/ 41793 w 43059"/>
                    <a:gd name="connsiteY9" fmla="*/ 0 h 46269"/>
                    <a:gd name="connsiteX10" fmla="*/ 25646 w 43059"/>
                    <a:gd name="connsiteY10" fmla="*/ 17204 h 46269"/>
                    <a:gd name="connsiteX11" fmla="*/ 43059 w 43059"/>
                    <a:gd name="connsiteY11" fmla="*/ 46269 h 46269"/>
                    <a:gd name="connsiteX12" fmla="*/ 30184 w 43059"/>
                    <a:gd name="connsiteY12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3059" h="46269">
                      <a:moveTo>
                        <a:pt x="30078" y="46269"/>
                      </a:moveTo>
                      <a:lnTo>
                        <a:pt x="17941" y="25325"/>
                      </a:lnTo>
                      <a:lnTo>
                        <a:pt x="10870" y="32698"/>
                      </a:lnTo>
                      <a:lnTo>
                        <a:pt x="10870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10870" y="0"/>
                      </a:lnTo>
                      <a:lnTo>
                        <a:pt x="10870" y="18914"/>
                      </a:lnTo>
                      <a:lnTo>
                        <a:pt x="27967" y="0"/>
                      </a:lnTo>
                      <a:lnTo>
                        <a:pt x="41793" y="0"/>
                      </a:lnTo>
                      <a:lnTo>
                        <a:pt x="25646" y="17204"/>
                      </a:lnTo>
                      <a:lnTo>
                        <a:pt x="43059" y="46269"/>
                      </a:lnTo>
                      <a:lnTo>
                        <a:pt x="30184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B40EBCE-2869-988B-7762-8EC9E3F620D3}"/>
              </a:ext>
            </a:extLst>
          </p:cNvPr>
          <p:cNvGrpSpPr/>
          <p:nvPr userDrawn="1"/>
        </p:nvGrpSpPr>
        <p:grpSpPr>
          <a:xfrm>
            <a:off x="512749" y="814827"/>
            <a:ext cx="3134801" cy="1408306"/>
            <a:chOff x="1753986" y="2707575"/>
            <a:chExt cx="6648078" cy="2986643"/>
          </a:xfrm>
        </p:grpSpPr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E6C38C3F-C8F3-468D-BEF7-0CD35A1A12F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04B6B606-EF4A-F24B-F67E-FCC8497CAAC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F8CF3383-638C-0246-CA3A-BEBC38BB453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058173-E383-7A26-F1A4-83E104E6AA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478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058173-E383-7A26-F1A4-83E104E6A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2751" y="2236197"/>
            <a:ext cx="6408749" cy="2700994"/>
          </a:xfrm>
        </p:spPr>
        <p:txBody>
          <a:bodyPr vert="horz" anchor="b"/>
          <a:lstStyle>
            <a:lvl1pPr algn="l" rtl="0"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E588CE3-C114-1F17-5294-7F8B1B16C5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3238" y="5107996"/>
            <a:ext cx="6408749" cy="50400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6C4C33-B4BC-9E99-C5BA-78831DB79E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316981"/>
            <a:ext cx="1906587" cy="157966"/>
          </a:xfrm>
          <a:effectLst/>
        </p:spPr>
        <p:txBody>
          <a:bodyPr vert="horz" wrap="square" anchor="t">
            <a:noAutofit/>
          </a:bodyPr>
          <a:lstStyle>
            <a:lvl1pPr marL="0" indent="0" algn="l" rtl="0">
              <a:lnSpc>
                <a:spcPct val="100000"/>
              </a:lnSpc>
              <a:buFont typeface="Arial" panose="020B0604020202020204" pitchFamily="34" charset="0"/>
              <a:buChar char="​"/>
              <a:defRPr sz="900" b="0" i="1" u="none" strike="noStrike">
                <a:solidFill>
                  <a:schemeClr val="accent3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2pPr>
            <a:lvl3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3pPr>
            <a:lvl4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4pPr>
            <a:lvl5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5pPr>
            <a:lvl6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6pPr>
            <a:lvl7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7pPr>
            <a:lvl8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8pPr>
            <a:lvl9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9pPr>
          </a:lstStyle>
          <a:p>
            <a:pPr lvl="0"/>
            <a:r>
              <a:rPr lang="en-GB"/>
              <a:t>Click to add Name and Sur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4ED17-DCDF-EC9D-C57C-5BADF23A2EE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503238" y="6020457"/>
            <a:ext cx="1906587" cy="180000"/>
          </a:xfrm>
        </p:spPr>
        <p:txBody>
          <a:bodyPr lIns="0" tIns="0" rIns="0" bIns="0"/>
          <a:lstStyle>
            <a:lvl1pPr algn="l" rtl="0">
              <a:defRPr sz="900" b="1" i="1">
                <a:solidFill>
                  <a:schemeClr val="accent3"/>
                </a:solidFill>
                <a:latin typeface="+mn-lt"/>
                <a:ea typeface="Inter Italic" panose="02000503000000020004" pitchFamily="2" charset="0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A4D7F91A-4424-F7C8-B177-FDF620AE2250}"/>
              </a:ext>
            </a:extLst>
          </p:cNvPr>
          <p:cNvSpPr/>
          <p:nvPr userDrawn="1"/>
        </p:nvSpPr>
        <p:spPr>
          <a:xfrm>
            <a:off x="7009066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</p:spTree>
    <p:extLst>
      <p:ext uri="{BB962C8B-B14F-4D97-AF65-F5344CB8AC3E}">
        <p14:creationId xmlns:p14="http://schemas.microsoft.com/office/powerpoint/2010/main" val="8726674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69E772-F408-FD83-50DD-836837A5A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8897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9E772-F408-FD83-50DD-836837A5A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FDB837B-4D48-D012-61B0-0EE41DB9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91" y="1710125"/>
            <a:ext cx="3313218" cy="2788916"/>
          </a:xfrm>
          <a:prstGeom prst="round2DiagRect">
            <a:avLst>
              <a:gd name="adj1" fmla="val 2875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E55A046-A771-0C89-980B-90FCE6138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4935104"/>
            <a:ext cx="3559173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F43A0467-854D-A5E9-4475-554AC19F71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7" y="5520149"/>
            <a:ext cx="3559173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50261D2-B563-943E-4224-81DE75FFF2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16416" y="4935104"/>
            <a:ext cx="3559173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F23EAE1A-D748-3862-E1EB-F37656124B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6415" y="5520149"/>
            <a:ext cx="3559173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D66BE42-CAAC-F8B1-4E04-0D542C36BA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8001" y="4935104"/>
            <a:ext cx="3559174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75E2757E-370E-EC22-1B4A-A6D28BEEDD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8000" y="5520149"/>
            <a:ext cx="3559174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2" name="Date Placeholder 11" hidden="1">
            <a:extLst>
              <a:ext uri="{FF2B5EF4-FFF2-40B4-BE49-F238E27FC236}">
                <a16:creationId xmlns:a16="http://schemas.microsoft.com/office/drawing/2014/main" id="{C9FB790C-95E1-CF00-205A-5F4E1AEBD5A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9E673FA9-87D9-527B-E22D-2FBDE86215F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487C187-2627-81CC-D09D-88D1684098D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881" y="1590376"/>
            <a:ext cx="539750" cy="52516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D2E9991-2D70-AD48-0B42-065200058F1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3515403" y="4095590"/>
            <a:ext cx="539750" cy="525162"/>
          </a:xfrm>
          <a:prstGeom prst="rect">
            <a:avLst/>
          </a:prstGeom>
        </p:spPr>
      </p:pic>
      <p:sp>
        <p:nvSpPr>
          <p:cNvPr id="22" name="Slide Number Placeholder 10">
            <a:extLst>
              <a:ext uri="{FF2B5EF4-FFF2-40B4-BE49-F238E27FC236}">
                <a16:creationId xmlns:a16="http://schemas.microsoft.com/office/drawing/2014/main" id="{08F3014C-82E1-F626-EF6E-790489497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F1120FDF-7895-A9AD-F968-FB392200A84B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639CD39-6A98-A4BB-8E08-8B78DC974D9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435225" y="1710125"/>
            <a:ext cx="3313218" cy="2788916"/>
          </a:xfrm>
          <a:prstGeom prst="round2DiagRect">
            <a:avLst>
              <a:gd name="adj1" fmla="val 2875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69748C78-8E3D-2A0D-10A8-27F35E9D37E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16415" y="1590376"/>
            <a:ext cx="539750" cy="52516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FC55CF46-6B99-F381-1884-5CAABC0F65C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7329937" y="4095590"/>
            <a:ext cx="539750" cy="525162"/>
          </a:xfrm>
          <a:prstGeom prst="rect">
            <a:avLst/>
          </a:prstGeom>
        </p:spPr>
      </p:pic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D0DC474C-C4D1-6588-B889-08655C609BC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49759" y="1710125"/>
            <a:ext cx="3313218" cy="2788916"/>
          </a:xfrm>
          <a:prstGeom prst="round2DiagRect">
            <a:avLst>
              <a:gd name="adj1" fmla="val 2875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851B9EA3-1E25-DE2A-C669-6081E75C551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30949" y="1590376"/>
            <a:ext cx="539750" cy="525162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FE227968-4840-2CE2-21E3-FB7EA2F8A0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144471" y="4095590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3282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BF95444-CE45-76AB-B404-CBC6500747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718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F95444-CE45-76AB-B404-CBC650074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FDB837B-4D48-D012-61B0-0EE41DB9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641" y="1710125"/>
            <a:ext cx="2393935" cy="2788916"/>
          </a:xfrm>
          <a:prstGeom prst="round2DiagRect">
            <a:avLst>
              <a:gd name="adj1" fmla="val 401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E55A046-A771-0C89-980B-90FCE6138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4756976"/>
            <a:ext cx="2606675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F43A0467-854D-A5E9-4475-554AC19F71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7" y="5342021"/>
            <a:ext cx="2606675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50261D2-B563-943E-4224-81DE75FFF2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62326" y="4756976"/>
            <a:ext cx="2606675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F23EAE1A-D748-3862-E1EB-F37656124B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2325" y="5342021"/>
            <a:ext cx="2606675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D66BE42-CAAC-F8B1-4E04-0D542C36BA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1414" y="4756976"/>
            <a:ext cx="2606675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75E2757E-370E-EC22-1B4A-A6D28BEEDD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1413" y="5342021"/>
            <a:ext cx="2606675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B1C31A84-3995-A935-9587-36B3792348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80502" y="4756976"/>
            <a:ext cx="2606675" cy="360000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1600" b="0" dirty="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22" name="Pladsholder til tekst 4">
            <a:extLst>
              <a:ext uri="{FF2B5EF4-FFF2-40B4-BE49-F238E27FC236}">
                <a16:creationId xmlns:a16="http://schemas.microsoft.com/office/drawing/2014/main" id="{E78D3374-042E-1F77-4B80-72D0275674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0501" y="5342021"/>
            <a:ext cx="2606675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2" name="Date Placeholder 11" hidden="1">
            <a:extLst>
              <a:ext uri="{FF2B5EF4-FFF2-40B4-BE49-F238E27FC236}">
                <a16:creationId xmlns:a16="http://schemas.microsoft.com/office/drawing/2014/main" id="{FE49AA67-AB46-5E7A-3B8D-43EA33E599B6}"/>
              </a:ext>
            </a:extLst>
          </p:cNvPr>
          <p:cNvSpPr>
            <a:spLocks noGrp="1"/>
          </p:cNvSpPr>
          <p:nvPr>
            <p:ph type="dt" sz="half" idx="29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2BDD33B-686C-F1A1-0D2D-47281F0FB4A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D44AE3C-3763-193A-BA95-BCDA70BC07C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7367" y="1587372"/>
            <a:ext cx="539750" cy="52516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74319031-9F90-FDAC-B37C-F5E01CF9047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2581781" y="4095590"/>
            <a:ext cx="539750" cy="525162"/>
          </a:xfrm>
          <a:prstGeom prst="rect">
            <a:avLst/>
          </a:prstGeom>
        </p:spPr>
      </p:pic>
      <p:sp>
        <p:nvSpPr>
          <p:cNvPr id="27" name="Slide Number Placeholder 10">
            <a:extLst>
              <a:ext uri="{FF2B5EF4-FFF2-40B4-BE49-F238E27FC236}">
                <a16:creationId xmlns:a16="http://schemas.microsoft.com/office/drawing/2014/main" id="{0C6D06E6-2675-9494-4780-385BDC02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F741A08A-1A65-82EC-E643-8A457CE921EE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B1434E25-07F2-40AA-A349-48AFA2791885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480599" y="1710125"/>
            <a:ext cx="2393935" cy="2788916"/>
          </a:xfrm>
          <a:prstGeom prst="round2DiagRect">
            <a:avLst>
              <a:gd name="adj1" fmla="val 401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6F35E33-0C9D-66A9-690E-316EED8C1F7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62325" y="1587372"/>
            <a:ext cx="539750" cy="525162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8B01C31-2498-80F8-9F41-2247A7F485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5456739" y="4095590"/>
            <a:ext cx="539750" cy="525162"/>
          </a:xfrm>
          <a:prstGeom prst="rect">
            <a:avLst/>
          </a:prstGeom>
        </p:spPr>
      </p:pic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ABCCA398-4FF4-FAF6-7563-7F258EF4F09E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317468" y="1710125"/>
            <a:ext cx="2393935" cy="2788916"/>
          </a:xfrm>
          <a:prstGeom prst="round2DiagRect">
            <a:avLst>
              <a:gd name="adj1" fmla="val 401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6089650-85CC-042A-A4C5-312B444AA4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9194" y="1587372"/>
            <a:ext cx="539750" cy="525162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4D7E5382-24CD-CE62-ACBB-134C867DE19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8293608" y="4095590"/>
            <a:ext cx="539750" cy="525162"/>
          </a:xfrm>
          <a:prstGeom prst="rect">
            <a:avLst/>
          </a:prstGeom>
        </p:spPr>
      </p:pic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1D14E632-9414-2D37-A632-90F337FF0A2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154337" y="1710125"/>
            <a:ext cx="2393935" cy="2788916"/>
          </a:xfrm>
          <a:prstGeom prst="round2DiagRect">
            <a:avLst>
              <a:gd name="adj1" fmla="val 4016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88DE7042-EDB4-CE02-CEF9-3B16A83224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36063" y="1587372"/>
            <a:ext cx="539750" cy="525162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D7656E24-2A3B-F7F9-F166-9DAE8A1BED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130477" y="4095590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8537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1D356E0-7A48-05CA-CB22-10FB5E398B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084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D356E0-7A48-05CA-CB22-10FB5E398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5737" y="3321699"/>
            <a:ext cx="4513263" cy="2459342"/>
          </a:xfrm>
        </p:spPr>
        <p:txBody>
          <a:bodyPr anchor="t"/>
          <a:lstStyle>
            <a:lvl1pPr marL="0" indent="0" rtl="0">
              <a:buFont typeface="Arial" panose="020B0604020202020204" pitchFamily="34" charset="0"/>
              <a:buChar char="​"/>
              <a:defRPr sz="3600"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latin typeface="+mn-lt"/>
              </a:defRPr>
            </a:lvl9pPr>
          </a:lstStyle>
          <a:p>
            <a:pPr lvl="0"/>
            <a:r>
              <a:rPr lang="en-GB"/>
              <a:t>Click to add quot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6AA9361-C222-4B4D-F648-EF7D81890E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2326" y="6012180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Oscine" panose="020B0506040202020204" pitchFamily="34" charset="0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B1317DBF-26B5-A214-7F65-1C07BF2831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2326" y="6345872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200" kern="1200" baseline="0" dirty="0" smtClean="0">
                <a:solidFill>
                  <a:schemeClr val="tx2"/>
                </a:solidFill>
                <a:latin typeface="+mn-lt"/>
                <a:ea typeface="Inter Italic" panose="02000503000000020004" pitchFamily="2" charset="0"/>
                <a:cs typeface="+mn-cs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7B1F84E-82E2-3B5A-B2F9-EE2B10C67A6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413" y="3321699"/>
            <a:ext cx="698500" cy="723900"/>
          </a:xfrm>
          <a:prstGeom prst="rect">
            <a:avLst/>
          </a:prstGeom>
        </p:spPr>
      </p:pic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A00EEC98-9875-255E-D46D-24ED1670429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73912" y="268915"/>
            <a:ext cx="4513263" cy="6319210"/>
          </a:xfrm>
          <a:prstGeom prst="round2DiagRect">
            <a:avLst>
              <a:gd name="adj1" fmla="val 1924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0E960FB-B016-D3CB-1894-7B445A4A38D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11274381" y="6187910"/>
            <a:ext cx="539750" cy="52516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156D063-CB4B-E439-8956-C3F1789199A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46956" y="142381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635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B52C8F4-F393-648D-B991-18E7C2678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747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52C8F4-F393-648D-B991-18E7C2678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0783914C-266A-61B0-2710-99B955C97713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000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5737" y="3321699"/>
            <a:ext cx="4513263" cy="2459342"/>
          </a:xfrm>
        </p:spPr>
        <p:txBody>
          <a:bodyPr anchor="t"/>
          <a:lstStyle>
            <a:lvl1pPr marL="0" indent="0" rtl="0">
              <a:buFont typeface="Arial" panose="020B0604020202020204" pitchFamily="34" charset="0"/>
              <a:buChar char="​"/>
              <a:defRPr sz="360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add quot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6AA9361-C222-4B4D-F648-EF7D81890E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2326" y="6012180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600" kern="1200" baseline="0" dirty="0" smtClean="0">
                <a:solidFill>
                  <a:schemeClr val="bg1"/>
                </a:solidFill>
                <a:latin typeface="+mn-lt"/>
                <a:ea typeface="+mn-ea"/>
                <a:cs typeface="Oscine" panose="020B0506040202020204" pitchFamily="34" charset="0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B1317DBF-26B5-A214-7F65-1C07BF2831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2326" y="6345872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20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16E232-9CBC-B9AC-9C52-BDC8491488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413" y="3264507"/>
            <a:ext cx="698500" cy="72390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A818051-8EB6-4771-2BFD-CCFF0F5C03C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73912" y="268915"/>
            <a:ext cx="4513263" cy="6319210"/>
          </a:xfrm>
          <a:prstGeom prst="round2DiagRect">
            <a:avLst>
              <a:gd name="adj1" fmla="val 1924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B023470-2287-9DED-B04B-523DD3D0EE8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11274381" y="6187910"/>
            <a:ext cx="539750" cy="525162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AAA7344-771F-0574-81B8-FA295C64D8F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46956" y="142381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6968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E5D9650-7B82-54B5-9BAD-B6A53BCFDA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70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5D9650-7B82-54B5-9BAD-B6A53BCFD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0783914C-266A-61B0-2710-99B955C97713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000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5737" y="3321699"/>
            <a:ext cx="4513263" cy="2459342"/>
          </a:xfrm>
        </p:spPr>
        <p:txBody>
          <a:bodyPr anchor="t"/>
          <a:lstStyle>
            <a:lvl1pPr marL="0" indent="0" rtl="0">
              <a:buFont typeface="Arial" panose="020B0604020202020204" pitchFamily="34" charset="0"/>
              <a:buChar char="​"/>
              <a:defRPr sz="360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add quot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6AA9361-C222-4B4D-F648-EF7D81890E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2326" y="6012180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600" kern="1200" baseline="0" dirty="0" smtClean="0">
                <a:solidFill>
                  <a:schemeClr val="bg1"/>
                </a:solidFill>
                <a:latin typeface="+mn-lt"/>
                <a:ea typeface="+mn-ea"/>
                <a:cs typeface="Oscine" panose="020B0506040202020204" pitchFamily="34" charset="0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B1317DBF-26B5-A214-7F65-1C07BF2831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2326" y="6345872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20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88C9E71-481F-3FFB-3336-BE1CD636046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413" y="3264507"/>
            <a:ext cx="698500" cy="72390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3B277C19-A50E-3019-4314-0ED76133AAE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73912" y="268915"/>
            <a:ext cx="4513263" cy="6319210"/>
          </a:xfrm>
          <a:prstGeom prst="round2DiagRect">
            <a:avLst>
              <a:gd name="adj1" fmla="val 1924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E94E854-2383-A466-39C1-1192468535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11274381" y="6187910"/>
            <a:ext cx="539750" cy="525162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29BCC6E-FCB6-9814-C3BE-2D3C140AC48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46956" y="142381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38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47C90A2-EE8C-2D3E-FD8D-8BB1275F7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92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7C90A2-EE8C-2D3E-FD8D-8BB1275F7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0783914C-266A-61B0-2710-99B955C97713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000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5737" y="3321699"/>
            <a:ext cx="4513263" cy="2459342"/>
          </a:xfrm>
        </p:spPr>
        <p:txBody>
          <a:bodyPr anchor="t"/>
          <a:lstStyle>
            <a:lvl1pPr marL="0" indent="0" rtl="0">
              <a:buFont typeface="Arial" panose="020B0604020202020204" pitchFamily="34" charset="0"/>
              <a:buChar char="​"/>
              <a:defRPr sz="360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add quote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0CEE10A-E544-B8A7-293D-FC93AF37489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73912" y="268915"/>
            <a:ext cx="4513263" cy="6319210"/>
          </a:xfrm>
          <a:prstGeom prst="round2DiagRect">
            <a:avLst>
              <a:gd name="adj1" fmla="val 1924"/>
              <a:gd name="adj2" fmla="val 0"/>
            </a:avLst>
          </a:prstGeom>
          <a:solidFill>
            <a:schemeClr val="accent2">
              <a:lumMod val="20000"/>
              <a:lumOff val="80000"/>
            </a:schemeClr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6AA9361-C222-4B4D-F648-EF7D81890E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2326" y="6012180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600" kern="1200" baseline="0" dirty="0" smtClean="0">
                <a:solidFill>
                  <a:schemeClr val="bg1"/>
                </a:solidFill>
                <a:latin typeface="+mn-lt"/>
                <a:ea typeface="+mn-ea"/>
                <a:cs typeface="Oscine" panose="020B0506040202020204" pitchFamily="34" charset="0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B1317DBF-26B5-A214-7F65-1C07BF2831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2326" y="6345872"/>
            <a:ext cx="2606675" cy="244475"/>
          </a:xfrm>
        </p:spPr>
        <p:txBody>
          <a:bodyPr/>
          <a:lstStyle>
            <a:lvl1pPr marL="0" indent="0" rtl="0">
              <a:buFont typeface="Arial" panose="020B0604020202020204" pitchFamily="34" charset="0"/>
              <a:buChar char="​"/>
              <a:defRPr lang="en-US" sz="1200" kern="1200" baseline="0" dirty="0" smtClean="0">
                <a:solidFill>
                  <a:schemeClr val="bg1"/>
                </a:solidFill>
                <a:latin typeface="+mn-lt"/>
                <a:ea typeface="Inter Italic" panose="02000503000000020004" pitchFamily="2" charset="0"/>
                <a:cs typeface="+mn-cs"/>
              </a:defRPr>
            </a:lvl1pPr>
            <a:lvl2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3pPr>
            <a:lvl4pPr marL="285750" indent="-2857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4pPr>
            <a:lvl5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7pPr>
            <a:lvl8pPr marL="171450" indent="-17145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8pPr>
            <a:lvl9pPr marL="685800" indent="-68580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B987ADD-3388-B337-0DEF-66FE48369F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274381" y="6187910"/>
            <a:ext cx="539750" cy="52516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37AD232-208A-2787-F44F-264C27694D3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46956" y="142381"/>
            <a:ext cx="539750" cy="52516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3890348-88A1-8886-70C9-9C6E931FDEB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6413" y="3264507"/>
            <a:ext cx="6985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2595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FEE8D0C-75E1-29EA-FDE8-591830436D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513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EE8D0C-75E1-29EA-FDE8-591830436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t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/>
              <a:t>Click on frame and insert dark picture using the Insert tab, Pictur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409825" y="3051000"/>
            <a:ext cx="7370763" cy="756000"/>
          </a:xfrm>
        </p:spPr>
        <p:txBody>
          <a:bodyPr vert="horz" anchor="b"/>
          <a:lstStyle>
            <a:lvl1pPr algn="ctr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AF2828-B95A-DE77-5B2C-C80CAF499BA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40EE21-DF44-9A1C-F431-CE01AE023C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1969885D-20A2-2FCB-C831-DADBF6AE0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487FC6A-1DD9-29EE-6F92-D03EC05A2B40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bg1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8802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34F874-9D17-BAB7-5B9F-45177F7FC7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3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34F874-9D17-BAB7-5B9F-45177F7FC7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7999"/>
          </a:xfrm>
          <a:solidFill>
            <a:schemeClr val="bg1">
              <a:lumMod val="75000"/>
            </a:schemeClr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dark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03237" y="4878588"/>
            <a:ext cx="8324851" cy="159619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9600" b="0" i="0" u="none" strike="noStrike">
                <a:solidFill>
                  <a:schemeClr val="bg1"/>
                </a:solidFill>
                <a:latin typeface="+mj-lt"/>
                <a:cs typeface="Oscine" panose="020B0506040202020204" pitchFamily="34" charset="0"/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03239" y="890337"/>
            <a:ext cx="3560762" cy="159619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100" b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725232-9896-C1F0-F299-58E65BB2538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>
                <a:latin typeface="+mj-lt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9B2A1F9-2133-7A05-B551-DBB1944C5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E697CBE3-9AD8-54D1-61FC-81E14EA16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A0C57B2-64C0-5489-C4EC-054C3A9BB9E0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2636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al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EBD1BA-E23A-048C-5F69-F5A77082A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063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EBD1BA-E23A-048C-5F69-F5A77082A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FDB837B-4D48-D012-61B0-0EE41DB9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328140"/>
            <a:ext cx="10231437" cy="991557"/>
          </a:xfrm>
        </p:spPr>
        <p:txBody>
          <a:bodyPr vert="horz"/>
          <a:lstStyle>
            <a:lvl1pPr algn="l" rtl="0">
              <a:defRPr sz="60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E55A046-A771-0C89-980B-90FCE6138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3106002"/>
            <a:ext cx="1654175" cy="56146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4000" b="1" dirty="0">
                <a:solidFill>
                  <a:schemeClr val="accent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F43A0467-854D-A5E9-4475-554AC19F71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9" y="3931921"/>
            <a:ext cx="3558757" cy="1148216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50261D2-B563-943E-4224-81DE75FFF2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14410" y="3106003"/>
            <a:ext cx="1654588" cy="56146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4000" b="1" dirty="0">
                <a:solidFill>
                  <a:schemeClr val="accent3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F23EAE1A-D748-3862-E1EB-F37656124B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410" y="3931921"/>
            <a:ext cx="3561177" cy="1148216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D66BE42-CAAC-F8B1-4E04-0D542C36BA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8000" y="3106002"/>
            <a:ext cx="1654174" cy="56146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4000" b="1" dirty="0">
                <a:solidFill>
                  <a:schemeClr val="accent2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75E2757E-370E-EC22-1B4A-A6D28BEEDD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8001" y="3931921"/>
            <a:ext cx="3559173" cy="1148216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33" name="Date Placeholder 32" hidden="1">
            <a:extLst>
              <a:ext uri="{FF2B5EF4-FFF2-40B4-BE49-F238E27FC236}">
                <a16:creationId xmlns:a16="http://schemas.microsoft.com/office/drawing/2014/main" id="{BB4D231B-81A3-28EB-087A-05196B77E884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B34AC091-9C10-572A-6CF4-747D439BC91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A658504-3C45-36F6-A231-122A9CE70CE8}"/>
              </a:ext>
            </a:extLst>
          </p:cNvPr>
          <p:cNvCxnSpPr/>
          <p:nvPr userDrawn="1"/>
        </p:nvCxnSpPr>
        <p:spPr>
          <a:xfrm>
            <a:off x="503238" y="3779520"/>
            <a:ext cx="3558758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32C977-312F-08A2-9967-07E01FCF6C09}"/>
              </a:ext>
            </a:extLst>
          </p:cNvPr>
          <p:cNvCxnSpPr/>
          <p:nvPr userDrawn="1"/>
        </p:nvCxnSpPr>
        <p:spPr>
          <a:xfrm>
            <a:off x="4314410" y="3779520"/>
            <a:ext cx="3558758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01B9F61-722D-123A-B9CB-116279F19F6C}"/>
              </a:ext>
            </a:extLst>
          </p:cNvPr>
          <p:cNvCxnSpPr/>
          <p:nvPr userDrawn="1"/>
        </p:nvCxnSpPr>
        <p:spPr>
          <a:xfrm>
            <a:off x="8128000" y="3785616"/>
            <a:ext cx="3558758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1EA013FB-321B-6118-D92C-48E8C9C47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097B023-7D55-CDE9-3871-2A7C8E51B5A5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8869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al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539361-EC9D-CA65-D03B-D60055A8B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69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539361-EC9D-CA65-D03B-D60055A8B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68C84044-93CA-CC97-1DE1-300C9C6EBC1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solidFill>
            <a:srgbClr val="E5E8F0"/>
          </a:solidFill>
        </p:spPr>
        <p:txBody>
          <a:bodyPr tIns="0" anchor="t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Click on frame and insert dark picture using the Insert tab, Pictur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DB837B-4D48-D012-61B0-0EE41DB9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5738" y="1584467"/>
            <a:ext cx="9278937" cy="991557"/>
          </a:xfrm>
        </p:spPr>
        <p:txBody>
          <a:bodyPr vert="horz"/>
          <a:lstStyle>
            <a:lvl1pPr algn="ctr" rt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E55A046-A771-0C89-980B-90FCE6138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70990" y="3131242"/>
            <a:ext cx="1638922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1" dirty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F43A0467-854D-A5E9-4475-554AC19F71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70991" y="4160491"/>
            <a:ext cx="1638922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50261D2-B563-943E-4224-81DE75FFF2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61912" y="3131243"/>
            <a:ext cx="1654588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1" dirty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F23EAE1A-D748-3862-E1EB-F37656124B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1913" y="4160491"/>
            <a:ext cx="1654588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D66BE42-CAAC-F8B1-4E04-0D542C36BA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68912" y="3131242"/>
            <a:ext cx="1654587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1" dirty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75E2757E-370E-EC22-1B4A-A6D28BEEDD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68914" y="4160491"/>
            <a:ext cx="1654587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B1C31A84-3995-A935-9587-36B3792348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73913" y="3131242"/>
            <a:ext cx="1654586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1" dirty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22" name="Pladsholder til tekst 4">
            <a:extLst>
              <a:ext uri="{FF2B5EF4-FFF2-40B4-BE49-F238E27FC236}">
                <a16:creationId xmlns:a16="http://schemas.microsoft.com/office/drawing/2014/main" id="{E78D3374-042E-1F77-4B80-72D0275674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73915" y="4160491"/>
            <a:ext cx="1654586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12CD57F1-A102-F62C-9AE2-7502100A92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82085" y="3131242"/>
            <a:ext cx="1652590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da-DK" sz="5400" b="1" dirty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6" name="Pladsholder til tekst 4">
            <a:extLst>
              <a:ext uri="{FF2B5EF4-FFF2-40B4-BE49-F238E27FC236}">
                <a16:creationId xmlns:a16="http://schemas.microsoft.com/office/drawing/2014/main" id="{5357EB48-1279-F013-2203-C81B19287F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82087" y="4160491"/>
            <a:ext cx="1652588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3B9401B4-7EE5-05DA-1197-6B514157C7A4}"/>
              </a:ext>
            </a:extLst>
          </p:cNvPr>
          <p:cNvSpPr>
            <a:spLocks noGrp="1"/>
          </p:cNvSpPr>
          <p:nvPr>
            <p:ph type="dt" sz="half" idx="32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1BCA0AAF-A205-FCCA-59D7-276A404C15B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456E39E-8BD5-63A1-4CF4-F0548048EECC}"/>
              </a:ext>
            </a:extLst>
          </p:cNvPr>
          <p:cNvCxnSpPr>
            <a:cxnSpLocks/>
          </p:cNvCxnSpPr>
          <p:nvPr userDrawn="1"/>
        </p:nvCxnSpPr>
        <p:spPr>
          <a:xfrm>
            <a:off x="1455738" y="4011168"/>
            <a:ext cx="1654175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69BC71D-34FA-9EB5-CB90-58A081E527B3}"/>
              </a:ext>
            </a:extLst>
          </p:cNvPr>
          <p:cNvCxnSpPr>
            <a:cxnSpLocks/>
          </p:cNvCxnSpPr>
          <p:nvPr userDrawn="1"/>
        </p:nvCxnSpPr>
        <p:spPr>
          <a:xfrm>
            <a:off x="3362325" y="4011168"/>
            <a:ext cx="1654175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F4DD118-EBA0-7A06-1BCD-E0A51AD4E5FD}"/>
              </a:ext>
            </a:extLst>
          </p:cNvPr>
          <p:cNvCxnSpPr>
            <a:cxnSpLocks/>
          </p:cNvCxnSpPr>
          <p:nvPr userDrawn="1"/>
        </p:nvCxnSpPr>
        <p:spPr>
          <a:xfrm>
            <a:off x="5267325" y="4005072"/>
            <a:ext cx="1654175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2E2FD6-8182-543C-9B35-37EC974AFF6E}"/>
              </a:ext>
            </a:extLst>
          </p:cNvPr>
          <p:cNvCxnSpPr>
            <a:cxnSpLocks/>
          </p:cNvCxnSpPr>
          <p:nvPr userDrawn="1"/>
        </p:nvCxnSpPr>
        <p:spPr>
          <a:xfrm>
            <a:off x="7173912" y="4005072"/>
            <a:ext cx="1654175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3201D8-6F3F-DA32-DC34-F065E2EEB4DF}"/>
              </a:ext>
            </a:extLst>
          </p:cNvPr>
          <p:cNvCxnSpPr>
            <a:cxnSpLocks/>
          </p:cNvCxnSpPr>
          <p:nvPr userDrawn="1"/>
        </p:nvCxnSpPr>
        <p:spPr>
          <a:xfrm>
            <a:off x="9080500" y="4005072"/>
            <a:ext cx="1654175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6006F201-3B24-597C-93C3-F9458EB31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Content Placeholder 7">
            <a:extLst>
              <a:ext uri="{FF2B5EF4-FFF2-40B4-BE49-F238E27FC236}">
                <a16:creationId xmlns:a16="http://schemas.microsoft.com/office/drawing/2014/main" id="{54CA1B6E-8AF6-3A89-472A-2FEFF195E5B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bg1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83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Picture Placeholder 493">
            <a:extLst>
              <a:ext uri="{FF2B5EF4-FFF2-40B4-BE49-F238E27FC236}">
                <a16:creationId xmlns:a16="http://schemas.microsoft.com/office/drawing/2014/main" id="{E026F90E-190E-AA62-B142-290ACE771A5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338697 w 12192000"/>
              <a:gd name="connsiteY0" fmla="*/ 6522329 h 6858000"/>
              <a:gd name="connsiteX1" fmla="*/ 4342105 w 12192000"/>
              <a:gd name="connsiteY1" fmla="*/ 6522329 h 6858000"/>
              <a:gd name="connsiteX2" fmla="*/ 4342105 w 12192000"/>
              <a:gd name="connsiteY2" fmla="*/ 6524522 h 6858000"/>
              <a:gd name="connsiteX3" fmla="*/ 4337998 w 12192000"/>
              <a:gd name="connsiteY3" fmla="*/ 6536189 h 6858000"/>
              <a:gd name="connsiteX4" fmla="*/ 4325851 w 12192000"/>
              <a:gd name="connsiteY4" fmla="*/ 6540488 h 6858000"/>
              <a:gd name="connsiteX5" fmla="*/ 4322006 w 12192000"/>
              <a:gd name="connsiteY5" fmla="*/ 6540137 h 6858000"/>
              <a:gd name="connsiteX6" fmla="*/ 4318510 w 12192000"/>
              <a:gd name="connsiteY6" fmla="*/ 6538821 h 6858000"/>
              <a:gd name="connsiteX7" fmla="*/ 4315976 w 12192000"/>
              <a:gd name="connsiteY7" fmla="*/ 6536453 h 6858000"/>
              <a:gd name="connsiteX8" fmla="*/ 4315015 w 12192000"/>
              <a:gd name="connsiteY8" fmla="*/ 6532768 h 6858000"/>
              <a:gd name="connsiteX9" fmla="*/ 4317374 w 12192000"/>
              <a:gd name="connsiteY9" fmla="*/ 6527242 h 6858000"/>
              <a:gd name="connsiteX10" fmla="*/ 4323229 w 12192000"/>
              <a:gd name="connsiteY10" fmla="*/ 6524084 h 6858000"/>
              <a:gd name="connsiteX11" fmla="*/ 4330832 w 12192000"/>
              <a:gd name="connsiteY11" fmla="*/ 6522680 h 6858000"/>
              <a:gd name="connsiteX12" fmla="*/ 4338697 w 12192000"/>
              <a:gd name="connsiteY12" fmla="*/ 6522329 h 6858000"/>
              <a:gd name="connsiteX13" fmla="*/ 4552448 w 12192000"/>
              <a:gd name="connsiteY13" fmla="*/ 6498293 h 6858000"/>
              <a:gd name="connsiteX14" fmla="*/ 4559002 w 12192000"/>
              <a:gd name="connsiteY14" fmla="*/ 6499521 h 6858000"/>
              <a:gd name="connsiteX15" fmla="*/ 4563633 w 12192000"/>
              <a:gd name="connsiteY15" fmla="*/ 6502854 h 6858000"/>
              <a:gd name="connsiteX16" fmla="*/ 4566255 w 12192000"/>
              <a:gd name="connsiteY16" fmla="*/ 6507679 h 6858000"/>
              <a:gd name="connsiteX17" fmla="*/ 4567129 w 12192000"/>
              <a:gd name="connsiteY17" fmla="*/ 6513381 h 6858000"/>
              <a:gd name="connsiteX18" fmla="*/ 4535320 w 12192000"/>
              <a:gd name="connsiteY18" fmla="*/ 6513381 h 6858000"/>
              <a:gd name="connsiteX19" fmla="*/ 4540650 w 12192000"/>
              <a:gd name="connsiteY19" fmla="*/ 6502504 h 6858000"/>
              <a:gd name="connsiteX20" fmla="*/ 4552448 w 12192000"/>
              <a:gd name="connsiteY20" fmla="*/ 6498293 h 6858000"/>
              <a:gd name="connsiteX21" fmla="*/ 4448543 w 12192000"/>
              <a:gd name="connsiteY21" fmla="*/ 6488468 h 6858000"/>
              <a:gd name="connsiteX22" fmla="*/ 4473623 w 12192000"/>
              <a:gd name="connsiteY22" fmla="*/ 6550840 h 6858000"/>
              <a:gd name="connsiteX23" fmla="*/ 4490227 w 12192000"/>
              <a:gd name="connsiteY23" fmla="*/ 6550840 h 6858000"/>
              <a:gd name="connsiteX24" fmla="*/ 4514958 w 12192000"/>
              <a:gd name="connsiteY24" fmla="*/ 6488468 h 6858000"/>
              <a:gd name="connsiteX25" fmla="*/ 4498529 w 12192000"/>
              <a:gd name="connsiteY25" fmla="*/ 6488468 h 6858000"/>
              <a:gd name="connsiteX26" fmla="*/ 4482100 w 12192000"/>
              <a:gd name="connsiteY26" fmla="*/ 6533909 h 6858000"/>
              <a:gd name="connsiteX27" fmla="*/ 4481838 w 12192000"/>
              <a:gd name="connsiteY27" fmla="*/ 6533909 h 6858000"/>
              <a:gd name="connsiteX28" fmla="*/ 4465496 w 12192000"/>
              <a:gd name="connsiteY28" fmla="*/ 6488468 h 6858000"/>
              <a:gd name="connsiteX29" fmla="*/ 4422414 w 12192000"/>
              <a:gd name="connsiteY29" fmla="*/ 6488468 h 6858000"/>
              <a:gd name="connsiteX30" fmla="*/ 4422414 w 12192000"/>
              <a:gd name="connsiteY30" fmla="*/ 6550839 h 6858000"/>
              <a:gd name="connsiteX31" fmla="*/ 4437969 w 12192000"/>
              <a:gd name="connsiteY31" fmla="*/ 6550839 h 6858000"/>
              <a:gd name="connsiteX32" fmla="*/ 4437969 w 12192000"/>
              <a:gd name="connsiteY32" fmla="*/ 6488468 h 6858000"/>
              <a:gd name="connsiteX33" fmla="*/ 4268962 w 12192000"/>
              <a:gd name="connsiteY33" fmla="*/ 6488468 h 6858000"/>
              <a:gd name="connsiteX34" fmla="*/ 4268962 w 12192000"/>
              <a:gd name="connsiteY34" fmla="*/ 6550839 h 6858000"/>
              <a:gd name="connsiteX35" fmla="*/ 4284517 w 12192000"/>
              <a:gd name="connsiteY35" fmla="*/ 6550839 h 6858000"/>
              <a:gd name="connsiteX36" fmla="*/ 4284517 w 12192000"/>
              <a:gd name="connsiteY36" fmla="*/ 6488468 h 6858000"/>
              <a:gd name="connsiteX37" fmla="*/ 4185594 w 12192000"/>
              <a:gd name="connsiteY37" fmla="*/ 6488468 h 6858000"/>
              <a:gd name="connsiteX38" fmla="*/ 4185594 w 12192000"/>
              <a:gd name="connsiteY38" fmla="*/ 6550839 h 6858000"/>
              <a:gd name="connsiteX39" fmla="*/ 4201149 w 12192000"/>
              <a:gd name="connsiteY39" fmla="*/ 6550839 h 6858000"/>
              <a:gd name="connsiteX40" fmla="*/ 4201149 w 12192000"/>
              <a:gd name="connsiteY40" fmla="*/ 6488468 h 6858000"/>
              <a:gd name="connsiteX41" fmla="*/ 4552710 w 12192000"/>
              <a:gd name="connsiteY41" fmla="*/ 6486801 h 6858000"/>
              <a:gd name="connsiteX42" fmla="*/ 4539689 w 12192000"/>
              <a:gd name="connsiteY42" fmla="*/ 6489170 h 6858000"/>
              <a:gd name="connsiteX43" fmla="*/ 4529290 w 12192000"/>
              <a:gd name="connsiteY43" fmla="*/ 6495924 h 6858000"/>
              <a:gd name="connsiteX44" fmla="*/ 4522386 w 12192000"/>
              <a:gd name="connsiteY44" fmla="*/ 6506451 h 6858000"/>
              <a:gd name="connsiteX45" fmla="*/ 4519852 w 12192000"/>
              <a:gd name="connsiteY45" fmla="*/ 6520136 h 6858000"/>
              <a:gd name="connsiteX46" fmla="*/ 4522386 w 12192000"/>
              <a:gd name="connsiteY46" fmla="*/ 6533821 h 6858000"/>
              <a:gd name="connsiteX47" fmla="*/ 4529377 w 12192000"/>
              <a:gd name="connsiteY47" fmla="*/ 6543997 h 6858000"/>
              <a:gd name="connsiteX48" fmla="*/ 4539951 w 12192000"/>
              <a:gd name="connsiteY48" fmla="*/ 6550401 h 6858000"/>
              <a:gd name="connsiteX49" fmla="*/ 4553234 w 12192000"/>
              <a:gd name="connsiteY49" fmla="*/ 6552681 h 6858000"/>
              <a:gd name="connsiteX50" fmla="*/ 4579887 w 12192000"/>
              <a:gd name="connsiteY50" fmla="*/ 6540225 h 6858000"/>
              <a:gd name="connsiteX51" fmla="*/ 4569576 w 12192000"/>
              <a:gd name="connsiteY51" fmla="*/ 6531891 h 6858000"/>
              <a:gd name="connsiteX52" fmla="*/ 4562934 w 12192000"/>
              <a:gd name="connsiteY52" fmla="*/ 6537768 h 6858000"/>
              <a:gd name="connsiteX53" fmla="*/ 4553059 w 12192000"/>
              <a:gd name="connsiteY53" fmla="*/ 6539874 h 6858000"/>
              <a:gd name="connsiteX54" fmla="*/ 4546593 w 12192000"/>
              <a:gd name="connsiteY54" fmla="*/ 6538733 h 6858000"/>
              <a:gd name="connsiteX55" fmla="*/ 4541000 w 12192000"/>
              <a:gd name="connsiteY55" fmla="*/ 6535575 h 6858000"/>
              <a:gd name="connsiteX56" fmla="*/ 4537067 w 12192000"/>
              <a:gd name="connsiteY56" fmla="*/ 6530751 h 6858000"/>
              <a:gd name="connsiteX57" fmla="*/ 4535320 w 12192000"/>
              <a:gd name="connsiteY57" fmla="*/ 6524610 h 6858000"/>
              <a:gd name="connsiteX58" fmla="*/ 4582509 w 12192000"/>
              <a:gd name="connsiteY58" fmla="*/ 6524610 h 6858000"/>
              <a:gd name="connsiteX59" fmla="*/ 4582684 w 12192000"/>
              <a:gd name="connsiteY59" fmla="*/ 6522505 h 6858000"/>
              <a:gd name="connsiteX60" fmla="*/ 4582684 w 12192000"/>
              <a:gd name="connsiteY60" fmla="*/ 6520399 h 6858000"/>
              <a:gd name="connsiteX61" fmla="*/ 4582771 w 12192000"/>
              <a:gd name="connsiteY61" fmla="*/ 6520575 h 6858000"/>
              <a:gd name="connsiteX62" fmla="*/ 4580499 w 12192000"/>
              <a:gd name="connsiteY62" fmla="*/ 6505837 h 6858000"/>
              <a:gd name="connsiteX63" fmla="*/ 4574207 w 12192000"/>
              <a:gd name="connsiteY63" fmla="*/ 6495310 h 6858000"/>
              <a:gd name="connsiteX64" fmla="*/ 4564682 w 12192000"/>
              <a:gd name="connsiteY64" fmla="*/ 6488906 h 6858000"/>
              <a:gd name="connsiteX65" fmla="*/ 4552710 w 12192000"/>
              <a:gd name="connsiteY65" fmla="*/ 6486801 h 6858000"/>
              <a:gd name="connsiteX66" fmla="*/ 4329259 w 12192000"/>
              <a:gd name="connsiteY66" fmla="*/ 6486801 h 6858000"/>
              <a:gd name="connsiteX67" fmla="*/ 4315190 w 12192000"/>
              <a:gd name="connsiteY67" fmla="*/ 6489257 h 6858000"/>
              <a:gd name="connsiteX68" fmla="*/ 4302955 w 12192000"/>
              <a:gd name="connsiteY68" fmla="*/ 6496626 h 6858000"/>
              <a:gd name="connsiteX69" fmla="*/ 4310995 w 12192000"/>
              <a:gd name="connsiteY69" fmla="*/ 6506100 h 6858000"/>
              <a:gd name="connsiteX70" fmla="*/ 4318510 w 12192000"/>
              <a:gd name="connsiteY70" fmla="*/ 6501012 h 6858000"/>
              <a:gd name="connsiteX71" fmla="*/ 4327948 w 12192000"/>
              <a:gd name="connsiteY71" fmla="*/ 6498907 h 6858000"/>
              <a:gd name="connsiteX72" fmla="*/ 4337998 w 12192000"/>
              <a:gd name="connsiteY72" fmla="*/ 6501714 h 6858000"/>
              <a:gd name="connsiteX73" fmla="*/ 4342193 w 12192000"/>
              <a:gd name="connsiteY73" fmla="*/ 6510311 h 6858000"/>
              <a:gd name="connsiteX74" fmla="*/ 4342193 w 12192000"/>
              <a:gd name="connsiteY74" fmla="*/ 6511890 h 6858000"/>
              <a:gd name="connsiteX75" fmla="*/ 4327337 w 12192000"/>
              <a:gd name="connsiteY75" fmla="*/ 6512592 h 6858000"/>
              <a:gd name="connsiteX76" fmla="*/ 4313529 w 12192000"/>
              <a:gd name="connsiteY76" fmla="*/ 6515487 h 6858000"/>
              <a:gd name="connsiteX77" fmla="*/ 4303392 w 12192000"/>
              <a:gd name="connsiteY77" fmla="*/ 6521890 h 6858000"/>
              <a:gd name="connsiteX78" fmla="*/ 4299460 w 12192000"/>
              <a:gd name="connsiteY78" fmla="*/ 6533031 h 6858000"/>
              <a:gd name="connsiteX79" fmla="*/ 4301732 w 12192000"/>
              <a:gd name="connsiteY79" fmla="*/ 6542155 h 6858000"/>
              <a:gd name="connsiteX80" fmla="*/ 4307412 w 12192000"/>
              <a:gd name="connsiteY80" fmla="*/ 6548120 h 6858000"/>
              <a:gd name="connsiteX81" fmla="*/ 4314928 w 12192000"/>
              <a:gd name="connsiteY81" fmla="*/ 6551366 h 6858000"/>
              <a:gd name="connsiteX82" fmla="*/ 4322792 w 12192000"/>
              <a:gd name="connsiteY82" fmla="*/ 6552331 h 6858000"/>
              <a:gd name="connsiteX83" fmla="*/ 4334590 w 12192000"/>
              <a:gd name="connsiteY83" fmla="*/ 6549699 h 6858000"/>
              <a:gd name="connsiteX84" fmla="*/ 4342105 w 12192000"/>
              <a:gd name="connsiteY84" fmla="*/ 6542856 h 6858000"/>
              <a:gd name="connsiteX85" fmla="*/ 4342455 w 12192000"/>
              <a:gd name="connsiteY85" fmla="*/ 6542856 h 6858000"/>
              <a:gd name="connsiteX86" fmla="*/ 4342455 w 12192000"/>
              <a:gd name="connsiteY86" fmla="*/ 6543120 h 6858000"/>
              <a:gd name="connsiteX87" fmla="*/ 4342455 w 12192000"/>
              <a:gd name="connsiteY87" fmla="*/ 6551015 h 6858000"/>
              <a:gd name="connsiteX88" fmla="*/ 4356961 w 12192000"/>
              <a:gd name="connsiteY88" fmla="*/ 6551015 h 6858000"/>
              <a:gd name="connsiteX89" fmla="*/ 4356961 w 12192000"/>
              <a:gd name="connsiteY89" fmla="*/ 6513118 h 6858000"/>
              <a:gd name="connsiteX90" fmla="*/ 4355738 w 12192000"/>
              <a:gd name="connsiteY90" fmla="*/ 6503732 h 6858000"/>
              <a:gd name="connsiteX91" fmla="*/ 4351368 w 12192000"/>
              <a:gd name="connsiteY91" fmla="*/ 6495310 h 6858000"/>
              <a:gd name="connsiteX92" fmla="*/ 4342892 w 12192000"/>
              <a:gd name="connsiteY92" fmla="*/ 6489170 h 6858000"/>
              <a:gd name="connsiteX93" fmla="*/ 4329259 w 12192000"/>
              <a:gd name="connsiteY93" fmla="*/ 6486801 h 6858000"/>
              <a:gd name="connsiteX94" fmla="*/ 4144872 w 12192000"/>
              <a:gd name="connsiteY94" fmla="*/ 6486626 h 6858000"/>
              <a:gd name="connsiteX95" fmla="*/ 4132812 w 12192000"/>
              <a:gd name="connsiteY95" fmla="*/ 6490223 h 6858000"/>
              <a:gd name="connsiteX96" fmla="*/ 4125647 w 12192000"/>
              <a:gd name="connsiteY96" fmla="*/ 6498469 h 6858000"/>
              <a:gd name="connsiteX97" fmla="*/ 4125384 w 12192000"/>
              <a:gd name="connsiteY97" fmla="*/ 6498469 h 6858000"/>
              <a:gd name="connsiteX98" fmla="*/ 4125384 w 12192000"/>
              <a:gd name="connsiteY98" fmla="*/ 6488468 h 6858000"/>
              <a:gd name="connsiteX99" fmla="*/ 4110617 w 12192000"/>
              <a:gd name="connsiteY99" fmla="*/ 6488468 h 6858000"/>
              <a:gd name="connsiteX100" fmla="*/ 4110617 w 12192000"/>
              <a:gd name="connsiteY100" fmla="*/ 6550752 h 6858000"/>
              <a:gd name="connsiteX101" fmla="*/ 4126172 w 12192000"/>
              <a:gd name="connsiteY101" fmla="*/ 6550752 h 6858000"/>
              <a:gd name="connsiteX102" fmla="*/ 4126172 w 12192000"/>
              <a:gd name="connsiteY102" fmla="*/ 6516452 h 6858000"/>
              <a:gd name="connsiteX103" fmla="*/ 4127045 w 12192000"/>
              <a:gd name="connsiteY103" fmla="*/ 6510311 h 6858000"/>
              <a:gd name="connsiteX104" fmla="*/ 4129666 w 12192000"/>
              <a:gd name="connsiteY104" fmla="*/ 6504960 h 6858000"/>
              <a:gd name="connsiteX105" fmla="*/ 4134123 w 12192000"/>
              <a:gd name="connsiteY105" fmla="*/ 6501100 h 6858000"/>
              <a:gd name="connsiteX106" fmla="*/ 4140590 w 12192000"/>
              <a:gd name="connsiteY106" fmla="*/ 6499609 h 6858000"/>
              <a:gd name="connsiteX107" fmla="*/ 4146621 w 12192000"/>
              <a:gd name="connsiteY107" fmla="*/ 6501188 h 6858000"/>
              <a:gd name="connsiteX108" fmla="*/ 4150203 w 12192000"/>
              <a:gd name="connsiteY108" fmla="*/ 6505136 h 6858000"/>
              <a:gd name="connsiteX109" fmla="*/ 4151863 w 12192000"/>
              <a:gd name="connsiteY109" fmla="*/ 6510487 h 6858000"/>
              <a:gd name="connsiteX110" fmla="*/ 4152212 w 12192000"/>
              <a:gd name="connsiteY110" fmla="*/ 6516189 h 6858000"/>
              <a:gd name="connsiteX111" fmla="*/ 4152212 w 12192000"/>
              <a:gd name="connsiteY111" fmla="*/ 6550752 h 6858000"/>
              <a:gd name="connsiteX112" fmla="*/ 4167768 w 12192000"/>
              <a:gd name="connsiteY112" fmla="*/ 6550752 h 6858000"/>
              <a:gd name="connsiteX113" fmla="*/ 4167768 w 12192000"/>
              <a:gd name="connsiteY113" fmla="*/ 6511803 h 6858000"/>
              <a:gd name="connsiteX114" fmla="*/ 4166457 w 12192000"/>
              <a:gd name="connsiteY114" fmla="*/ 6502416 h 6858000"/>
              <a:gd name="connsiteX115" fmla="*/ 4162349 w 12192000"/>
              <a:gd name="connsiteY115" fmla="*/ 6494346 h 6858000"/>
              <a:gd name="connsiteX116" fmla="*/ 4155272 w 12192000"/>
              <a:gd name="connsiteY116" fmla="*/ 6488731 h 6858000"/>
              <a:gd name="connsiteX117" fmla="*/ 4144872 w 12192000"/>
              <a:gd name="connsiteY117" fmla="*/ 6486626 h 6858000"/>
              <a:gd name="connsiteX118" fmla="*/ 10410091 w 12192000"/>
              <a:gd name="connsiteY118" fmla="*/ 6486042 h 6858000"/>
              <a:gd name="connsiteX119" fmla="*/ 10415850 w 12192000"/>
              <a:gd name="connsiteY119" fmla="*/ 6506468 h 6858000"/>
              <a:gd name="connsiteX120" fmla="*/ 10402386 w 12192000"/>
              <a:gd name="connsiteY120" fmla="*/ 6506468 h 6858000"/>
              <a:gd name="connsiteX121" fmla="*/ 10408768 w 12192000"/>
              <a:gd name="connsiteY121" fmla="*/ 6487589 h 6858000"/>
              <a:gd name="connsiteX122" fmla="*/ 10410091 w 12192000"/>
              <a:gd name="connsiteY122" fmla="*/ 6486042 h 6858000"/>
              <a:gd name="connsiteX123" fmla="*/ 10254742 w 12192000"/>
              <a:gd name="connsiteY123" fmla="*/ 6478458 h 6858000"/>
              <a:gd name="connsiteX124" fmla="*/ 10254742 w 12192000"/>
              <a:gd name="connsiteY124" fmla="*/ 6480934 h 6858000"/>
              <a:gd name="connsiteX125" fmla="*/ 10262292 w 12192000"/>
              <a:gd name="connsiteY125" fmla="*/ 6483952 h 6858000"/>
              <a:gd name="connsiteX126" fmla="*/ 10261825 w 12192000"/>
              <a:gd name="connsiteY126" fmla="*/ 6527281 h 6858000"/>
              <a:gd name="connsiteX127" fmla="*/ 10254742 w 12192000"/>
              <a:gd name="connsiteY127" fmla="*/ 6529525 h 6858000"/>
              <a:gd name="connsiteX128" fmla="*/ 10254742 w 12192000"/>
              <a:gd name="connsiteY128" fmla="*/ 6532001 h 6858000"/>
              <a:gd name="connsiteX129" fmla="*/ 10280348 w 12192000"/>
              <a:gd name="connsiteY129" fmla="*/ 6532001 h 6858000"/>
              <a:gd name="connsiteX130" fmla="*/ 10280348 w 12192000"/>
              <a:gd name="connsiteY130" fmla="*/ 6529525 h 6858000"/>
              <a:gd name="connsiteX131" fmla="*/ 10272098 w 12192000"/>
              <a:gd name="connsiteY131" fmla="*/ 6526584 h 6858000"/>
              <a:gd name="connsiteX132" fmla="*/ 10272098 w 12192000"/>
              <a:gd name="connsiteY132" fmla="*/ 6507086 h 6858000"/>
              <a:gd name="connsiteX133" fmla="*/ 10300351 w 12192000"/>
              <a:gd name="connsiteY133" fmla="*/ 6507086 h 6858000"/>
              <a:gd name="connsiteX134" fmla="*/ 10300351 w 12192000"/>
              <a:gd name="connsiteY134" fmla="*/ 6527513 h 6858000"/>
              <a:gd name="connsiteX135" fmla="*/ 10292645 w 12192000"/>
              <a:gd name="connsiteY135" fmla="*/ 6529525 h 6858000"/>
              <a:gd name="connsiteX136" fmla="*/ 10292645 w 12192000"/>
              <a:gd name="connsiteY136" fmla="*/ 6532001 h 6858000"/>
              <a:gd name="connsiteX137" fmla="*/ 10318252 w 12192000"/>
              <a:gd name="connsiteY137" fmla="*/ 6532001 h 6858000"/>
              <a:gd name="connsiteX138" fmla="*/ 10318252 w 12192000"/>
              <a:gd name="connsiteY138" fmla="*/ 6529525 h 6858000"/>
              <a:gd name="connsiteX139" fmla="*/ 10310702 w 12192000"/>
              <a:gd name="connsiteY139" fmla="*/ 6527436 h 6858000"/>
              <a:gd name="connsiteX140" fmla="*/ 10310546 w 12192000"/>
              <a:gd name="connsiteY140" fmla="*/ 6483333 h 6858000"/>
              <a:gd name="connsiteX141" fmla="*/ 10318252 w 12192000"/>
              <a:gd name="connsiteY141" fmla="*/ 6480934 h 6858000"/>
              <a:gd name="connsiteX142" fmla="*/ 10318252 w 12192000"/>
              <a:gd name="connsiteY142" fmla="*/ 6478458 h 6858000"/>
              <a:gd name="connsiteX143" fmla="*/ 10292645 w 12192000"/>
              <a:gd name="connsiteY143" fmla="*/ 6478458 h 6858000"/>
              <a:gd name="connsiteX144" fmla="*/ 10292645 w 12192000"/>
              <a:gd name="connsiteY144" fmla="*/ 6480934 h 6858000"/>
              <a:gd name="connsiteX145" fmla="*/ 10300273 w 12192000"/>
              <a:gd name="connsiteY145" fmla="*/ 6482869 h 6858000"/>
              <a:gd name="connsiteX146" fmla="*/ 10300273 w 12192000"/>
              <a:gd name="connsiteY146" fmla="*/ 6501980 h 6858000"/>
              <a:gd name="connsiteX147" fmla="*/ 10272020 w 12192000"/>
              <a:gd name="connsiteY147" fmla="*/ 6501980 h 6858000"/>
              <a:gd name="connsiteX148" fmla="*/ 10272020 w 12192000"/>
              <a:gd name="connsiteY148" fmla="*/ 6483797 h 6858000"/>
              <a:gd name="connsiteX149" fmla="*/ 10280348 w 12192000"/>
              <a:gd name="connsiteY149" fmla="*/ 6480857 h 6858000"/>
              <a:gd name="connsiteX150" fmla="*/ 10280348 w 12192000"/>
              <a:gd name="connsiteY150" fmla="*/ 6478458 h 6858000"/>
              <a:gd name="connsiteX151" fmla="*/ 10254742 w 12192000"/>
              <a:gd name="connsiteY151" fmla="*/ 6478458 h 6858000"/>
              <a:gd name="connsiteX152" fmla="*/ 10407133 w 12192000"/>
              <a:gd name="connsiteY152" fmla="*/ 6478382 h 6858000"/>
              <a:gd name="connsiteX153" fmla="*/ 10389388 w 12192000"/>
              <a:gd name="connsiteY153" fmla="*/ 6526430 h 6858000"/>
              <a:gd name="connsiteX154" fmla="*/ 10381138 w 12192000"/>
              <a:gd name="connsiteY154" fmla="*/ 6529525 h 6858000"/>
              <a:gd name="connsiteX155" fmla="*/ 10381138 w 12192000"/>
              <a:gd name="connsiteY155" fmla="*/ 6532001 h 6858000"/>
              <a:gd name="connsiteX156" fmla="*/ 10381138 w 12192000"/>
              <a:gd name="connsiteY156" fmla="*/ 6532079 h 6858000"/>
              <a:gd name="connsiteX157" fmla="*/ 10402931 w 12192000"/>
              <a:gd name="connsiteY157" fmla="*/ 6532079 h 6858000"/>
              <a:gd name="connsiteX158" fmla="*/ 10395381 w 12192000"/>
              <a:gd name="connsiteY158" fmla="*/ 6525966 h 6858000"/>
              <a:gd name="connsiteX159" fmla="*/ 10400518 w 12192000"/>
              <a:gd name="connsiteY159" fmla="*/ 6511110 h 6858000"/>
              <a:gd name="connsiteX160" fmla="*/ 10417874 w 12192000"/>
              <a:gd name="connsiteY160" fmla="*/ 6511420 h 6858000"/>
              <a:gd name="connsiteX161" fmla="*/ 10423011 w 12192000"/>
              <a:gd name="connsiteY161" fmla="*/ 6527204 h 6858000"/>
              <a:gd name="connsiteX162" fmla="*/ 10415228 w 12192000"/>
              <a:gd name="connsiteY162" fmla="*/ 6529603 h 6858000"/>
              <a:gd name="connsiteX163" fmla="*/ 10415228 w 12192000"/>
              <a:gd name="connsiteY163" fmla="*/ 6532079 h 6858000"/>
              <a:gd name="connsiteX164" fmla="*/ 10440912 w 12192000"/>
              <a:gd name="connsiteY164" fmla="*/ 6532079 h 6858000"/>
              <a:gd name="connsiteX165" fmla="*/ 10433051 w 12192000"/>
              <a:gd name="connsiteY165" fmla="*/ 6526121 h 6858000"/>
              <a:gd name="connsiteX166" fmla="*/ 10417485 w 12192000"/>
              <a:gd name="connsiteY166" fmla="*/ 6478382 h 6858000"/>
              <a:gd name="connsiteX167" fmla="*/ 10407133 w 12192000"/>
              <a:gd name="connsiteY167" fmla="*/ 6478382 h 6858000"/>
              <a:gd name="connsiteX168" fmla="*/ 10595638 w 12192000"/>
              <a:gd name="connsiteY168" fmla="*/ 6478304 h 6858000"/>
              <a:gd name="connsiteX169" fmla="*/ 10595638 w 12192000"/>
              <a:gd name="connsiteY169" fmla="*/ 6480857 h 6858000"/>
              <a:gd name="connsiteX170" fmla="*/ 10603966 w 12192000"/>
              <a:gd name="connsiteY170" fmla="*/ 6483720 h 6858000"/>
              <a:gd name="connsiteX171" fmla="*/ 10603966 w 12192000"/>
              <a:gd name="connsiteY171" fmla="*/ 6501903 h 6858000"/>
              <a:gd name="connsiteX172" fmla="*/ 10575714 w 12192000"/>
              <a:gd name="connsiteY172" fmla="*/ 6501903 h 6858000"/>
              <a:gd name="connsiteX173" fmla="*/ 10575714 w 12192000"/>
              <a:gd name="connsiteY173" fmla="*/ 6482792 h 6858000"/>
              <a:gd name="connsiteX174" fmla="*/ 10583419 w 12192000"/>
              <a:gd name="connsiteY174" fmla="*/ 6480857 h 6858000"/>
              <a:gd name="connsiteX175" fmla="*/ 10583419 w 12192000"/>
              <a:gd name="connsiteY175" fmla="*/ 6478381 h 6858000"/>
              <a:gd name="connsiteX176" fmla="*/ 10583341 w 12192000"/>
              <a:gd name="connsiteY176" fmla="*/ 6478381 h 6858000"/>
              <a:gd name="connsiteX177" fmla="*/ 10557735 w 12192000"/>
              <a:gd name="connsiteY177" fmla="*/ 6478381 h 6858000"/>
              <a:gd name="connsiteX178" fmla="*/ 10557735 w 12192000"/>
              <a:gd name="connsiteY178" fmla="*/ 6480857 h 6858000"/>
              <a:gd name="connsiteX179" fmla="*/ 10566063 w 12192000"/>
              <a:gd name="connsiteY179" fmla="*/ 6484416 h 6858000"/>
              <a:gd name="connsiteX180" fmla="*/ 10565752 w 12192000"/>
              <a:gd name="connsiteY180" fmla="*/ 6526817 h 6858000"/>
              <a:gd name="connsiteX181" fmla="*/ 10557735 w 12192000"/>
              <a:gd name="connsiteY181" fmla="*/ 6529448 h 6858000"/>
              <a:gd name="connsiteX182" fmla="*/ 10557735 w 12192000"/>
              <a:gd name="connsiteY182" fmla="*/ 6531924 h 6858000"/>
              <a:gd name="connsiteX183" fmla="*/ 10583419 w 12192000"/>
              <a:gd name="connsiteY183" fmla="*/ 6531924 h 6858000"/>
              <a:gd name="connsiteX184" fmla="*/ 10575714 w 12192000"/>
              <a:gd name="connsiteY184" fmla="*/ 6526507 h 6858000"/>
              <a:gd name="connsiteX185" fmla="*/ 10575714 w 12192000"/>
              <a:gd name="connsiteY185" fmla="*/ 6507009 h 6858000"/>
              <a:gd name="connsiteX186" fmla="*/ 10603966 w 12192000"/>
              <a:gd name="connsiteY186" fmla="*/ 6507009 h 6858000"/>
              <a:gd name="connsiteX187" fmla="*/ 10603966 w 12192000"/>
              <a:gd name="connsiteY187" fmla="*/ 6526507 h 6858000"/>
              <a:gd name="connsiteX188" fmla="*/ 10595638 w 12192000"/>
              <a:gd name="connsiteY188" fmla="*/ 6529448 h 6858000"/>
              <a:gd name="connsiteX189" fmla="*/ 10595638 w 12192000"/>
              <a:gd name="connsiteY189" fmla="*/ 6531924 h 6858000"/>
              <a:gd name="connsiteX190" fmla="*/ 10621011 w 12192000"/>
              <a:gd name="connsiteY190" fmla="*/ 6531924 h 6858000"/>
              <a:gd name="connsiteX191" fmla="*/ 10621945 w 12192000"/>
              <a:gd name="connsiteY191" fmla="*/ 6529370 h 6858000"/>
              <a:gd name="connsiteX192" fmla="*/ 10613617 w 12192000"/>
              <a:gd name="connsiteY192" fmla="*/ 6525811 h 6858000"/>
              <a:gd name="connsiteX193" fmla="*/ 10613929 w 12192000"/>
              <a:gd name="connsiteY193" fmla="*/ 6483411 h 6858000"/>
              <a:gd name="connsiteX194" fmla="*/ 10621945 w 12192000"/>
              <a:gd name="connsiteY194" fmla="*/ 6480857 h 6858000"/>
              <a:gd name="connsiteX195" fmla="*/ 10621011 w 12192000"/>
              <a:gd name="connsiteY195" fmla="*/ 6478304 h 6858000"/>
              <a:gd name="connsiteX196" fmla="*/ 10595638 w 12192000"/>
              <a:gd name="connsiteY196" fmla="*/ 6478304 h 6858000"/>
              <a:gd name="connsiteX197" fmla="*/ 10448694 w 12192000"/>
              <a:gd name="connsiteY197" fmla="*/ 6478304 h 6858000"/>
              <a:gd name="connsiteX198" fmla="*/ 10456400 w 12192000"/>
              <a:gd name="connsiteY198" fmla="*/ 6483179 h 6858000"/>
              <a:gd name="connsiteX199" fmla="*/ 10455777 w 12192000"/>
              <a:gd name="connsiteY199" fmla="*/ 6526507 h 6858000"/>
              <a:gd name="connsiteX200" fmla="*/ 10446749 w 12192000"/>
              <a:gd name="connsiteY200" fmla="*/ 6529370 h 6858000"/>
              <a:gd name="connsiteX201" fmla="*/ 10447683 w 12192000"/>
              <a:gd name="connsiteY201" fmla="*/ 6531924 h 6858000"/>
              <a:gd name="connsiteX202" fmla="*/ 10492591 w 12192000"/>
              <a:gd name="connsiteY202" fmla="*/ 6531924 h 6858000"/>
              <a:gd name="connsiteX203" fmla="*/ 10493525 w 12192000"/>
              <a:gd name="connsiteY203" fmla="*/ 6530995 h 6858000"/>
              <a:gd name="connsiteX204" fmla="*/ 10493525 w 12192000"/>
              <a:gd name="connsiteY204" fmla="*/ 6514824 h 6858000"/>
              <a:gd name="connsiteX205" fmla="*/ 10491034 w 12192000"/>
              <a:gd name="connsiteY205" fmla="*/ 6514824 h 6858000"/>
              <a:gd name="connsiteX206" fmla="*/ 10484574 w 12192000"/>
              <a:gd name="connsiteY206" fmla="*/ 6526585 h 6858000"/>
              <a:gd name="connsiteX207" fmla="*/ 10480371 w 12192000"/>
              <a:gd name="connsiteY207" fmla="*/ 6527513 h 6858000"/>
              <a:gd name="connsiteX208" fmla="*/ 10466595 w 12192000"/>
              <a:gd name="connsiteY208" fmla="*/ 6527513 h 6858000"/>
              <a:gd name="connsiteX209" fmla="*/ 10466595 w 12192000"/>
              <a:gd name="connsiteY209" fmla="*/ 6482869 h 6858000"/>
              <a:gd name="connsiteX210" fmla="*/ 10474923 w 12192000"/>
              <a:gd name="connsiteY210" fmla="*/ 6480857 h 6858000"/>
              <a:gd name="connsiteX211" fmla="*/ 10474923 w 12192000"/>
              <a:gd name="connsiteY211" fmla="*/ 6478381 h 6858000"/>
              <a:gd name="connsiteX212" fmla="*/ 10475001 w 12192000"/>
              <a:gd name="connsiteY212" fmla="*/ 6478304 h 6858000"/>
              <a:gd name="connsiteX213" fmla="*/ 10497650 w 12192000"/>
              <a:gd name="connsiteY213" fmla="*/ 6477839 h 6858000"/>
              <a:gd name="connsiteX214" fmla="*/ 10496016 w 12192000"/>
              <a:gd name="connsiteY214" fmla="*/ 6478845 h 6858000"/>
              <a:gd name="connsiteX215" fmla="*/ 10496016 w 12192000"/>
              <a:gd name="connsiteY215" fmla="*/ 6493856 h 6858000"/>
              <a:gd name="connsiteX216" fmla="*/ 10499752 w 12192000"/>
              <a:gd name="connsiteY216" fmla="*/ 6488904 h 6858000"/>
              <a:gd name="connsiteX217" fmla="*/ 10507301 w 12192000"/>
              <a:gd name="connsiteY217" fmla="*/ 6482946 h 6858000"/>
              <a:gd name="connsiteX218" fmla="*/ 10517886 w 12192000"/>
              <a:gd name="connsiteY218" fmla="*/ 6482946 h 6858000"/>
              <a:gd name="connsiteX219" fmla="*/ 10517886 w 12192000"/>
              <a:gd name="connsiteY219" fmla="*/ 6526043 h 6858000"/>
              <a:gd name="connsiteX220" fmla="*/ 10506990 w 12192000"/>
              <a:gd name="connsiteY220" fmla="*/ 6529602 h 6858000"/>
              <a:gd name="connsiteX221" fmla="*/ 10506990 w 12192000"/>
              <a:gd name="connsiteY221" fmla="*/ 6532078 h 6858000"/>
              <a:gd name="connsiteX222" fmla="*/ 10537811 w 12192000"/>
              <a:gd name="connsiteY222" fmla="*/ 6532078 h 6858000"/>
              <a:gd name="connsiteX223" fmla="*/ 10531584 w 12192000"/>
              <a:gd name="connsiteY223" fmla="*/ 6528364 h 6858000"/>
              <a:gd name="connsiteX224" fmla="*/ 10527537 w 12192000"/>
              <a:gd name="connsiteY224" fmla="*/ 6525346 h 6858000"/>
              <a:gd name="connsiteX225" fmla="*/ 10527537 w 12192000"/>
              <a:gd name="connsiteY225" fmla="*/ 6482869 h 6858000"/>
              <a:gd name="connsiteX226" fmla="*/ 10538122 w 12192000"/>
              <a:gd name="connsiteY226" fmla="*/ 6482869 h 6858000"/>
              <a:gd name="connsiteX227" fmla="*/ 10543259 w 12192000"/>
              <a:gd name="connsiteY227" fmla="*/ 6485422 h 6858000"/>
              <a:gd name="connsiteX228" fmla="*/ 10546139 w 12192000"/>
              <a:gd name="connsiteY228" fmla="*/ 6493701 h 6858000"/>
              <a:gd name="connsiteX229" fmla="*/ 10548707 w 12192000"/>
              <a:gd name="connsiteY229" fmla="*/ 6493701 h 6858000"/>
              <a:gd name="connsiteX230" fmla="*/ 10548707 w 12192000"/>
              <a:gd name="connsiteY230" fmla="*/ 6477839 h 6858000"/>
              <a:gd name="connsiteX231" fmla="*/ 10369385 w 12192000"/>
              <a:gd name="connsiteY231" fmla="*/ 6477762 h 6858000"/>
              <a:gd name="connsiteX232" fmla="*/ 10328602 w 12192000"/>
              <a:gd name="connsiteY232" fmla="*/ 6478381 h 6858000"/>
              <a:gd name="connsiteX233" fmla="*/ 10328602 w 12192000"/>
              <a:gd name="connsiteY233" fmla="*/ 6480857 h 6858000"/>
              <a:gd name="connsiteX234" fmla="*/ 10336852 w 12192000"/>
              <a:gd name="connsiteY234" fmla="*/ 6484416 h 6858000"/>
              <a:gd name="connsiteX235" fmla="*/ 10336307 w 12192000"/>
              <a:gd name="connsiteY235" fmla="*/ 6526585 h 6858000"/>
              <a:gd name="connsiteX236" fmla="*/ 10325956 w 12192000"/>
              <a:gd name="connsiteY236" fmla="*/ 6529447 h 6858000"/>
              <a:gd name="connsiteX237" fmla="*/ 10325956 w 12192000"/>
              <a:gd name="connsiteY237" fmla="*/ 6532001 h 6858000"/>
              <a:gd name="connsiteX238" fmla="*/ 10373433 w 12192000"/>
              <a:gd name="connsiteY238" fmla="*/ 6532001 h 6858000"/>
              <a:gd name="connsiteX239" fmla="*/ 10373433 w 12192000"/>
              <a:gd name="connsiteY239" fmla="*/ 6517300 h 6858000"/>
              <a:gd name="connsiteX240" fmla="*/ 10371487 w 12192000"/>
              <a:gd name="connsiteY240" fmla="*/ 6517300 h 6858000"/>
              <a:gd name="connsiteX241" fmla="*/ 10347748 w 12192000"/>
              <a:gd name="connsiteY241" fmla="*/ 6527204 h 6858000"/>
              <a:gd name="connsiteX242" fmla="*/ 10346425 w 12192000"/>
              <a:gd name="connsiteY242" fmla="*/ 6525269 h 6858000"/>
              <a:gd name="connsiteX243" fmla="*/ 10346425 w 12192000"/>
              <a:gd name="connsiteY243" fmla="*/ 6507087 h 6858000"/>
              <a:gd name="connsiteX244" fmla="*/ 10363470 w 12192000"/>
              <a:gd name="connsiteY244" fmla="*/ 6507087 h 6858000"/>
              <a:gd name="connsiteX245" fmla="*/ 10366428 w 12192000"/>
              <a:gd name="connsiteY245" fmla="*/ 6513431 h 6858000"/>
              <a:gd name="connsiteX246" fmla="*/ 10368918 w 12192000"/>
              <a:gd name="connsiteY246" fmla="*/ 6513431 h 6858000"/>
              <a:gd name="connsiteX247" fmla="*/ 10368918 w 12192000"/>
              <a:gd name="connsiteY247" fmla="*/ 6496254 h 6858000"/>
              <a:gd name="connsiteX248" fmla="*/ 10366428 w 12192000"/>
              <a:gd name="connsiteY248" fmla="*/ 6496254 h 6858000"/>
              <a:gd name="connsiteX249" fmla="*/ 10360902 w 12192000"/>
              <a:gd name="connsiteY249" fmla="*/ 6502599 h 6858000"/>
              <a:gd name="connsiteX250" fmla="*/ 10346425 w 12192000"/>
              <a:gd name="connsiteY250" fmla="*/ 6502599 h 6858000"/>
              <a:gd name="connsiteX251" fmla="*/ 10346425 w 12192000"/>
              <a:gd name="connsiteY251" fmla="*/ 6482792 h 6858000"/>
              <a:gd name="connsiteX252" fmla="*/ 10361524 w 12192000"/>
              <a:gd name="connsiteY252" fmla="*/ 6482792 h 6858000"/>
              <a:gd name="connsiteX253" fmla="*/ 10368296 w 12192000"/>
              <a:gd name="connsiteY253" fmla="*/ 6492386 h 6858000"/>
              <a:gd name="connsiteX254" fmla="*/ 10370864 w 12192000"/>
              <a:gd name="connsiteY254" fmla="*/ 6491457 h 6858000"/>
              <a:gd name="connsiteX255" fmla="*/ 10370942 w 12192000"/>
              <a:gd name="connsiteY255" fmla="*/ 6491457 h 6858000"/>
              <a:gd name="connsiteX256" fmla="*/ 10370942 w 12192000"/>
              <a:gd name="connsiteY256" fmla="*/ 6478691 h 6858000"/>
              <a:gd name="connsiteX257" fmla="*/ 10369385 w 12192000"/>
              <a:gd name="connsiteY257" fmla="*/ 6477762 h 6858000"/>
              <a:gd name="connsiteX258" fmla="*/ 4377410 w 12192000"/>
              <a:gd name="connsiteY258" fmla="*/ 6470397 h 6858000"/>
              <a:gd name="connsiteX259" fmla="*/ 4377410 w 12192000"/>
              <a:gd name="connsiteY259" fmla="*/ 6488468 h 6858000"/>
              <a:gd name="connsiteX260" fmla="*/ 4366574 w 12192000"/>
              <a:gd name="connsiteY260" fmla="*/ 6488468 h 6858000"/>
              <a:gd name="connsiteX261" fmla="*/ 4366574 w 12192000"/>
              <a:gd name="connsiteY261" fmla="*/ 6500749 h 6858000"/>
              <a:gd name="connsiteX262" fmla="*/ 4377410 w 12192000"/>
              <a:gd name="connsiteY262" fmla="*/ 6500749 h 6858000"/>
              <a:gd name="connsiteX263" fmla="*/ 4377410 w 12192000"/>
              <a:gd name="connsiteY263" fmla="*/ 6529874 h 6858000"/>
              <a:gd name="connsiteX264" fmla="*/ 4378284 w 12192000"/>
              <a:gd name="connsiteY264" fmla="*/ 6538383 h 6858000"/>
              <a:gd name="connsiteX265" fmla="*/ 4381430 w 12192000"/>
              <a:gd name="connsiteY265" fmla="*/ 6545401 h 6858000"/>
              <a:gd name="connsiteX266" fmla="*/ 4387547 w 12192000"/>
              <a:gd name="connsiteY266" fmla="*/ 6550225 h 6858000"/>
              <a:gd name="connsiteX267" fmla="*/ 4397597 w 12192000"/>
              <a:gd name="connsiteY267" fmla="*/ 6551980 h 6858000"/>
              <a:gd name="connsiteX268" fmla="*/ 4403015 w 12192000"/>
              <a:gd name="connsiteY268" fmla="*/ 6551541 h 6858000"/>
              <a:gd name="connsiteX269" fmla="*/ 4407908 w 12192000"/>
              <a:gd name="connsiteY269" fmla="*/ 6550313 h 6858000"/>
              <a:gd name="connsiteX270" fmla="*/ 4407384 w 12192000"/>
              <a:gd name="connsiteY270" fmla="*/ 6538120 h 6858000"/>
              <a:gd name="connsiteX271" fmla="*/ 4404151 w 12192000"/>
              <a:gd name="connsiteY271" fmla="*/ 6539085 h 6858000"/>
              <a:gd name="connsiteX272" fmla="*/ 4400830 w 12192000"/>
              <a:gd name="connsiteY272" fmla="*/ 6539435 h 6858000"/>
              <a:gd name="connsiteX273" fmla="*/ 4394188 w 12192000"/>
              <a:gd name="connsiteY273" fmla="*/ 6536716 h 6858000"/>
              <a:gd name="connsiteX274" fmla="*/ 4392703 w 12192000"/>
              <a:gd name="connsiteY274" fmla="*/ 6529874 h 6858000"/>
              <a:gd name="connsiteX275" fmla="*/ 4392703 w 12192000"/>
              <a:gd name="connsiteY275" fmla="*/ 6500925 h 6858000"/>
              <a:gd name="connsiteX276" fmla="*/ 4408258 w 12192000"/>
              <a:gd name="connsiteY276" fmla="*/ 6500925 h 6858000"/>
              <a:gd name="connsiteX277" fmla="*/ 4408258 w 12192000"/>
              <a:gd name="connsiteY277" fmla="*/ 6488468 h 6858000"/>
              <a:gd name="connsiteX278" fmla="*/ 4392703 w 12192000"/>
              <a:gd name="connsiteY278" fmla="*/ 6488468 h 6858000"/>
              <a:gd name="connsiteX279" fmla="*/ 4392703 w 12192000"/>
              <a:gd name="connsiteY279" fmla="*/ 6470397 h 6858000"/>
              <a:gd name="connsiteX280" fmla="*/ 4224307 w 12192000"/>
              <a:gd name="connsiteY280" fmla="*/ 6470397 h 6858000"/>
              <a:gd name="connsiteX281" fmla="*/ 4224307 w 12192000"/>
              <a:gd name="connsiteY281" fmla="*/ 6488468 h 6858000"/>
              <a:gd name="connsiteX282" fmla="*/ 4213471 w 12192000"/>
              <a:gd name="connsiteY282" fmla="*/ 6488468 h 6858000"/>
              <a:gd name="connsiteX283" fmla="*/ 4213471 w 12192000"/>
              <a:gd name="connsiteY283" fmla="*/ 6500749 h 6858000"/>
              <a:gd name="connsiteX284" fmla="*/ 4224307 w 12192000"/>
              <a:gd name="connsiteY284" fmla="*/ 6500749 h 6858000"/>
              <a:gd name="connsiteX285" fmla="*/ 4224307 w 12192000"/>
              <a:gd name="connsiteY285" fmla="*/ 6529874 h 6858000"/>
              <a:gd name="connsiteX286" fmla="*/ 4225181 w 12192000"/>
              <a:gd name="connsiteY286" fmla="*/ 6538383 h 6858000"/>
              <a:gd name="connsiteX287" fmla="*/ 4228327 w 12192000"/>
              <a:gd name="connsiteY287" fmla="*/ 6545401 h 6858000"/>
              <a:gd name="connsiteX288" fmla="*/ 4234444 w 12192000"/>
              <a:gd name="connsiteY288" fmla="*/ 6550225 h 6858000"/>
              <a:gd name="connsiteX289" fmla="*/ 4244494 w 12192000"/>
              <a:gd name="connsiteY289" fmla="*/ 6551980 h 6858000"/>
              <a:gd name="connsiteX290" fmla="*/ 4249912 w 12192000"/>
              <a:gd name="connsiteY290" fmla="*/ 6551541 h 6858000"/>
              <a:gd name="connsiteX291" fmla="*/ 4254805 w 12192000"/>
              <a:gd name="connsiteY291" fmla="*/ 6550313 h 6858000"/>
              <a:gd name="connsiteX292" fmla="*/ 4254281 w 12192000"/>
              <a:gd name="connsiteY292" fmla="*/ 6538120 h 6858000"/>
              <a:gd name="connsiteX293" fmla="*/ 4251048 w 12192000"/>
              <a:gd name="connsiteY293" fmla="*/ 6539085 h 6858000"/>
              <a:gd name="connsiteX294" fmla="*/ 4247727 w 12192000"/>
              <a:gd name="connsiteY294" fmla="*/ 6539435 h 6858000"/>
              <a:gd name="connsiteX295" fmla="*/ 4241085 w 12192000"/>
              <a:gd name="connsiteY295" fmla="*/ 6536716 h 6858000"/>
              <a:gd name="connsiteX296" fmla="*/ 4239600 w 12192000"/>
              <a:gd name="connsiteY296" fmla="*/ 6529874 h 6858000"/>
              <a:gd name="connsiteX297" fmla="*/ 4239600 w 12192000"/>
              <a:gd name="connsiteY297" fmla="*/ 6500925 h 6858000"/>
              <a:gd name="connsiteX298" fmla="*/ 4255155 w 12192000"/>
              <a:gd name="connsiteY298" fmla="*/ 6500925 h 6858000"/>
              <a:gd name="connsiteX299" fmla="*/ 4255155 w 12192000"/>
              <a:gd name="connsiteY299" fmla="*/ 6488468 h 6858000"/>
              <a:gd name="connsiteX300" fmla="*/ 4239600 w 12192000"/>
              <a:gd name="connsiteY300" fmla="*/ 6488468 h 6858000"/>
              <a:gd name="connsiteX301" fmla="*/ 4239600 w 12192000"/>
              <a:gd name="connsiteY301" fmla="*/ 6470397 h 6858000"/>
              <a:gd name="connsiteX302" fmla="*/ 4075399 w 12192000"/>
              <a:gd name="connsiteY302" fmla="*/ 6458817 h 6858000"/>
              <a:gd name="connsiteX303" fmla="*/ 4075399 w 12192000"/>
              <a:gd name="connsiteY303" fmla="*/ 6550751 h 6858000"/>
              <a:gd name="connsiteX304" fmla="*/ 4091739 w 12192000"/>
              <a:gd name="connsiteY304" fmla="*/ 6550751 h 6858000"/>
              <a:gd name="connsiteX305" fmla="*/ 4091739 w 12192000"/>
              <a:gd name="connsiteY305" fmla="*/ 6458817 h 6858000"/>
              <a:gd name="connsiteX306" fmla="*/ 4430017 w 12192000"/>
              <a:gd name="connsiteY306" fmla="*/ 6457940 h 6858000"/>
              <a:gd name="connsiteX307" fmla="*/ 4422938 w 12192000"/>
              <a:gd name="connsiteY307" fmla="*/ 6460747 h 6858000"/>
              <a:gd name="connsiteX308" fmla="*/ 4420179 w 12192000"/>
              <a:gd name="connsiteY308" fmla="*/ 6467239 h 6858000"/>
              <a:gd name="connsiteX309" fmla="*/ 4420142 w 12192000"/>
              <a:gd name="connsiteY309" fmla="*/ 6467151 h 6858000"/>
              <a:gd name="connsiteX310" fmla="*/ 4420142 w 12192000"/>
              <a:gd name="connsiteY310" fmla="*/ 6467326 h 6858000"/>
              <a:gd name="connsiteX311" fmla="*/ 4420179 w 12192000"/>
              <a:gd name="connsiteY311" fmla="*/ 6467239 h 6858000"/>
              <a:gd name="connsiteX312" fmla="*/ 4422938 w 12192000"/>
              <a:gd name="connsiteY312" fmla="*/ 6473730 h 6858000"/>
              <a:gd name="connsiteX313" fmla="*/ 4430017 w 12192000"/>
              <a:gd name="connsiteY313" fmla="*/ 6476537 h 6858000"/>
              <a:gd name="connsiteX314" fmla="*/ 4437183 w 12192000"/>
              <a:gd name="connsiteY314" fmla="*/ 6473906 h 6858000"/>
              <a:gd name="connsiteX315" fmla="*/ 4440066 w 12192000"/>
              <a:gd name="connsiteY315" fmla="*/ 6467239 h 6858000"/>
              <a:gd name="connsiteX316" fmla="*/ 4437183 w 12192000"/>
              <a:gd name="connsiteY316" fmla="*/ 6460572 h 6858000"/>
              <a:gd name="connsiteX317" fmla="*/ 4430017 w 12192000"/>
              <a:gd name="connsiteY317" fmla="*/ 6457940 h 6858000"/>
              <a:gd name="connsiteX318" fmla="*/ 4276565 w 12192000"/>
              <a:gd name="connsiteY318" fmla="*/ 6457940 h 6858000"/>
              <a:gd name="connsiteX319" fmla="*/ 4269486 w 12192000"/>
              <a:gd name="connsiteY319" fmla="*/ 6460747 h 6858000"/>
              <a:gd name="connsiteX320" fmla="*/ 4266727 w 12192000"/>
              <a:gd name="connsiteY320" fmla="*/ 6467239 h 6858000"/>
              <a:gd name="connsiteX321" fmla="*/ 4266690 w 12192000"/>
              <a:gd name="connsiteY321" fmla="*/ 6467151 h 6858000"/>
              <a:gd name="connsiteX322" fmla="*/ 4266690 w 12192000"/>
              <a:gd name="connsiteY322" fmla="*/ 6467326 h 6858000"/>
              <a:gd name="connsiteX323" fmla="*/ 4266727 w 12192000"/>
              <a:gd name="connsiteY323" fmla="*/ 6467239 h 6858000"/>
              <a:gd name="connsiteX324" fmla="*/ 4269486 w 12192000"/>
              <a:gd name="connsiteY324" fmla="*/ 6473730 h 6858000"/>
              <a:gd name="connsiteX325" fmla="*/ 4276565 w 12192000"/>
              <a:gd name="connsiteY325" fmla="*/ 6476537 h 6858000"/>
              <a:gd name="connsiteX326" fmla="*/ 4283731 w 12192000"/>
              <a:gd name="connsiteY326" fmla="*/ 6473906 h 6858000"/>
              <a:gd name="connsiteX327" fmla="*/ 4286614 w 12192000"/>
              <a:gd name="connsiteY327" fmla="*/ 6467239 h 6858000"/>
              <a:gd name="connsiteX328" fmla="*/ 4283731 w 12192000"/>
              <a:gd name="connsiteY328" fmla="*/ 6460572 h 6858000"/>
              <a:gd name="connsiteX329" fmla="*/ 4276565 w 12192000"/>
              <a:gd name="connsiteY329" fmla="*/ 6457940 h 6858000"/>
              <a:gd name="connsiteX330" fmla="*/ 4193285 w 12192000"/>
              <a:gd name="connsiteY330" fmla="*/ 6457940 h 6858000"/>
              <a:gd name="connsiteX331" fmla="*/ 4186206 w 12192000"/>
              <a:gd name="connsiteY331" fmla="*/ 6460747 h 6858000"/>
              <a:gd name="connsiteX332" fmla="*/ 4183447 w 12192000"/>
              <a:gd name="connsiteY332" fmla="*/ 6467239 h 6858000"/>
              <a:gd name="connsiteX333" fmla="*/ 4183409 w 12192000"/>
              <a:gd name="connsiteY333" fmla="*/ 6467151 h 6858000"/>
              <a:gd name="connsiteX334" fmla="*/ 4183409 w 12192000"/>
              <a:gd name="connsiteY334" fmla="*/ 6467326 h 6858000"/>
              <a:gd name="connsiteX335" fmla="*/ 4183447 w 12192000"/>
              <a:gd name="connsiteY335" fmla="*/ 6467239 h 6858000"/>
              <a:gd name="connsiteX336" fmla="*/ 4186206 w 12192000"/>
              <a:gd name="connsiteY336" fmla="*/ 6473730 h 6858000"/>
              <a:gd name="connsiteX337" fmla="*/ 4193285 w 12192000"/>
              <a:gd name="connsiteY337" fmla="*/ 6476537 h 6858000"/>
              <a:gd name="connsiteX338" fmla="*/ 4200450 w 12192000"/>
              <a:gd name="connsiteY338" fmla="*/ 6473906 h 6858000"/>
              <a:gd name="connsiteX339" fmla="*/ 4203333 w 12192000"/>
              <a:gd name="connsiteY339" fmla="*/ 6467239 h 6858000"/>
              <a:gd name="connsiteX340" fmla="*/ 4200450 w 12192000"/>
              <a:gd name="connsiteY340" fmla="*/ 6460572 h 6858000"/>
              <a:gd name="connsiteX341" fmla="*/ 4193285 w 12192000"/>
              <a:gd name="connsiteY341" fmla="*/ 6457940 h 6858000"/>
              <a:gd name="connsiteX342" fmla="*/ 3735107 w 12192000"/>
              <a:gd name="connsiteY342" fmla="*/ 6408551 h 6858000"/>
              <a:gd name="connsiteX343" fmla="*/ 3743078 w 12192000"/>
              <a:gd name="connsiteY343" fmla="*/ 6408551 h 6858000"/>
              <a:gd name="connsiteX344" fmla="*/ 3748449 w 12192000"/>
              <a:gd name="connsiteY344" fmla="*/ 6413639 h 6858000"/>
              <a:gd name="connsiteX345" fmla="*/ 3745329 w 12192000"/>
              <a:gd name="connsiteY345" fmla="*/ 6418551 h 6858000"/>
              <a:gd name="connsiteX346" fmla="*/ 3742818 w 12192000"/>
              <a:gd name="connsiteY346" fmla="*/ 6418903 h 6858000"/>
              <a:gd name="connsiteX347" fmla="*/ 3735107 w 12192000"/>
              <a:gd name="connsiteY347" fmla="*/ 6418903 h 6858000"/>
              <a:gd name="connsiteX348" fmla="*/ 3698978 w 12192000"/>
              <a:gd name="connsiteY348" fmla="*/ 6408288 h 6858000"/>
              <a:gd name="connsiteX349" fmla="*/ 3702617 w 12192000"/>
              <a:gd name="connsiteY349" fmla="*/ 6408990 h 6858000"/>
              <a:gd name="connsiteX350" fmla="*/ 3706256 w 12192000"/>
              <a:gd name="connsiteY350" fmla="*/ 6411797 h 6858000"/>
              <a:gd name="connsiteX351" fmla="*/ 3706169 w 12192000"/>
              <a:gd name="connsiteY351" fmla="*/ 6411885 h 6858000"/>
              <a:gd name="connsiteX352" fmla="*/ 3708594 w 12192000"/>
              <a:gd name="connsiteY352" fmla="*/ 6421446 h 6858000"/>
              <a:gd name="connsiteX353" fmla="*/ 3705649 w 12192000"/>
              <a:gd name="connsiteY353" fmla="*/ 6429780 h 6858000"/>
              <a:gd name="connsiteX354" fmla="*/ 3699152 w 12192000"/>
              <a:gd name="connsiteY354" fmla="*/ 6432587 h 6858000"/>
              <a:gd name="connsiteX355" fmla="*/ 3692826 w 12192000"/>
              <a:gd name="connsiteY355" fmla="*/ 6429868 h 6858000"/>
              <a:gd name="connsiteX356" fmla="*/ 3689708 w 12192000"/>
              <a:gd name="connsiteY356" fmla="*/ 6420218 h 6858000"/>
              <a:gd name="connsiteX357" fmla="*/ 3694819 w 12192000"/>
              <a:gd name="connsiteY357" fmla="*/ 6409340 h 6858000"/>
              <a:gd name="connsiteX358" fmla="*/ 3698978 w 12192000"/>
              <a:gd name="connsiteY358" fmla="*/ 6408288 h 6858000"/>
              <a:gd name="connsiteX359" fmla="*/ 6289015 w 12192000"/>
              <a:gd name="connsiteY359" fmla="*/ 6407730 h 6858000"/>
              <a:gd name="connsiteX360" fmla="*/ 6308015 w 12192000"/>
              <a:gd name="connsiteY360" fmla="*/ 6431182 h 6858000"/>
              <a:gd name="connsiteX361" fmla="*/ 6268565 w 12192000"/>
              <a:gd name="connsiteY361" fmla="*/ 6431182 h 6858000"/>
              <a:gd name="connsiteX362" fmla="*/ 6289015 w 12192000"/>
              <a:gd name="connsiteY362" fmla="*/ 6407730 h 6858000"/>
              <a:gd name="connsiteX363" fmla="*/ 3725749 w 12192000"/>
              <a:gd name="connsiteY363" fmla="*/ 6401533 h 6858000"/>
              <a:gd name="connsiteX364" fmla="*/ 3725749 w 12192000"/>
              <a:gd name="connsiteY364" fmla="*/ 6439429 h 6858000"/>
              <a:gd name="connsiteX365" fmla="*/ 3735194 w 12192000"/>
              <a:gd name="connsiteY365" fmla="*/ 6439429 h 6858000"/>
              <a:gd name="connsiteX366" fmla="*/ 3735194 w 12192000"/>
              <a:gd name="connsiteY366" fmla="*/ 6425920 h 6858000"/>
              <a:gd name="connsiteX367" fmla="*/ 3740998 w 12192000"/>
              <a:gd name="connsiteY367" fmla="*/ 6425920 h 6858000"/>
              <a:gd name="connsiteX368" fmla="*/ 3748449 w 12192000"/>
              <a:gd name="connsiteY368" fmla="*/ 6439429 h 6858000"/>
              <a:gd name="connsiteX369" fmla="*/ 3748536 w 12192000"/>
              <a:gd name="connsiteY369" fmla="*/ 6439341 h 6858000"/>
              <a:gd name="connsiteX370" fmla="*/ 3758845 w 12192000"/>
              <a:gd name="connsiteY370" fmla="*/ 6439341 h 6858000"/>
              <a:gd name="connsiteX371" fmla="*/ 3750183 w 12192000"/>
              <a:gd name="connsiteY371" fmla="*/ 6424166 h 6858000"/>
              <a:gd name="connsiteX372" fmla="*/ 3753214 w 12192000"/>
              <a:gd name="connsiteY372" fmla="*/ 6422850 h 6858000"/>
              <a:gd name="connsiteX373" fmla="*/ 3754946 w 12192000"/>
              <a:gd name="connsiteY373" fmla="*/ 6421447 h 6858000"/>
              <a:gd name="connsiteX374" fmla="*/ 3757892 w 12192000"/>
              <a:gd name="connsiteY374" fmla="*/ 6413727 h 6858000"/>
              <a:gd name="connsiteX375" fmla="*/ 3756420 w 12192000"/>
              <a:gd name="connsiteY375" fmla="*/ 6407410 h 6858000"/>
              <a:gd name="connsiteX376" fmla="*/ 3745850 w 12192000"/>
              <a:gd name="connsiteY376" fmla="*/ 6401533 h 6858000"/>
              <a:gd name="connsiteX377" fmla="*/ 3742645 w 12192000"/>
              <a:gd name="connsiteY377" fmla="*/ 6401533 h 6858000"/>
              <a:gd name="connsiteX378" fmla="*/ 3767251 w 12192000"/>
              <a:gd name="connsiteY378" fmla="*/ 6401446 h 6858000"/>
              <a:gd name="connsiteX379" fmla="*/ 3767251 w 12192000"/>
              <a:gd name="connsiteY379" fmla="*/ 6439430 h 6858000"/>
              <a:gd name="connsiteX380" fmla="*/ 3776174 w 12192000"/>
              <a:gd name="connsiteY380" fmla="*/ 6439430 h 6858000"/>
              <a:gd name="connsiteX381" fmla="*/ 3776174 w 12192000"/>
              <a:gd name="connsiteY381" fmla="*/ 6428289 h 6858000"/>
              <a:gd name="connsiteX382" fmla="*/ 3781979 w 12192000"/>
              <a:gd name="connsiteY382" fmla="*/ 6422237 h 6858000"/>
              <a:gd name="connsiteX383" fmla="*/ 3791943 w 12192000"/>
              <a:gd name="connsiteY383" fmla="*/ 6439430 h 6858000"/>
              <a:gd name="connsiteX384" fmla="*/ 3802513 w 12192000"/>
              <a:gd name="connsiteY384" fmla="*/ 6439430 h 6858000"/>
              <a:gd name="connsiteX385" fmla="*/ 3788217 w 12192000"/>
              <a:gd name="connsiteY385" fmla="*/ 6415570 h 6858000"/>
              <a:gd name="connsiteX386" fmla="*/ 3801473 w 12192000"/>
              <a:gd name="connsiteY386" fmla="*/ 6401446 h 6858000"/>
              <a:gd name="connsiteX387" fmla="*/ 3790209 w 12192000"/>
              <a:gd name="connsiteY387" fmla="*/ 6401446 h 6858000"/>
              <a:gd name="connsiteX388" fmla="*/ 3776174 w 12192000"/>
              <a:gd name="connsiteY388" fmla="*/ 6416973 h 6858000"/>
              <a:gd name="connsiteX389" fmla="*/ 3776174 w 12192000"/>
              <a:gd name="connsiteY389" fmla="*/ 6401446 h 6858000"/>
              <a:gd name="connsiteX390" fmla="*/ 3624034 w 12192000"/>
              <a:gd name="connsiteY390" fmla="*/ 6401446 h 6858000"/>
              <a:gd name="connsiteX391" fmla="*/ 3633477 w 12192000"/>
              <a:gd name="connsiteY391" fmla="*/ 6439430 h 6858000"/>
              <a:gd name="connsiteX392" fmla="*/ 3643182 w 12192000"/>
              <a:gd name="connsiteY392" fmla="*/ 6439430 h 6858000"/>
              <a:gd name="connsiteX393" fmla="*/ 3649940 w 12192000"/>
              <a:gd name="connsiteY393" fmla="*/ 6415131 h 6858000"/>
              <a:gd name="connsiteX394" fmla="*/ 3656697 w 12192000"/>
              <a:gd name="connsiteY394" fmla="*/ 6439430 h 6858000"/>
              <a:gd name="connsiteX395" fmla="*/ 3666314 w 12192000"/>
              <a:gd name="connsiteY395" fmla="*/ 6439430 h 6858000"/>
              <a:gd name="connsiteX396" fmla="*/ 3675845 w 12192000"/>
              <a:gd name="connsiteY396" fmla="*/ 6401446 h 6858000"/>
              <a:gd name="connsiteX397" fmla="*/ 3666487 w 12192000"/>
              <a:gd name="connsiteY397" fmla="*/ 6401446 h 6858000"/>
              <a:gd name="connsiteX398" fmla="*/ 3661030 w 12192000"/>
              <a:gd name="connsiteY398" fmla="*/ 6427587 h 6858000"/>
              <a:gd name="connsiteX399" fmla="*/ 3654012 w 12192000"/>
              <a:gd name="connsiteY399" fmla="*/ 6401446 h 6858000"/>
              <a:gd name="connsiteX400" fmla="*/ 3645693 w 12192000"/>
              <a:gd name="connsiteY400" fmla="*/ 6401446 h 6858000"/>
              <a:gd name="connsiteX401" fmla="*/ 3638936 w 12192000"/>
              <a:gd name="connsiteY401" fmla="*/ 6427587 h 6858000"/>
              <a:gd name="connsiteX402" fmla="*/ 3633390 w 12192000"/>
              <a:gd name="connsiteY402" fmla="*/ 6401446 h 6858000"/>
              <a:gd name="connsiteX403" fmla="*/ 3589549 w 12192000"/>
              <a:gd name="connsiteY403" fmla="*/ 6401446 h 6858000"/>
              <a:gd name="connsiteX404" fmla="*/ 3589549 w 12192000"/>
              <a:gd name="connsiteY404" fmla="*/ 6408991 h 6858000"/>
              <a:gd name="connsiteX405" fmla="*/ 3599341 w 12192000"/>
              <a:gd name="connsiteY405" fmla="*/ 6408991 h 6858000"/>
              <a:gd name="connsiteX406" fmla="*/ 3599341 w 12192000"/>
              <a:gd name="connsiteY406" fmla="*/ 6439430 h 6858000"/>
              <a:gd name="connsiteX407" fmla="*/ 3608784 w 12192000"/>
              <a:gd name="connsiteY407" fmla="*/ 6439430 h 6858000"/>
              <a:gd name="connsiteX408" fmla="*/ 3608784 w 12192000"/>
              <a:gd name="connsiteY408" fmla="*/ 6408991 h 6858000"/>
              <a:gd name="connsiteX409" fmla="*/ 3618488 w 12192000"/>
              <a:gd name="connsiteY409" fmla="*/ 6408991 h 6858000"/>
              <a:gd name="connsiteX410" fmla="*/ 3618488 w 12192000"/>
              <a:gd name="connsiteY410" fmla="*/ 6401446 h 6858000"/>
              <a:gd name="connsiteX411" fmla="*/ 3555674 w 12192000"/>
              <a:gd name="connsiteY411" fmla="*/ 6401446 h 6858000"/>
              <a:gd name="connsiteX412" fmla="*/ 3555674 w 12192000"/>
              <a:gd name="connsiteY412" fmla="*/ 6439430 h 6858000"/>
              <a:gd name="connsiteX413" fmla="*/ 3585045 w 12192000"/>
              <a:gd name="connsiteY413" fmla="*/ 6439430 h 6858000"/>
              <a:gd name="connsiteX414" fmla="*/ 3585045 w 12192000"/>
              <a:gd name="connsiteY414" fmla="*/ 6431974 h 6858000"/>
              <a:gd name="connsiteX415" fmla="*/ 3564944 w 12192000"/>
              <a:gd name="connsiteY415" fmla="*/ 6431974 h 6858000"/>
              <a:gd name="connsiteX416" fmla="*/ 3564944 w 12192000"/>
              <a:gd name="connsiteY416" fmla="*/ 6422938 h 6858000"/>
              <a:gd name="connsiteX417" fmla="*/ 3582098 w 12192000"/>
              <a:gd name="connsiteY417" fmla="*/ 6422938 h 6858000"/>
              <a:gd name="connsiteX418" fmla="*/ 3582098 w 12192000"/>
              <a:gd name="connsiteY418" fmla="*/ 6415745 h 6858000"/>
              <a:gd name="connsiteX419" fmla="*/ 3564944 w 12192000"/>
              <a:gd name="connsiteY419" fmla="*/ 6415745 h 6858000"/>
              <a:gd name="connsiteX420" fmla="*/ 3564944 w 12192000"/>
              <a:gd name="connsiteY420" fmla="*/ 6408815 h 6858000"/>
              <a:gd name="connsiteX421" fmla="*/ 3583311 w 12192000"/>
              <a:gd name="connsiteY421" fmla="*/ 6408815 h 6858000"/>
              <a:gd name="connsiteX422" fmla="*/ 3583311 w 12192000"/>
              <a:gd name="connsiteY422" fmla="*/ 6401446 h 6858000"/>
              <a:gd name="connsiteX423" fmla="*/ 3514087 w 12192000"/>
              <a:gd name="connsiteY423" fmla="*/ 6401446 h 6858000"/>
              <a:gd name="connsiteX424" fmla="*/ 3514087 w 12192000"/>
              <a:gd name="connsiteY424" fmla="*/ 6439430 h 6858000"/>
              <a:gd name="connsiteX425" fmla="*/ 3523097 w 12192000"/>
              <a:gd name="connsiteY425" fmla="*/ 6439430 h 6858000"/>
              <a:gd name="connsiteX426" fmla="*/ 3523097 w 12192000"/>
              <a:gd name="connsiteY426" fmla="*/ 6416447 h 6858000"/>
              <a:gd name="connsiteX427" fmla="*/ 3536352 w 12192000"/>
              <a:gd name="connsiteY427" fmla="*/ 6439430 h 6858000"/>
              <a:gd name="connsiteX428" fmla="*/ 3545537 w 12192000"/>
              <a:gd name="connsiteY428" fmla="*/ 6439430 h 6858000"/>
              <a:gd name="connsiteX429" fmla="*/ 3545537 w 12192000"/>
              <a:gd name="connsiteY429" fmla="*/ 6401446 h 6858000"/>
              <a:gd name="connsiteX430" fmla="*/ 3536525 w 12192000"/>
              <a:gd name="connsiteY430" fmla="*/ 6401446 h 6858000"/>
              <a:gd name="connsiteX431" fmla="*/ 3536525 w 12192000"/>
              <a:gd name="connsiteY431" fmla="*/ 6424605 h 6858000"/>
              <a:gd name="connsiteX432" fmla="*/ 3523271 w 12192000"/>
              <a:gd name="connsiteY432" fmla="*/ 6401446 h 6858000"/>
              <a:gd name="connsiteX433" fmla="*/ 3699064 w 12192000"/>
              <a:gd name="connsiteY433" fmla="*/ 6400217 h 6858000"/>
              <a:gd name="connsiteX434" fmla="*/ 3684075 w 12192000"/>
              <a:gd name="connsiteY434" fmla="*/ 6407937 h 6858000"/>
              <a:gd name="connsiteX435" fmla="*/ 3680523 w 12192000"/>
              <a:gd name="connsiteY435" fmla="*/ 6420218 h 6858000"/>
              <a:gd name="connsiteX436" fmla="*/ 3685895 w 12192000"/>
              <a:gd name="connsiteY436" fmla="*/ 6435043 h 6858000"/>
              <a:gd name="connsiteX437" fmla="*/ 3699152 w 12192000"/>
              <a:gd name="connsiteY437" fmla="*/ 6440482 h 6858000"/>
              <a:gd name="connsiteX438" fmla="*/ 3710934 w 12192000"/>
              <a:gd name="connsiteY438" fmla="*/ 6436535 h 6858000"/>
              <a:gd name="connsiteX439" fmla="*/ 3718039 w 12192000"/>
              <a:gd name="connsiteY439" fmla="*/ 6420657 h 6858000"/>
              <a:gd name="connsiteX440" fmla="*/ 3712407 w 12192000"/>
              <a:gd name="connsiteY440" fmla="*/ 6405480 h 6858000"/>
              <a:gd name="connsiteX441" fmla="*/ 3699064 w 12192000"/>
              <a:gd name="connsiteY441" fmla="*/ 6400217 h 6858000"/>
              <a:gd name="connsiteX442" fmla="*/ 6534655 w 12192000"/>
              <a:gd name="connsiteY442" fmla="*/ 6388445 h 6858000"/>
              <a:gd name="connsiteX443" fmla="*/ 6534655 w 12192000"/>
              <a:gd name="connsiteY443" fmla="*/ 6490982 h 6858000"/>
              <a:gd name="connsiteX444" fmla="*/ 6535506 w 12192000"/>
              <a:gd name="connsiteY444" fmla="*/ 6491843 h 6858000"/>
              <a:gd name="connsiteX445" fmla="*/ 6559949 w 12192000"/>
              <a:gd name="connsiteY445" fmla="*/ 6491843 h 6858000"/>
              <a:gd name="connsiteX446" fmla="*/ 6560800 w 12192000"/>
              <a:gd name="connsiteY446" fmla="*/ 6490982 h 6858000"/>
              <a:gd name="connsiteX447" fmla="*/ 6560800 w 12192000"/>
              <a:gd name="connsiteY447" fmla="*/ 6388445 h 6858000"/>
              <a:gd name="connsiteX448" fmla="*/ 6279162 w 12192000"/>
              <a:gd name="connsiteY448" fmla="*/ 6387036 h 6858000"/>
              <a:gd name="connsiteX449" fmla="*/ 6243039 w 12192000"/>
              <a:gd name="connsiteY449" fmla="*/ 6452081 h 6858000"/>
              <a:gd name="connsiteX450" fmla="*/ 6330756 w 12192000"/>
              <a:gd name="connsiteY450" fmla="*/ 6487304 h 6858000"/>
              <a:gd name="connsiteX451" fmla="*/ 6322402 w 12192000"/>
              <a:gd name="connsiteY451" fmla="*/ 6465387 h 6858000"/>
              <a:gd name="connsiteX452" fmla="*/ 6311882 w 12192000"/>
              <a:gd name="connsiteY452" fmla="*/ 6469066 h 6858000"/>
              <a:gd name="connsiteX453" fmla="*/ 6278234 w 12192000"/>
              <a:gd name="connsiteY453" fmla="*/ 6466013 h 6858000"/>
              <a:gd name="connsiteX454" fmla="*/ 6268565 w 12192000"/>
              <a:gd name="connsiteY454" fmla="*/ 6450281 h 6858000"/>
              <a:gd name="connsiteX455" fmla="*/ 6332999 w 12192000"/>
              <a:gd name="connsiteY455" fmla="*/ 6450281 h 6858000"/>
              <a:gd name="connsiteX456" fmla="*/ 6332922 w 12192000"/>
              <a:gd name="connsiteY456" fmla="*/ 6450124 h 6858000"/>
              <a:gd name="connsiteX457" fmla="*/ 6327662 w 12192000"/>
              <a:gd name="connsiteY457" fmla="*/ 6406839 h 6858000"/>
              <a:gd name="connsiteX458" fmla="*/ 6279162 w 12192000"/>
              <a:gd name="connsiteY458" fmla="*/ 6387036 h 6858000"/>
              <a:gd name="connsiteX459" fmla="*/ 6229145 w 12192000"/>
              <a:gd name="connsiteY459" fmla="*/ 6386009 h 6858000"/>
              <a:gd name="connsiteX460" fmla="*/ 6211403 w 12192000"/>
              <a:gd name="connsiteY460" fmla="*/ 6392750 h 6858000"/>
              <a:gd name="connsiteX461" fmla="*/ 6204673 w 12192000"/>
              <a:gd name="connsiteY461" fmla="*/ 6402534 h 6858000"/>
              <a:gd name="connsiteX462" fmla="*/ 6204673 w 12192000"/>
              <a:gd name="connsiteY462" fmla="*/ 6388523 h 6858000"/>
              <a:gd name="connsiteX463" fmla="*/ 6179147 w 12192000"/>
              <a:gd name="connsiteY463" fmla="*/ 6388523 h 6858000"/>
              <a:gd name="connsiteX464" fmla="*/ 6179147 w 12192000"/>
              <a:gd name="connsiteY464" fmla="*/ 6491060 h 6858000"/>
              <a:gd name="connsiteX465" fmla="*/ 6179998 w 12192000"/>
              <a:gd name="connsiteY465" fmla="*/ 6491921 h 6858000"/>
              <a:gd name="connsiteX466" fmla="*/ 6204364 w 12192000"/>
              <a:gd name="connsiteY466" fmla="*/ 6491921 h 6858000"/>
              <a:gd name="connsiteX467" fmla="*/ 6205215 w 12192000"/>
              <a:gd name="connsiteY467" fmla="*/ 6491060 h 6858000"/>
              <a:gd name="connsiteX468" fmla="*/ 6205215 w 12192000"/>
              <a:gd name="connsiteY468" fmla="*/ 6431495 h 6858000"/>
              <a:gd name="connsiteX469" fmla="*/ 6210474 w 12192000"/>
              <a:gd name="connsiteY469" fmla="*/ 6418267 h 6858000"/>
              <a:gd name="connsiteX470" fmla="*/ 6235691 w 12192000"/>
              <a:gd name="connsiteY470" fmla="*/ 6413727 h 6858000"/>
              <a:gd name="connsiteX471" fmla="*/ 6247990 w 12192000"/>
              <a:gd name="connsiteY471" fmla="*/ 6390480 h 6858000"/>
              <a:gd name="connsiteX472" fmla="*/ 6229145 w 12192000"/>
              <a:gd name="connsiteY472" fmla="*/ 6386009 h 6858000"/>
              <a:gd name="connsiteX473" fmla="*/ 6398622 w 12192000"/>
              <a:gd name="connsiteY473" fmla="*/ 6385911 h 6858000"/>
              <a:gd name="connsiteX474" fmla="*/ 6371985 w 12192000"/>
              <a:gd name="connsiteY474" fmla="*/ 6389775 h 6858000"/>
              <a:gd name="connsiteX475" fmla="*/ 6344215 w 12192000"/>
              <a:gd name="connsiteY475" fmla="*/ 6457716 h 6858000"/>
              <a:gd name="connsiteX476" fmla="*/ 6424120 w 12192000"/>
              <a:gd name="connsiteY476" fmla="*/ 6487773 h 6858000"/>
              <a:gd name="connsiteX477" fmla="*/ 6415843 w 12192000"/>
              <a:gd name="connsiteY477" fmla="*/ 6465622 h 6858000"/>
              <a:gd name="connsiteX478" fmla="*/ 6407334 w 12192000"/>
              <a:gd name="connsiteY478" fmla="*/ 6468909 h 6858000"/>
              <a:gd name="connsiteX479" fmla="*/ 6368040 w 12192000"/>
              <a:gd name="connsiteY479" fmla="*/ 6443783 h 6858000"/>
              <a:gd name="connsiteX480" fmla="*/ 6406329 w 12192000"/>
              <a:gd name="connsiteY480" fmla="*/ 6410596 h 6858000"/>
              <a:gd name="connsiteX481" fmla="*/ 6416307 w 12192000"/>
              <a:gd name="connsiteY481" fmla="*/ 6414275 h 6858000"/>
              <a:gd name="connsiteX482" fmla="*/ 6416462 w 12192000"/>
              <a:gd name="connsiteY482" fmla="*/ 6414275 h 6858000"/>
              <a:gd name="connsiteX483" fmla="*/ 6424739 w 12192000"/>
              <a:gd name="connsiteY483" fmla="*/ 6392671 h 6858000"/>
              <a:gd name="connsiteX484" fmla="*/ 6398622 w 12192000"/>
              <a:gd name="connsiteY484" fmla="*/ 6385911 h 6858000"/>
              <a:gd name="connsiteX485" fmla="*/ 10533296 w 12192000"/>
              <a:gd name="connsiteY485" fmla="*/ 6384528 h 6858000"/>
              <a:gd name="connsiteX486" fmla="*/ 10546060 w 12192000"/>
              <a:gd name="connsiteY486" fmla="*/ 6386772 h 6858000"/>
              <a:gd name="connsiteX487" fmla="*/ 10536954 w 12192000"/>
              <a:gd name="connsiteY487" fmla="*/ 6409287 h 6858000"/>
              <a:gd name="connsiteX488" fmla="*/ 10533296 w 12192000"/>
              <a:gd name="connsiteY488" fmla="*/ 6405883 h 6858000"/>
              <a:gd name="connsiteX489" fmla="*/ 4228414 w 12192000"/>
              <a:gd name="connsiteY489" fmla="*/ 6380392 h 6858000"/>
              <a:gd name="connsiteX490" fmla="*/ 4231822 w 12192000"/>
              <a:gd name="connsiteY490" fmla="*/ 6380392 h 6858000"/>
              <a:gd name="connsiteX491" fmla="*/ 4231822 w 12192000"/>
              <a:gd name="connsiteY491" fmla="*/ 6382585 h 6858000"/>
              <a:gd name="connsiteX492" fmla="*/ 4227715 w 12192000"/>
              <a:gd name="connsiteY492" fmla="*/ 6394252 h 6858000"/>
              <a:gd name="connsiteX493" fmla="*/ 4215568 w 12192000"/>
              <a:gd name="connsiteY493" fmla="*/ 6398551 h 6858000"/>
              <a:gd name="connsiteX494" fmla="*/ 4211723 w 12192000"/>
              <a:gd name="connsiteY494" fmla="*/ 6398200 h 6858000"/>
              <a:gd name="connsiteX495" fmla="*/ 4208227 w 12192000"/>
              <a:gd name="connsiteY495" fmla="*/ 6396884 h 6858000"/>
              <a:gd name="connsiteX496" fmla="*/ 4205693 w 12192000"/>
              <a:gd name="connsiteY496" fmla="*/ 6394516 h 6858000"/>
              <a:gd name="connsiteX497" fmla="*/ 4204732 w 12192000"/>
              <a:gd name="connsiteY497" fmla="*/ 6390831 h 6858000"/>
              <a:gd name="connsiteX498" fmla="*/ 4207091 w 12192000"/>
              <a:gd name="connsiteY498" fmla="*/ 6385305 h 6858000"/>
              <a:gd name="connsiteX499" fmla="*/ 4212946 w 12192000"/>
              <a:gd name="connsiteY499" fmla="*/ 6382147 h 6858000"/>
              <a:gd name="connsiteX500" fmla="*/ 4220549 w 12192000"/>
              <a:gd name="connsiteY500" fmla="*/ 6380743 h 6858000"/>
              <a:gd name="connsiteX501" fmla="*/ 4228414 w 12192000"/>
              <a:gd name="connsiteY501" fmla="*/ 6380392 h 6858000"/>
              <a:gd name="connsiteX502" fmla="*/ 10288910 w 12192000"/>
              <a:gd name="connsiteY502" fmla="*/ 6363560 h 6858000"/>
              <a:gd name="connsiteX503" fmla="*/ 10296148 w 12192000"/>
              <a:gd name="connsiteY503" fmla="*/ 6406037 h 6858000"/>
              <a:gd name="connsiteX504" fmla="*/ 10276690 w 12192000"/>
              <a:gd name="connsiteY504" fmla="*/ 6407662 h 6858000"/>
              <a:gd name="connsiteX505" fmla="*/ 10288910 w 12192000"/>
              <a:gd name="connsiteY505" fmla="*/ 6363560 h 6858000"/>
              <a:gd name="connsiteX506" fmla="*/ 10533296 w 12192000"/>
              <a:gd name="connsiteY506" fmla="*/ 6362864 h 6858000"/>
              <a:gd name="connsiteX507" fmla="*/ 10548161 w 12192000"/>
              <a:gd name="connsiteY507" fmla="*/ 6377332 h 6858000"/>
              <a:gd name="connsiteX508" fmla="*/ 10533296 w 12192000"/>
              <a:gd name="connsiteY508" fmla="*/ 6381356 h 6858000"/>
              <a:gd name="connsiteX509" fmla="*/ 10413282 w 12192000"/>
              <a:gd name="connsiteY509" fmla="*/ 6362863 h 6858000"/>
              <a:gd name="connsiteX510" fmla="*/ 10413282 w 12192000"/>
              <a:gd name="connsiteY510" fmla="*/ 6388397 h 6858000"/>
              <a:gd name="connsiteX511" fmla="*/ 9578859 w 12192000"/>
              <a:gd name="connsiteY511" fmla="*/ 6361277 h 6858000"/>
              <a:gd name="connsiteX512" fmla="*/ 9585768 w 12192000"/>
              <a:gd name="connsiteY512" fmla="*/ 6408867 h 6858000"/>
              <a:gd name="connsiteX513" fmla="*/ 9578859 w 12192000"/>
              <a:gd name="connsiteY513" fmla="*/ 6361277 h 6858000"/>
              <a:gd name="connsiteX514" fmla="*/ 9424151 w 12192000"/>
              <a:gd name="connsiteY514" fmla="*/ 6361276 h 6858000"/>
              <a:gd name="connsiteX515" fmla="*/ 9431060 w 12192000"/>
              <a:gd name="connsiteY515" fmla="*/ 6408866 h 6858000"/>
              <a:gd name="connsiteX516" fmla="*/ 9424151 w 12192000"/>
              <a:gd name="connsiteY516" fmla="*/ 6361276 h 6858000"/>
              <a:gd name="connsiteX517" fmla="*/ 10623813 w 12192000"/>
              <a:gd name="connsiteY517" fmla="*/ 6359691 h 6858000"/>
              <a:gd name="connsiteX518" fmla="*/ 10623813 w 12192000"/>
              <a:gd name="connsiteY518" fmla="*/ 6362244 h 6858000"/>
              <a:gd name="connsiteX519" fmla="*/ 10631907 w 12192000"/>
              <a:gd name="connsiteY519" fmla="*/ 6364101 h 6858000"/>
              <a:gd name="connsiteX520" fmla="*/ 10632219 w 12192000"/>
              <a:gd name="connsiteY520" fmla="*/ 6407198 h 6858000"/>
              <a:gd name="connsiteX521" fmla="*/ 10624513 w 12192000"/>
              <a:gd name="connsiteY521" fmla="*/ 6410370 h 6858000"/>
              <a:gd name="connsiteX522" fmla="*/ 10624825 w 12192000"/>
              <a:gd name="connsiteY522" fmla="*/ 6413233 h 6858000"/>
              <a:gd name="connsiteX523" fmla="*/ 10649886 w 12192000"/>
              <a:gd name="connsiteY523" fmla="*/ 6413233 h 6858000"/>
              <a:gd name="connsiteX524" fmla="*/ 10650198 w 12192000"/>
              <a:gd name="connsiteY524" fmla="*/ 6410370 h 6858000"/>
              <a:gd name="connsiteX525" fmla="*/ 10642492 w 12192000"/>
              <a:gd name="connsiteY525" fmla="*/ 6407198 h 6858000"/>
              <a:gd name="connsiteX526" fmla="*/ 10642804 w 12192000"/>
              <a:gd name="connsiteY526" fmla="*/ 6364101 h 6858000"/>
              <a:gd name="connsiteX527" fmla="*/ 10650820 w 12192000"/>
              <a:gd name="connsiteY527" fmla="*/ 6362244 h 6858000"/>
              <a:gd name="connsiteX528" fmla="*/ 10650820 w 12192000"/>
              <a:gd name="connsiteY528" fmla="*/ 6359691 h 6858000"/>
              <a:gd name="connsiteX529" fmla="*/ 10446049 w 12192000"/>
              <a:gd name="connsiteY529" fmla="*/ 6359614 h 6858000"/>
              <a:gd name="connsiteX530" fmla="*/ 10446049 w 12192000"/>
              <a:gd name="connsiteY530" fmla="*/ 6362167 h 6858000"/>
              <a:gd name="connsiteX531" fmla="*/ 10454299 w 12192000"/>
              <a:gd name="connsiteY531" fmla="*/ 6365185 h 6858000"/>
              <a:gd name="connsiteX532" fmla="*/ 10454455 w 12192000"/>
              <a:gd name="connsiteY532" fmla="*/ 6396985 h 6858000"/>
              <a:gd name="connsiteX533" fmla="*/ 10482240 w 12192000"/>
              <a:gd name="connsiteY533" fmla="*/ 6413775 h 6858000"/>
              <a:gd name="connsiteX534" fmla="*/ 10499518 w 12192000"/>
              <a:gd name="connsiteY534" fmla="*/ 6365185 h 6858000"/>
              <a:gd name="connsiteX535" fmla="*/ 10507146 w 12192000"/>
              <a:gd name="connsiteY535" fmla="*/ 6362167 h 6858000"/>
              <a:gd name="connsiteX536" fmla="*/ 10507146 w 12192000"/>
              <a:gd name="connsiteY536" fmla="*/ 6359691 h 6858000"/>
              <a:gd name="connsiteX537" fmla="*/ 10484030 w 12192000"/>
              <a:gd name="connsiteY537" fmla="*/ 6359691 h 6858000"/>
              <a:gd name="connsiteX538" fmla="*/ 10484030 w 12192000"/>
              <a:gd name="connsiteY538" fmla="*/ 6362245 h 6858000"/>
              <a:gd name="connsiteX539" fmla="*/ 10493526 w 12192000"/>
              <a:gd name="connsiteY539" fmla="*/ 6365881 h 6858000"/>
              <a:gd name="connsiteX540" fmla="*/ 10493603 w 12192000"/>
              <a:gd name="connsiteY540" fmla="*/ 6376636 h 6858000"/>
              <a:gd name="connsiteX541" fmla="*/ 10476558 w 12192000"/>
              <a:gd name="connsiteY541" fmla="*/ 6408204 h 6858000"/>
              <a:gd name="connsiteX542" fmla="*/ 10464028 w 12192000"/>
              <a:gd name="connsiteY542" fmla="*/ 6364566 h 6858000"/>
              <a:gd name="connsiteX543" fmla="*/ 10471733 w 12192000"/>
              <a:gd name="connsiteY543" fmla="*/ 6361935 h 6858000"/>
              <a:gd name="connsiteX544" fmla="*/ 10472356 w 12192000"/>
              <a:gd name="connsiteY544" fmla="*/ 6359691 h 6858000"/>
              <a:gd name="connsiteX545" fmla="*/ 10472356 w 12192000"/>
              <a:gd name="connsiteY545" fmla="*/ 6359614 h 6858000"/>
              <a:gd name="connsiteX546" fmla="*/ 10446049 w 12192000"/>
              <a:gd name="connsiteY546" fmla="*/ 6359614 h 6858000"/>
              <a:gd name="connsiteX547" fmla="*/ 10570732 w 12192000"/>
              <a:gd name="connsiteY547" fmla="*/ 6359536 h 6858000"/>
              <a:gd name="connsiteX548" fmla="*/ 10570732 w 12192000"/>
              <a:gd name="connsiteY548" fmla="*/ 6362089 h 6858000"/>
              <a:gd name="connsiteX549" fmla="*/ 10579060 w 12192000"/>
              <a:gd name="connsiteY549" fmla="*/ 6365648 h 6858000"/>
              <a:gd name="connsiteX550" fmla="*/ 10578438 w 12192000"/>
              <a:gd name="connsiteY550" fmla="*/ 6407198 h 6858000"/>
              <a:gd name="connsiteX551" fmla="*/ 10569409 w 12192000"/>
              <a:gd name="connsiteY551" fmla="*/ 6410370 h 6858000"/>
              <a:gd name="connsiteX552" fmla="*/ 10569721 w 12192000"/>
              <a:gd name="connsiteY552" fmla="*/ 6413233 h 6858000"/>
              <a:gd name="connsiteX553" fmla="*/ 10614629 w 12192000"/>
              <a:gd name="connsiteY553" fmla="*/ 6413233 h 6858000"/>
              <a:gd name="connsiteX554" fmla="*/ 10615563 w 12192000"/>
              <a:gd name="connsiteY554" fmla="*/ 6412304 h 6858000"/>
              <a:gd name="connsiteX555" fmla="*/ 10615563 w 12192000"/>
              <a:gd name="connsiteY555" fmla="*/ 6396366 h 6858000"/>
              <a:gd name="connsiteX556" fmla="*/ 10612994 w 12192000"/>
              <a:gd name="connsiteY556" fmla="*/ 6395437 h 6858000"/>
              <a:gd name="connsiteX557" fmla="*/ 10588556 w 12192000"/>
              <a:gd name="connsiteY557" fmla="*/ 6408823 h 6858000"/>
              <a:gd name="connsiteX558" fmla="*/ 10588556 w 12192000"/>
              <a:gd name="connsiteY558" fmla="*/ 6364178 h 6858000"/>
              <a:gd name="connsiteX559" fmla="*/ 10596883 w 12192000"/>
              <a:gd name="connsiteY559" fmla="*/ 6362244 h 6858000"/>
              <a:gd name="connsiteX560" fmla="*/ 10596883 w 12192000"/>
              <a:gd name="connsiteY560" fmla="*/ 6359691 h 6858000"/>
              <a:gd name="connsiteX561" fmla="*/ 10597039 w 12192000"/>
              <a:gd name="connsiteY561" fmla="*/ 6359536 h 6858000"/>
              <a:gd name="connsiteX562" fmla="*/ 10570732 w 12192000"/>
              <a:gd name="connsiteY562" fmla="*/ 6359536 h 6858000"/>
              <a:gd name="connsiteX563" fmla="*/ 11061581 w 12192000"/>
              <a:gd name="connsiteY563" fmla="*/ 6359100 h 6858000"/>
              <a:gd name="connsiteX564" fmla="*/ 11051644 w 12192000"/>
              <a:gd name="connsiteY564" fmla="*/ 6367896 h 6858000"/>
              <a:gd name="connsiteX565" fmla="*/ 11051333 w 12192000"/>
              <a:gd name="connsiteY565" fmla="*/ 6378780 h 6858000"/>
              <a:gd name="connsiteX566" fmla="*/ 11060883 w 12192000"/>
              <a:gd name="connsiteY566" fmla="*/ 6388247 h 6858000"/>
              <a:gd name="connsiteX567" fmla="*/ 11070354 w 12192000"/>
              <a:gd name="connsiteY567" fmla="*/ 6388769 h 6858000"/>
              <a:gd name="connsiteX568" fmla="*/ 11081922 w 12192000"/>
              <a:gd name="connsiteY568" fmla="*/ 6378482 h 6858000"/>
              <a:gd name="connsiteX569" fmla="*/ 11082465 w 12192000"/>
              <a:gd name="connsiteY569" fmla="*/ 6373786 h 6858000"/>
              <a:gd name="connsiteX570" fmla="*/ 11082543 w 12192000"/>
              <a:gd name="connsiteY570" fmla="*/ 6373711 h 6858000"/>
              <a:gd name="connsiteX571" fmla="*/ 11082465 w 12192000"/>
              <a:gd name="connsiteY571" fmla="*/ 6371251 h 6858000"/>
              <a:gd name="connsiteX572" fmla="*/ 11071907 w 12192000"/>
              <a:gd name="connsiteY572" fmla="*/ 6359175 h 6858000"/>
              <a:gd name="connsiteX573" fmla="*/ 11061581 w 12192000"/>
              <a:gd name="connsiteY573" fmla="*/ 6359100 h 6858000"/>
              <a:gd name="connsiteX574" fmla="*/ 10537119 w 12192000"/>
              <a:gd name="connsiteY574" fmla="*/ 6358995 h 6858000"/>
              <a:gd name="connsiteX575" fmla="*/ 10515395 w 12192000"/>
              <a:gd name="connsiteY575" fmla="*/ 6359691 h 6858000"/>
              <a:gd name="connsiteX576" fmla="*/ 10516018 w 12192000"/>
              <a:gd name="connsiteY576" fmla="*/ 6361935 h 6858000"/>
              <a:gd name="connsiteX577" fmla="*/ 10523723 w 12192000"/>
              <a:gd name="connsiteY577" fmla="*/ 6365107 h 6858000"/>
              <a:gd name="connsiteX578" fmla="*/ 10523411 w 12192000"/>
              <a:gd name="connsiteY578" fmla="*/ 6407585 h 6858000"/>
              <a:gd name="connsiteX579" fmla="*/ 10514072 w 12192000"/>
              <a:gd name="connsiteY579" fmla="*/ 6410448 h 6858000"/>
              <a:gd name="connsiteX580" fmla="*/ 10514383 w 12192000"/>
              <a:gd name="connsiteY580" fmla="*/ 6413311 h 6858000"/>
              <a:gd name="connsiteX581" fmla="*/ 10514461 w 12192000"/>
              <a:gd name="connsiteY581" fmla="*/ 6413311 h 6858000"/>
              <a:gd name="connsiteX582" fmla="*/ 10541390 w 12192000"/>
              <a:gd name="connsiteY582" fmla="*/ 6413311 h 6858000"/>
              <a:gd name="connsiteX583" fmla="*/ 10553843 w 12192000"/>
              <a:gd name="connsiteY583" fmla="*/ 6410371 h 6858000"/>
              <a:gd name="connsiteX584" fmla="*/ 10550029 w 12192000"/>
              <a:gd name="connsiteY584" fmla="*/ 6382671 h 6858000"/>
              <a:gd name="connsiteX585" fmla="*/ 10557657 w 12192000"/>
              <a:gd name="connsiteY585" fmla="*/ 6376481 h 6858000"/>
              <a:gd name="connsiteX586" fmla="*/ 10556801 w 12192000"/>
              <a:gd name="connsiteY586" fmla="*/ 6364102 h 6858000"/>
              <a:gd name="connsiteX587" fmla="*/ 10537119 w 12192000"/>
              <a:gd name="connsiteY587" fmla="*/ 6358995 h 6858000"/>
              <a:gd name="connsiteX588" fmla="*/ 10419430 w 12192000"/>
              <a:gd name="connsiteY588" fmla="*/ 6358995 h 6858000"/>
              <a:gd name="connsiteX589" fmla="*/ 10410402 w 12192000"/>
              <a:gd name="connsiteY589" fmla="*/ 6359691 h 6858000"/>
              <a:gd name="connsiteX590" fmla="*/ 10394680 w 12192000"/>
              <a:gd name="connsiteY590" fmla="*/ 6359691 h 6858000"/>
              <a:gd name="connsiteX591" fmla="*/ 10394680 w 12192000"/>
              <a:gd name="connsiteY591" fmla="*/ 6362244 h 6858000"/>
              <a:gd name="connsiteX592" fmla="*/ 10403319 w 12192000"/>
              <a:gd name="connsiteY592" fmla="*/ 6364798 h 6858000"/>
              <a:gd name="connsiteX593" fmla="*/ 10403086 w 12192000"/>
              <a:gd name="connsiteY593" fmla="*/ 6407895 h 6858000"/>
              <a:gd name="connsiteX594" fmla="*/ 10394680 w 12192000"/>
              <a:gd name="connsiteY594" fmla="*/ 6410371 h 6858000"/>
              <a:gd name="connsiteX595" fmla="*/ 10394992 w 12192000"/>
              <a:gd name="connsiteY595" fmla="*/ 6413233 h 6858000"/>
              <a:gd name="connsiteX596" fmla="*/ 10422621 w 12192000"/>
              <a:gd name="connsiteY596" fmla="*/ 6413233 h 6858000"/>
              <a:gd name="connsiteX597" fmla="*/ 10422933 w 12192000"/>
              <a:gd name="connsiteY597" fmla="*/ 6410371 h 6858000"/>
              <a:gd name="connsiteX598" fmla="*/ 10413282 w 12192000"/>
              <a:gd name="connsiteY598" fmla="*/ 6406579 h 6858000"/>
              <a:gd name="connsiteX599" fmla="*/ 10413282 w 12192000"/>
              <a:gd name="connsiteY599" fmla="*/ 6390950 h 6858000"/>
              <a:gd name="connsiteX600" fmla="*/ 10413360 w 12192000"/>
              <a:gd name="connsiteY600" fmla="*/ 6390950 h 6858000"/>
              <a:gd name="connsiteX601" fmla="*/ 10439199 w 12192000"/>
              <a:gd name="connsiteY601" fmla="*/ 6369982 h 6858000"/>
              <a:gd name="connsiteX602" fmla="*/ 10419430 w 12192000"/>
              <a:gd name="connsiteY602" fmla="*/ 6358995 h 6858000"/>
              <a:gd name="connsiteX603" fmla="*/ 10361914 w 12192000"/>
              <a:gd name="connsiteY603" fmla="*/ 6358995 h 6858000"/>
              <a:gd name="connsiteX604" fmla="*/ 10319574 w 12192000"/>
              <a:gd name="connsiteY604" fmla="*/ 6359614 h 6858000"/>
              <a:gd name="connsiteX605" fmla="*/ 10319574 w 12192000"/>
              <a:gd name="connsiteY605" fmla="*/ 6362167 h 6858000"/>
              <a:gd name="connsiteX606" fmla="*/ 10328602 w 12192000"/>
              <a:gd name="connsiteY606" fmla="*/ 6366964 h 6858000"/>
              <a:gd name="connsiteX607" fmla="*/ 10328447 w 12192000"/>
              <a:gd name="connsiteY607" fmla="*/ 6406425 h 6858000"/>
              <a:gd name="connsiteX608" fmla="*/ 10319574 w 12192000"/>
              <a:gd name="connsiteY608" fmla="*/ 6410061 h 6858000"/>
              <a:gd name="connsiteX609" fmla="*/ 10319574 w 12192000"/>
              <a:gd name="connsiteY609" fmla="*/ 6413234 h 6858000"/>
              <a:gd name="connsiteX610" fmla="*/ 10347826 w 12192000"/>
              <a:gd name="connsiteY610" fmla="*/ 6413234 h 6858000"/>
              <a:gd name="connsiteX611" fmla="*/ 10347826 w 12192000"/>
              <a:gd name="connsiteY611" fmla="*/ 6410061 h 6858000"/>
              <a:gd name="connsiteX612" fmla="*/ 10338175 w 12192000"/>
              <a:gd name="connsiteY612" fmla="*/ 6406579 h 6858000"/>
              <a:gd name="connsiteX613" fmla="*/ 10338175 w 12192000"/>
              <a:gd name="connsiteY613" fmla="*/ 6388397 h 6858000"/>
              <a:gd name="connsiteX614" fmla="*/ 10355999 w 12192000"/>
              <a:gd name="connsiteY614" fmla="*/ 6389867 h 6858000"/>
              <a:gd name="connsiteX615" fmla="*/ 10357477 w 12192000"/>
              <a:gd name="connsiteY615" fmla="*/ 6395438 h 6858000"/>
              <a:gd name="connsiteX616" fmla="*/ 10360668 w 12192000"/>
              <a:gd name="connsiteY616" fmla="*/ 6395438 h 6858000"/>
              <a:gd name="connsiteX617" fmla="*/ 10360668 w 12192000"/>
              <a:gd name="connsiteY617" fmla="*/ 6377565 h 6858000"/>
              <a:gd name="connsiteX618" fmla="*/ 10356466 w 12192000"/>
              <a:gd name="connsiteY618" fmla="*/ 6382052 h 6858000"/>
              <a:gd name="connsiteX619" fmla="*/ 10338175 w 12192000"/>
              <a:gd name="connsiteY619" fmla="*/ 6384605 h 6858000"/>
              <a:gd name="connsiteX620" fmla="*/ 10338175 w 12192000"/>
              <a:gd name="connsiteY620" fmla="*/ 6364179 h 6858000"/>
              <a:gd name="connsiteX621" fmla="*/ 10353897 w 12192000"/>
              <a:gd name="connsiteY621" fmla="*/ 6364179 h 6858000"/>
              <a:gd name="connsiteX622" fmla="*/ 10358022 w 12192000"/>
              <a:gd name="connsiteY622" fmla="*/ 6367119 h 6858000"/>
              <a:gd name="connsiteX623" fmla="*/ 10359423 w 12192000"/>
              <a:gd name="connsiteY623" fmla="*/ 6373077 h 6858000"/>
              <a:gd name="connsiteX624" fmla="*/ 10361914 w 12192000"/>
              <a:gd name="connsiteY624" fmla="*/ 6373077 h 6858000"/>
              <a:gd name="connsiteX625" fmla="*/ 10361914 w 12192000"/>
              <a:gd name="connsiteY625" fmla="*/ 6359072 h 6858000"/>
              <a:gd name="connsiteX626" fmla="*/ 10281516 w 12192000"/>
              <a:gd name="connsiteY626" fmla="*/ 6358608 h 6858000"/>
              <a:gd name="connsiteX627" fmla="*/ 10282527 w 12192000"/>
              <a:gd name="connsiteY627" fmla="*/ 6414394 h 6858000"/>
              <a:gd name="connsiteX628" fmla="*/ 10281516 w 12192000"/>
              <a:gd name="connsiteY628" fmla="*/ 6358608 h 6858000"/>
              <a:gd name="connsiteX629" fmla="*/ 10687012 w 12192000"/>
              <a:gd name="connsiteY629" fmla="*/ 6358511 h 6858000"/>
              <a:gd name="connsiteX630" fmla="*/ 10667865 w 12192000"/>
              <a:gd name="connsiteY630" fmla="*/ 6364797 h 6858000"/>
              <a:gd name="connsiteX631" fmla="*/ 10668877 w 12192000"/>
              <a:gd name="connsiteY631" fmla="*/ 6408436 h 6858000"/>
              <a:gd name="connsiteX632" fmla="*/ 10706158 w 12192000"/>
              <a:gd name="connsiteY632" fmla="*/ 6410989 h 6858000"/>
              <a:gd name="connsiteX633" fmla="*/ 10709271 w 12192000"/>
              <a:gd name="connsiteY633" fmla="*/ 6397371 h 6858000"/>
              <a:gd name="connsiteX634" fmla="*/ 10706703 w 12192000"/>
              <a:gd name="connsiteY634" fmla="*/ 6396984 h 6858000"/>
              <a:gd name="connsiteX635" fmla="*/ 10687790 w 12192000"/>
              <a:gd name="connsiteY635" fmla="*/ 6410138 h 6858000"/>
              <a:gd name="connsiteX636" fmla="*/ 10686467 w 12192000"/>
              <a:gd name="connsiteY636" fmla="*/ 6362244 h 6858000"/>
              <a:gd name="connsiteX637" fmla="*/ 10704835 w 12192000"/>
              <a:gd name="connsiteY637" fmla="*/ 6376326 h 6858000"/>
              <a:gd name="connsiteX638" fmla="*/ 10707325 w 12192000"/>
              <a:gd name="connsiteY638" fmla="*/ 6376326 h 6858000"/>
              <a:gd name="connsiteX639" fmla="*/ 10707325 w 12192000"/>
              <a:gd name="connsiteY639" fmla="*/ 6361625 h 6858000"/>
              <a:gd name="connsiteX640" fmla="*/ 10687012 w 12192000"/>
              <a:gd name="connsiteY640" fmla="*/ 6358511 h 6858000"/>
              <a:gd name="connsiteX641" fmla="*/ 4409656 w 12192000"/>
              <a:gd name="connsiteY641" fmla="*/ 6356356 h 6858000"/>
              <a:gd name="connsiteX642" fmla="*/ 4416210 w 12192000"/>
              <a:gd name="connsiteY642" fmla="*/ 6357584 h 6858000"/>
              <a:gd name="connsiteX643" fmla="*/ 4420842 w 12192000"/>
              <a:gd name="connsiteY643" fmla="*/ 6360917 h 6858000"/>
              <a:gd name="connsiteX644" fmla="*/ 4423463 w 12192000"/>
              <a:gd name="connsiteY644" fmla="*/ 6365742 h 6858000"/>
              <a:gd name="connsiteX645" fmla="*/ 4424337 w 12192000"/>
              <a:gd name="connsiteY645" fmla="*/ 6371444 h 6858000"/>
              <a:gd name="connsiteX646" fmla="*/ 4392528 w 12192000"/>
              <a:gd name="connsiteY646" fmla="*/ 6371444 h 6858000"/>
              <a:gd name="connsiteX647" fmla="*/ 4397859 w 12192000"/>
              <a:gd name="connsiteY647" fmla="*/ 6360567 h 6858000"/>
              <a:gd name="connsiteX648" fmla="*/ 4409656 w 12192000"/>
              <a:gd name="connsiteY648" fmla="*/ 6356356 h 6858000"/>
              <a:gd name="connsiteX649" fmla="*/ 6611620 w 12192000"/>
              <a:gd name="connsiteY649" fmla="*/ 6351891 h 6858000"/>
              <a:gd name="connsiteX650" fmla="*/ 6586094 w 12192000"/>
              <a:gd name="connsiteY650" fmla="*/ 6369346 h 6858000"/>
              <a:gd name="connsiteX651" fmla="*/ 6586094 w 12192000"/>
              <a:gd name="connsiteY651" fmla="*/ 6388444 h 6858000"/>
              <a:gd name="connsiteX652" fmla="*/ 6570005 w 12192000"/>
              <a:gd name="connsiteY652" fmla="*/ 6388444 h 6858000"/>
              <a:gd name="connsiteX653" fmla="*/ 6570005 w 12192000"/>
              <a:gd name="connsiteY653" fmla="*/ 6410361 h 6858000"/>
              <a:gd name="connsiteX654" fmla="*/ 6586094 w 12192000"/>
              <a:gd name="connsiteY654" fmla="*/ 6410361 h 6858000"/>
              <a:gd name="connsiteX655" fmla="*/ 6586094 w 12192000"/>
              <a:gd name="connsiteY655" fmla="*/ 6468517 h 6858000"/>
              <a:gd name="connsiteX656" fmla="*/ 6589730 w 12192000"/>
              <a:gd name="connsiteY656" fmla="*/ 6480023 h 6858000"/>
              <a:gd name="connsiteX657" fmla="*/ 6641091 w 12192000"/>
              <a:gd name="connsiteY657" fmla="*/ 6489260 h 6858000"/>
              <a:gd name="connsiteX658" fmla="*/ 6633588 w 12192000"/>
              <a:gd name="connsiteY658" fmla="*/ 6468283 h 6858000"/>
              <a:gd name="connsiteX659" fmla="*/ 6627245 w 12192000"/>
              <a:gd name="connsiteY659" fmla="*/ 6469691 h 6858000"/>
              <a:gd name="connsiteX660" fmla="*/ 6614250 w 12192000"/>
              <a:gd name="connsiteY660" fmla="*/ 6467656 h 6858000"/>
              <a:gd name="connsiteX661" fmla="*/ 6611698 w 12192000"/>
              <a:gd name="connsiteY661" fmla="*/ 6462960 h 6858000"/>
              <a:gd name="connsiteX662" fmla="*/ 6611698 w 12192000"/>
              <a:gd name="connsiteY662" fmla="*/ 6410439 h 6858000"/>
              <a:gd name="connsiteX663" fmla="*/ 6646119 w 12192000"/>
              <a:gd name="connsiteY663" fmla="*/ 6410439 h 6858000"/>
              <a:gd name="connsiteX664" fmla="*/ 6646119 w 12192000"/>
              <a:gd name="connsiteY664" fmla="*/ 6468048 h 6858000"/>
              <a:gd name="connsiteX665" fmla="*/ 6648362 w 12192000"/>
              <a:gd name="connsiteY665" fmla="*/ 6476501 h 6858000"/>
              <a:gd name="connsiteX666" fmla="*/ 6701735 w 12192000"/>
              <a:gd name="connsiteY666" fmla="*/ 6489651 h 6858000"/>
              <a:gd name="connsiteX667" fmla="*/ 6693690 w 12192000"/>
              <a:gd name="connsiteY667" fmla="*/ 6468283 h 6858000"/>
              <a:gd name="connsiteX668" fmla="*/ 6687348 w 12192000"/>
              <a:gd name="connsiteY668" fmla="*/ 6469691 h 6858000"/>
              <a:gd name="connsiteX669" fmla="*/ 6673424 w 12192000"/>
              <a:gd name="connsiteY669" fmla="*/ 6466326 h 6858000"/>
              <a:gd name="connsiteX670" fmla="*/ 6671800 w 12192000"/>
              <a:gd name="connsiteY670" fmla="*/ 6462412 h 6858000"/>
              <a:gd name="connsiteX671" fmla="*/ 6671800 w 12192000"/>
              <a:gd name="connsiteY671" fmla="*/ 6410439 h 6858000"/>
              <a:gd name="connsiteX672" fmla="*/ 6698486 w 12192000"/>
              <a:gd name="connsiteY672" fmla="*/ 6410439 h 6858000"/>
              <a:gd name="connsiteX673" fmla="*/ 6698486 w 12192000"/>
              <a:gd name="connsiteY673" fmla="*/ 6388523 h 6858000"/>
              <a:gd name="connsiteX674" fmla="*/ 6671800 w 12192000"/>
              <a:gd name="connsiteY674" fmla="*/ 6388523 h 6858000"/>
              <a:gd name="connsiteX675" fmla="*/ 6671800 w 12192000"/>
              <a:gd name="connsiteY675" fmla="*/ 6351969 h 6858000"/>
              <a:gd name="connsiteX676" fmla="*/ 6646274 w 12192000"/>
              <a:gd name="connsiteY676" fmla="*/ 6369424 h 6858000"/>
              <a:gd name="connsiteX677" fmla="*/ 6646274 w 12192000"/>
              <a:gd name="connsiteY677" fmla="*/ 6388523 h 6858000"/>
              <a:gd name="connsiteX678" fmla="*/ 6611852 w 12192000"/>
              <a:gd name="connsiteY678" fmla="*/ 6388523 h 6858000"/>
              <a:gd name="connsiteX679" fmla="*/ 6611852 w 12192000"/>
              <a:gd name="connsiteY679" fmla="*/ 6351969 h 6858000"/>
              <a:gd name="connsiteX680" fmla="*/ 9343498 w 12192000"/>
              <a:gd name="connsiteY680" fmla="*/ 6350083 h 6858000"/>
              <a:gd name="connsiteX681" fmla="*/ 9350019 w 12192000"/>
              <a:gd name="connsiteY681" fmla="*/ 6421781 h 6858000"/>
              <a:gd name="connsiteX682" fmla="*/ 9384640 w 12192000"/>
              <a:gd name="connsiteY682" fmla="*/ 6401665 h 6858000"/>
              <a:gd name="connsiteX683" fmla="*/ 9371288 w 12192000"/>
              <a:gd name="connsiteY683" fmla="*/ 6396499 h 6858000"/>
              <a:gd name="connsiteX684" fmla="*/ 9351882 w 12192000"/>
              <a:gd name="connsiteY684" fmla="*/ 6408162 h 6858000"/>
              <a:gd name="connsiteX685" fmla="*/ 9344585 w 12192000"/>
              <a:gd name="connsiteY685" fmla="*/ 6365894 h 6858000"/>
              <a:gd name="connsiteX686" fmla="*/ 9344507 w 12192000"/>
              <a:gd name="connsiteY686" fmla="*/ 6365816 h 6858000"/>
              <a:gd name="connsiteX687" fmla="*/ 9366708 w 12192000"/>
              <a:gd name="connsiteY687" fmla="*/ 6366208 h 6858000"/>
              <a:gd name="connsiteX688" fmla="*/ 9371211 w 12192000"/>
              <a:gd name="connsiteY688" fmla="*/ 6374035 h 6858000"/>
              <a:gd name="connsiteX689" fmla="*/ 9385183 w 12192000"/>
              <a:gd name="connsiteY689" fmla="*/ 6367930 h 6858000"/>
              <a:gd name="connsiteX690" fmla="*/ 9343498 w 12192000"/>
              <a:gd name="connsiteY690" fmla="*/ 6350083 h 6858000"/>
              <a:gd name="connsiteX691" fmla="*/ 9749403 w 12192000"/>
              <a:gd name="connsiteY691" fmla="*/ 6349301 h 6858000"/>
              <a:gd name="connsiteX692" fmla="*/ 9749403 w 12192000"/>
              <a:gd name="connsiteY692" fmla="*/ 6420686 h 6858000"/>
              <a:gd name="connsiteX693" fmla="*/ 9764385 w 12192000"/>
              <a:gd name="connsiteY693" fmla="*/ 6420686 h 6858000"/>
              <a:gd name="connsiteX694" fmla="*/ 9764385 w 12192000"/>
              <a:gd name="connsiteY694" fmla="*/ 6349301 h 6858000"/>
              <a:gd name="connsiteX695" fmla="*/ 9577617 w 12192000"/>
              <a:gd name="connsiteY695" fmla="*/ 6348205 h 6858000"/>
              <a:gd name="connsiteX696" fmla="*/ 9577462 w 12192000"/>
              <a:gd name="connsiteY696" fmla="*/ 6422016 h 6858000"/>
              <a:gd name="connsiteX697" fmla="*/ 9577617 w 12192000"/>
              <a:gd name="connsiteY697" fmla="*/ 6348205 h 6858000"/>
              <a:gd name="connsiteX698" fmla="*/ 9422210 w 12192000"/>
              <a:gd name="connsiteY698" fmla="*/ 6348205 h 6858000"/>
              <a:gd name="connsiteX699" fmla="*/ 9422676 w 12192000"/>
              <a:gd name="connsiteY699" fmla="*/ 6422016 h 6858000"/>
              <a:gd name="connsiteX700" fmla="*/ 9422210 w 12192000"/>
              <a:gd name="connsiteY700" fmla="*/ 6348205 h 6858000"/>
              <a:gd name="connsiteX701" fmla="*/ 9813444 w 12192000"/>
              <a:gd name="connsiteY701" fmla="*/ 6348049 h 6858000"/>
              <a:gd name="connsiteX702" fmla="*/ 9816394 w 12192000"/>
              <a:gd name="connsiteY702" fmla="*/ 6421781 h 6858000"/>
              <a:gd name="connsiteX703" fmla="*/ 9838207 w 12192000"/>
              <a:gd name="connsiteY703" fmla="*/ 6401744 h 6858000"/>
              <a:gd name="connsiteX704" fmla="*/ 9824855 w 12192000"/>
              <a:gd name="connsiteY704" fmla="*/ 6396499 h 6858000"/>
              <a:gd name="connsiteX705" fmla="*/ 9806924 w 12192000"/>
              <a:gd name="connsiteY705" fmla="*/ 6408319 h 6858000"/>
              <a:gd name="connsiteX706" fmla="*/ 9797841 w 12192000"/>
              <a:gd name="connsiteY706" fmla="*/ 6366991 h 6858000"/>
              <a:gd name="connsiteX707" fmla="*/ 9824855 w 12192000"/>
              <a:gd name="connsiteY707" fmla="*/ 6374192 h 6858000"/>
              <a:gd name="connsiteX708" fmla="*/ 9839138 w 12192000"/>
              <a:gd name="connsiteY708" fmla="*/ 6368948 h 6858000"/>
              <a:gd name="connsiteX709" fmla="*/ 9813444 w 12192000"/>
              <a:gd name="connsiteY709" fmla="*/ 6348049 h 6858000"/>
              <a:gd name="connsiteX710" fmla="*/ 9512557 w 12192000"/>
              <a:gd name="connsiteY710" fmla="*/ 6347981 h 6858000"/>
              <a:gd name="connsiteX711" fmla="*/ 9489978 w 12192000"/>
              <a:gd name="connsiteY711" fmla="*/ 6358459 h 6858000"/>
              <a:gd name="connsiteX712" fmla="*/ 9489978 w 12192000"/>
              <a:gd name="connsiteY712" fmla="*/ 6349301 h 6858000"/>
              <a:gd name="connsiteX713" fmla="*/ 9474996 w 12192000"/>
              <a:gd name="connsiteY713" fmla="*/ 6349301 h 6858000"/>
              <a:gd name="connsiteX714" fmla="*/ 9474996 w 12192000"/>
              <a:gd name="connsiteY714" fmla="*/ 6420686 h 6858000"/>
              <a:gd name="connsiteX715" fmla="*/ 9489978 w 12192000"/>
              <a:gd name="connsiteY715" fmla="*/ 6420686 h 6858000"/>
              <a:gd name="connsiteX716" fmla="*/ 9489978 w 12192000"/>
              <a:gd name="connsiteY716" fmla="*/ 6376462 h 6858000"/>
              <a:gd name="connsiteX717" fmla="*/ 9492229 w 12192000"/>
              <a:gd name="connsiteY717" fmla="*/ 6370200 h 6858000"/>
              <a:gd name="connsiteX718" fmla="*/ 9518699 w 12192000"/>
              <a:gd name="connsiteY718" fmla="*/ 6368478 h 6858000"/>
              <a:gd name="connsiteX719" fmla="*/ 9521183 w 12192000"/>
              <a:gd name="connsiteY719" fmla="*/ 6375131 h 6858000"/>
              <a:gd name="connsiteX720" fmla="*/ 9521183 w 12192000"/>
              <a:gd name="connsiteY720" fmla="*/ 6420686 h 6858000"/>
              <a:gd name="connsiteX721" fmla="*/ 9536087 w 12192000"/>
              <a:gd name="connsiteY721" fmla="*/ 6420686 h 6858000"/>
              <a:gd name="connsiteX722" fmla="*/ 9536087 w 12192000"/>
              <a:gd name="connsiteY722" fmla="*/ 6371217 h 6858000"/>
              <a:gd name="connsiteX723" fmla="*/ 9532982 w 12192000"/>
              <a:gd name="connsiteY723" fmla="*/ 6361277 h 6858000"/>
              <a:gd name="connsiteX724" fmla="*/ 9512557 w 12192000"/>
              <a:gd name="connsiteY724" fmla="*/ 6347981 h 6858000"/>
              <a:gd name="connsiteX725" fmla="*/ 9877718 w 12192000"/>
              <a:gd name="connsiteY725" fmla="*/ 6347970 h 6858000"/>
              <a:gd name="connsiteX726" fmla="*/ 9849618 w 12192000"/>
              <a:gd name="connsiteY726" fmla="*/ 6373017 h 6858000"/>
              <a:gd name="connsiteX727" fmla="*/ 9880513 w 12192000"/>
              <a:gd name="connsiteY727" fmla="*/ 6392977 h 6858000"/>
              <a:gd name="connsiteX728" fmla="*/ 9875157 w 12192000"/>
              <a:gd name="connsiteY728" fmla="*/ 6409492 h 6858000"/>
              <a:gd name="connsiteX729" fmla="*/ 9857924 w 12192000"/>
              <a:gd name="connsiteY729" fmla="*/ 6397752 h 6858000"/>
              <a:gd name="connsiteX730" fmla="*/ 9845038 w 12192000"/>
              <a:gd name="connsiteY730" fmla="*/ 6403309 h 6858000"/>
              <a:gd name="connsiteX731" fmla="*/ 9900152 w 12192000"/>
              <a:gd name="connsiteY731" fmla="*/ 6394855 h 6858000"/>
              <a:gd name="connsiteX732" fmla="*/ 9867705 w 12192000"/>
              <a:gd name="connsiteY732" fmla="*/ 6373174 h 6858000"/>
              <a:gd name="connsiteX733" fmla="*/ 9870577 w 12192000"/>
              <a:gd name="connsiteY733" fmla="*/ 6360416 h 6858000"/>
              <a:gd name="connsiteX734" fmla="*/ 9888819 w 12192000"/>
              <a:gd name="connsiteY734" fmla="*/ 6369495 h 6858000"/>
              <a:gd name="connsiteX735" fmla="*/ 9899531 w 12192000"/>
              <a:gd name="connsiteY735" fmla="*/ 6363703 h 6858000"/>
              <a:gd name="connsiteX736" fmla="*/ 9899531 w 12192000"/>
              <a:gd name="connsiteY736" fmla="*/ 6363546 h 6858000"/>
              <a:gd name="connsiteX737" fmla="*/ 9877718 w 12192000"/>
              <a:gd name="connsiteY737" fmla="*/ 6347970 h 6858000"/>
              <a:gd name="connsiteX738" fmla="*/ 9704010 w 12192000"/>
              <a:gd name="connsiteY738" fmla="*/ 6347957 h 6858000"/>
              <a:gd name="connsiteX739" fmla="*/ 9690485 w 12192000"/>
              <a:gd name="connsiteY739" fmla="*/ 6353215 h 6858000"/>
              <a:gd name="connsiteX740" fmla="*/ 9683344 w 12192000"/>
              <a:gd name="connsiteY740" fmla="*/ 6360416 h 6858000"/>
              <a:gd name="connsiteX741" fmla="*/ 9649266 w 12192000"/>
              <a:gd name="connsiteY741" fmla="*/ 6352902 h 6858000"/>
              <a:gd name="connsiteX742" fmla="*/ 9644686 w 12192000"/>
              <a:gd name="connsiteY742" fmla="*/ 6357128 h 6858000"/>
              <a:gd name="connsiteX743" fmla="*/ 9644686 w 12192000"/>
              <a:gd name="connsiteY743" fmla="*/ 6349301 h 6858000"/>
              <a:gd name="connsiteX744" fmla="*/ 9644531 w 12192000"/>
              <a:gd name="connsiteY744" fmla="*/ 6349301 h 6858000"/>
              <a:gd name="connsiteX745" fmla="*/ 9629549 w 12192000"/>
              <a:gd name="connsiteY745" fmla="*/ 6349301 h 6858000"/>
              <a:gd name="connsiteX746" fmla="*/ 9629549 w 12192000"/>
              <a:gd name="connsiteY746" fmla="*/ 6420686 h 6858000"/>
              <a:gd name="connsiteX747" fmla="*/ 9644531 w 12192000"/>
              <a:gd name="connsiteY747" fmla="*/ 6420686 h 6858000"/>
              <a:gd name="connsiteX748" fmla="*/ 9644531 w 12192000"/>
              <a:gd name="connsiteY748" fmla="*/ 6381080 h 6858000"/>
              <a:gd name="connsiteX749" fmla="*/ 9649111 w 12192000"/>
              <a:gd name="connsiteY749" fmla="*/ 6368008 h 6858000"/>
              <a:gd name="connsiteX750" fmla="*/ 9671234 w 12192000"/>
              <a:gd name="connsiteY750" fmla="*/ 6368634 h 6858000"/>
              <a:gd name="connsiteX751" fmla="*/ 9673175 w 12192000"/>
              <a:gd name="connsiteY751" fmla="*/ 6375835 h 6858000"/>
              <a:gd name="connsiteX752" fmla="*/ 9673175 w 12192000"/>
              <a:gd name="connsiteY752" fmla="*/ 6420686 h 6858000"/>
              <a:gd name="connsiteX753" fmla="*/ 9688777 w 12192000"/>
              <a:gd name="connsiteY753" fmla="*/ 6420686 h 6858000"/>
              <a:gd name="connsiteX754" fmla="*/ 9688777 w 12192000"/>
              <a:gd name="connsiteY754" fmla="*/ 6375835 h 6858000"/>
              <a:gd name="connsiteX755" fmla="*/ 9691261 w 12192000"/>
              <a:gd name="connsiteY755" fmla="*/ 6369808 h 6858000"/>
              <a:gd name="connsiteX756" fmla="*/ 9714937 w 12192000"/>
              <a:gd name="connsiteY756" fmla="*/ 6368478 h 6858000"/>
              <a:gd name="connsiteX757" fmla="*/ 9716800 w 12192000"/>
              <a:gd name="connsiteY757" fmla="*/ 6374505 h 6858000"/>
              <a:gd name="connsiteX758" fmla="*/ 9716800 w 12192000"/>
              <a:gd name="connsiteY758" fmla="*/ 6420686 h 6858000"/>
              <a:gd name="connsiteX759" fmla="*/ 9732403 w 12192000"/>
              <a:gd name="connsiteY759" fmla="*/ 6420686 h 6858000"/>
              <a:gd name="connsiteX760" fmla="*/ 9732403 w 12192000"/>
              <a:gd name="connsiteY760" fmla="*/ 6373174 h 6858000"/>
              <a:gd name="connsiteX761" fmla="*/ 9704010 w 12192000"/>
              <a:gd name="connsiteY761" fmla="*/ 6347957 h 6858000"/>
              <a:gd name="connsiteX762" fmla="*/ 3634690 w 12192000"/>
              <a:gd name="connsiteY762" fmla="*/ 6345040 h 6858000"/>
              <a:gd name="connsiteX763" fmla="*/ 3634690 w 12192000"/>
              <a:gd name="connsiteY763" fmla="*/ 6382936 h 6858000"/>
              <a:gd name="connsiteX764" fmla="*/ 3665967 w 12192000"/>
              <a:gd name="connsiteY764" fmla="*/ 6382936 h 6858000"/>
              <a:gd name="connsiteX765" fmla="*/ 3665967 w 12192000"/>
              <a:gd name="connsiteY765" fmla="*/ 6374691 h 6858000"/>
              <a:gd name="connsiteX766" fmla="*/ 3646559 w 12192000"/>
              <a:gd name="connsiteY766" fmla="*/ 6374691 h 6858000"/>
              <a:gd name="connsiteX767" fmla="*/ 3646559 w 12192000"/>
              <a:gd name="connsiteY767" fmla="*/ 6367234 h 6858000"/>
              <a:gd name="connsiteX768" fmla="*/ 3663195 w 12192000"/>
              <a:gd name="connsiteY768" fmla="*/ 6367234 h 6858000"/>
              <a:gd name="connsiteX769" fmla="*/ 3663195 w 12192000"/>
              <a:gd name="connsiteY769" fmla="*/ 6358988 h 6858000"/>
              <a:gd name="connsiteX770" fmla="*/ 3646645 w 12192000"/>
              <a:gd name="connsiteY770" fmla="*/ 6358988 h 6858000"/>
              <a:gd name="connsiteX771" fmla="*/ 3646645 w 12192000"/>
              <a:gd name="connsiteY771" fmla="*/ 6353374 h 6858000"/>
              <a:gd name="connsiteX772" fmla="*/ 3664406 w 12192000"/>
              <a:gd name="connsiteY772" fmla="*/ 6353374 h 6858000"/>
              <a:gd name="connsiteX773" fmla="*/ 3664406 w 12192000"/>
              <a:gd name="connsiteY773" fmla="*/ 6345040 h 6858000"/>
              <a:gd name="connsiteX774" fmla="*/ 3614157 w 12192000"/>
              <a:gd name="connsiteY774" fmla="*/ 6345040 h 6858000"/>
              <a:gd name="connsiteX775" fmla="*/ 3614157 w 12192000"/>
              <a:gd name="connsiteY775" fmla="*/ 6382936 h 6858000"/>
              <a:gd name="connsiteX776" fmla="*/ 3626026 w 12192000"/>
              <a:gd name="connsiteY776" fmla="*/ 6382936 h 6858000"/>
              <a:gd name="connsiteX777" fmla="*/ 3626026 w 12192000"/>
              <a:gd name="connsiteY777" fmla="*/ 6345040 h 6858000"/>
              <a:gd name="connsiteX778" fmla="*/ 3576813 w 12192000"/>
              <a:gd name="connsiteY778" fmla="*/ 6345040 h 6858000"/>
              <a:gd name="connsiteX779" fmla="*/ 3576813 w 12192000"/>
              <a:gd name="connsiteY779" fmla="*/ 6354339 h 6858000"/>
              <a:gd name="connsiteX780" fmla="*/ 3586430 w 12192000"/>
              <a:gd name="connsiteY780" fmla="*/ 6354339 h 6858000"/>
              <a:gd name="connsiteX781" fmla="*/ 3586430 w 12192000"/>
              <a:gd name="connsiteY781" fmla="*/ 6382936 h 6858000"/>
              <a:gd name="connsiteX782" fmla="*/ 3598214 w 12192000"/>
              <a:gd name="connsiteY782" fmla="*/ 6382936 h 6858000"/>
              <a:gd name="connsiteX783" fmla="*/ 3598214 w 12192000"/>
              <a:gd name="connsiteY783" fmla="*/ 6354339 h 6858000"/>
              <a:gd name="connsiteX784" fmla="*/ 3607744 w 12192000"/>
              <a:gd name="connsiteY784" fmla="*/ 6354339 h 6858000"/>
              <a:gd name="connsiteX785" fmla="*/ 3607744 w 12192000"/>
              <a:gd name="connsiteY785" fmla="*/ 6345040 h 6858000"/>
              <a:gd name="connsiteX786" fmla="*/ 3558619 w 12192000"/>
              <a:gd name="connsiteY786" fmla="*/ 6345040 h 6858000"/>
              <a:gd name="connsiteX787" fmla="*/ 3558619 w 12192000"/>
              <a:gd name="connsiteY787" fmla="*/ 6382936 h 6858000"/>
              <a:gd name="connsiteX788" fmla="*/ 3570490 w 12192000"/>
              <a:gd name="connsiteY788" fmla="*/ 6382936 h 6858000"/>
              <a:gd name="connsiteX789" fmla="*/ 3570490 w 12192000"/>
              <a:gd name="connsiteY789" fmla="*/ 6345040 h 6858000"/>
              <a:gd name="connsiteX790" fmla="*/ 4409831 w 12192000"/>
              <a:gd name="connsiteY790" fmla="*/ 6344864 h 6858000"/>
              <a:gd name="connsiteX791" fmla="*/ 4396810 w 12192000"/>
              <a:gd name="connsiteY791" fmla="*/ 6347233 h 6858000"/>
              <a:gd name="connsiteX792" fmla="*/ 4386411 w 12192000"/>
              <a:gd name="connsiteY792" fmla="*/ 6353987 h 6858000"/>
              <a:gd name="connsiteX793" fmla="*/ 4379507 w 12192000"/>
              <a:gd name="connsiteY793" fmla="*/ 6364514 h 6858000"/>
              <a:gd name="connsiteX794" fmla="*/ 4376973 w 12192000"/>
              <a:gd name="connsiteY794" fmla="*/ 6378199 h 6858000"/>
              <a:gd name="connsiteX795" fmla="*/ 4379507 w 12192000"/>
              <a:gd name="connsiteY795" fmla="*/ 6391884 h 6858000"/>
              <a:gd name="connsiteX796" fmla="*/ 4386498 w 12192000"/>
              <a:gd name="connsiteY796" fmla="*/ 6402060 h 6858000"/>
              <a:gd name="connsiteX797" fmla="*/ 4397072 w 12192000"/>
              <a:gd name="connsiteY797" fmla="*/ 6408464 h 6858000"/>
              <a:gd name="connsiteX798" fmla="*/ 4410355 w 12192000"/>
              <a:gd name="connsiteY798" fmla="*/ 6410744 h 6858000"/>
              <a:gd name="connsiteX799" fmla="*/ 4437008 w 12192000"/>
              <a:gd name="connsiteY799" fmla="*/ 6398288 h 6858000"/>
              <a:gd name="connsiteX800" fmla="*/ 4426697 w 12192000"/>
              <a:gd name="connsiteY800" fmla="*/ 6389954 h 6858000"/>
              <a:gd name="connsiteX801" fmla="*/ 4420055 w 12192000"/>
              <a:gd name="connsiteY801" fmla="*/ 6395831 h 6858000"/>
              <a:gd name="connsiteX802" fmla="*/ 4410180 w 12192000"/>
              <a:gd name="connsiteY802" fmla="*/ 6397937 h 6858000"/>
              <a:gd name="connsiteX803" fmla="*/ 4403714 w 12192000"/>
              <a:gd name="connsiteY803" fmla="*/ 6396796 h 6858000"/>
              <a:gd name="connsiteX804" fmla="*/ 4398121 w 12192000"/>
              <a:gd name="connsiteY804" fmla="*/ 6393638 h 6858000"/>
              <a:gd name="connsiteX805" fmla="*/ 4394188 w 12192000"/>
              <a:gd name="connsiteY805" fmla="*/ 6388814 h 6858000"/>
              <a:gd name="connsiteX806" fmla="*/ 4392441 w 12192000"/>
              <a:gd name="connsiteY806" fmla="*/ 6382673 h 6858000"/>
              <a:gd name="connsiteX807" fmla="*/ 4439630 w 12192000"/>
              <a:gd name="connsiteY807" fmla="*/ 6382673 h 6858000"/>
              <a:gd name="connsiteX808" fmla="*/ 4439805 w 12192000"/>
              <a:gd name="connsiteY808" fmla="*/ 6380568 h 6858000"/>
              <a:gd name="connsiteX809" fmla="*/ 4439805 w 12192000"/>
              <a:gd name="connsiteY809" fmla="*/ 6378462 h 6858000"/>
              <a:gd name="connsiteX810" fmla="*/ 4439892 w 12192000"/>
              <a:gd name="connsiteY810" fmla="*/ 6378638 h 6858000"/>
              <a:gd name="connsiteX811" fmla="*/ 4437620 w 12192000"/>
              <a:gd name="connsiteY811" fmla="*/ 6363900 h 6858000"/>
              <a:gd name="connsiteX812" fmla="*/ 4431328 w 12192000"/>
              <a:gd name="connsiteY812" fmla="*/ 6353373 h 6858000"/>
              <a:gd name="connsiteX813" fmla="*/ 4421803 w 12192000"/>
              <a:gd name="connsiteY813" fmla="*/ 6346969 h 6858000"/>
              <a:gd name="connsiteX814" fmla="*/ 4409831 w 12192000"/>
              <a:gd name="connsiteY814" fmla="*/ 6344864 h 6858000"/>
              <a:gd name="connsiteX815" fmla="*/ 4218976 w 12192000"/>
              <a:gd name="connsiteY815" fmla="*/ 6344864 h 6858000"/>
              <a:gd name="connsiteX816" fmla="*/ 4204907 w 12192000"/>
              <a:gd name="connsiteY816" fmla="*/ 6347320 h 6858000"/>
              <a:gd name="connsiteX817" fmla="*/ 4192673 w 12192000"/>
              <a:gd name="connsiteY817" fmla="*/ 6354689 h 6858000"/>
              <a:gd name="connsiteX818" fmla="*/ 4200712 w 12192000"/>
              <a:gd name="connsiteY818" fmla="*/ 6364163 h 6858000"/>
              <a:gd name="connsiteX819" fmla="*/ 4208227 w 12192000"/>
              <a:gd name="connsiteY819" fmla="*/ 6359075 h 6858000"/>
              <a:gd name="connsiteX820" fmla="*/ 4217665 w 12192000"/>
              <a:gd name="connsiteY820" fmla="*/ 6356970 h 6858000"/>
              <a:gd name="connsiteX821" fmla="*/ 4227715 w 12192000"/>
              <a:gd name="connsiteY821" fmla="*/ 6359777 h 6858000"/>
              <a:gd name="connsiteX822" fmla="*/ 4231910 w 12192000"/>
              <a:gd name="connsiteY822" fmla="*/ 6368374 h 6858000"/>
              <a:gd name="connsiteX823" fmla="*/ 4231910 w 12192000"/>
              <a:gd name="connsiteY823" fmla="*/ 6369953 h 6858000"/>
              <a:gd name="connsiteX824" fmla="*/ 4217054 w 12192000"/>
              <a:gd name="connsiteY824" fmla="*/ 6370655 h 6858000"/>
              <a:gd name="connsiteX825" fmla="*/ 4203246 w 12192000"/>
              <a:gd name="connsiteY825" fmla="*/ 6373550 h 6858000"/>
              <a:gd name="connsiteX826" fmla="*/ 4193109 w 12192000"/>
              <a:gd name="connsiteY826" fmla="*/ 6379953 h 6858000"/>
              <a:gd name="connsiteX827" fmla="*/ 4189177 w 12192000"/>
              <a:gd name="connsiteY827" fmla="*/ 6391094 h 6858000"/>
              <a:gd name="connsiteX828" fmla="*/ 4191450 w 12192000"/>
              <a:gd name="connsiteY828" fmla="*/ 6400218 h 6858000"/>
              <a:gd name="connsiteX829" fmla="*/ 4197129 w 12192000"/>
              <a:gd name="connsiteY829" fmla="*/ 6406183 h 6858000"/>
              <a:gd name="connsiteX830" fmla="*/ 4204645 w 12192000"/>
              <a:gd name="connsiteY830" fmla="*/ 6409429 h 6858000"/>
              <a:gd name="connsiteX831" fmla="*/ 4212509 w 12192000"/>
              <a:gd name="connsiteY831" fmla="*/ 6410394 h 6858000"/>
              <a:gd name="connsiteX832" fmla="*/ 4224307 w 12192000"/>
              <a:gd name="connsiteY832" fmla="*/ 6407762 h 6858000"/>
              <a:gd name="connsiteX833" fmla="*/ 4231822 w 12192000"/>
              <a:gd name="connsiteY833" fmla="*/ 6400919 h 6858000"/>
              <a:gd name="connsiteX834" fmla="*/ 4232172 w 12192000"/>
              <a:gd name="connsiteY834" fmla="*/ 6400919 h 6858000"/>
              <a:gd name="connsiteX835" fmla="*/ 4232172 w 12192000"/>
              <a:gd name="connsiteY835" fmla="*/ 6401183 h 6858000"/>
              <a:gd name="connsiteX836" fmla="*/ 4232172 w 12192000"/>
              <a:gd name="connsiteY836" fmla="*/ 6409078 h 6858000"/>
              <a:gd name="connsiteX837" fmla="*/ 4246678 w 12192000"/>
              <a:gd name="connsiteY837" fmla="*/ 6409078 h 6858000"/>
              <a:gd name="connsiteX838" fmla="*/ 4246678 w 12192000"/>
              <a:gd name="connsiteY838" fmla="*/ 6371181 h 6858000"/>
              <a:gd name="connsiteX839" fmla="*/ 4245455 w 12192000"/>
              <a:gd name="connsiteY839" fmla="*/ 6361795 h 6858000"/>
              <a:gd name="connsiteX840" fmla="*/ 4241085 w 12192000"/>
              <a:gd name="connsiteY840" fmla="*/ 6353373 h 6858000"/>
              <a:gd name="connsiteX841" fmla="*/ 4232609 w 12192000"/>
              <a:gd name="connsiteY841" fmla="*/ 6347233 h 6858000"/>
              <a:gd name="connsiteX842" fmla="*/ 4218976 w 12192000"/>
              <a:gd name="connsiteY842" fmla="*/ 6344864 h 6858000"/>
              <a:gd name="connsiteX843" fmla="*/ 4525094 w 12192000"/>
              <a:gd name="connsiteY843" fmla="*/ 6344777 h 6858000"/>
              <a:gd name="connsiteX844" fmla="*/ 4516006 w 12192000"/>
              <a:gd name="connsiteY844" fmla="*/ 6345917 h 6858000"/>
              <a:gd name="connsiteX845" fmla="*/ 4508141 w 12192000"/>
              <a:gd name="connsiteY845" fmla="*/ 6349514 h 6858000"/>
              <a:gd name="connsiteX846" fmla="*/ 4502548 w 12192000"/>
              <a:gd name="connsiteY846" fmla="*/ 6355655 h 6858000"/>
              <a:gd name="connsiteX847" fmla="*/ 4500451 w 12192000"/>
              <a:gd name="connsiteY847" fmla="*/ 6364603 h 6858000"/>
              <a:gd name="connsiteX848" fmla="*/ 4502024 w 12192000"/>
              <a:gd name="connsiteY848" fmla="*/ 6371971 h 6858000"/>
              <a:gd name="connsiteX849" fmla="*/ 4506131 w 12192000"/>
              <a:gd name="connsiteY849" fmla="*/ 6376972 h 6858000"/>
              <a:gd name="connsiteX850" fmla="*/ 4511986 w 12192000"/>
              <a:gd name="connsiteY850" fmla="*/ 6380217 h 6858000"/>
              <a:gd name="connsiteX851" fmla="*/ 4518803 w 12192000"/>
              <a:gd name="connsiteY851" fmla="*/ 6382235 h 6858000"/>
              <a:gd name="connsiteX852" fmla="*/ 4529464 w 12192000"/>
              <a:gd name="connsiteY852" fmla="*/ 6385568 h 6858000"/>
              <a:gd name="connsiteX853" fmla="*/ 4533047 w 12192000"/>
              <a:gd name="connsiteY853" fmla="*/ 6391183 h 6858000"/>
              <a:gd name="connsiteX854" fmla="*/ 4532173 w 12192000"/>
              <a:gd name="connsiteY854" fmla="*/ 6394692 h 6858000"/>
              <a:gd name="connsiteX855" fmla="*/ 4529813 w 12192000"/>
              <a:gd name="connsiteY855" fmla="*/ 6396973 h 6858000"/>
              <a:gd name="connsiteX856" fmla="*/ 4526580 w 12192000"/>
              <a:gd name="connsiteY856" fmla="*/ 6398201 h 6858000"/>
              <a:gd name="connsiteX857" fmla="*/ 4523172 w 12192000"/>
              <a:gd name="connsiteY857" fmla="*/ 6398552 h 6858000"/>
              <a:gd name="connsiteX858" fmla="*/ 4513996 w 12192000"/>
              <a:gd name="connsiteY858" fmla="*/ 6396358 h 6858000"/>
              <a:gd name="connsiteX859" fmla="*/ 4507267 w 12192000"/>
              <a:gd name="connsiteY859" fmla="*/ 6390744 h 6858000"/>
              <a:gd name="connsiteX860" fmla="*/ 4497043 w 12192000"/>
              <a:gd name="connsiteY860" fmla="*/ 6400394 h 6858000"/>
              <a:gd name="connsiteX861" fmla="*/ 4508403 w 12192000"/>
              <a:gd name="connsiteY861" fmla="*/ 6408026 h 6858000"/>
              <a:gd name="connsiteX862" fmla="*/ 4522473 w 12192000"/>
              <a:gd name="connsiteY862" fmla="*/ 6410657 h 6858000"/>
              <a:gd name="connsiteX863" fmla="*/ 4532260 w 12192000"/>
              <a:gd name="connsiteY863" fmla="*/ 6409517 h 6858000"/>
              <a:gd name="connsiteX864" fmla="*/ 4540562 w 12192000"/>
              <a:gd name="connsiteY864" fmla="*/ 6405920 h 6858000"/>
              <a:gd name="connsiteX865" fmla="*/ 4546242 w 12192000"/>
              <a:gd name="connsiteY865" fmla="*/ 6399517 h 6858000"/>
              <a:gd name="connsiteX866" fmla="*/ 4548340 w 12192000"/>
              <a:gd name="connsiteY866" fmla="*/ 6389867 h 6858000"/>
              <a:gd name="connsiteX867" fmla="*/ 4546504 w 12192000"/>
              <a:gd name="connsiteY867" fmla="*/ 6382147 h 6858000"/>
              <a:gd name="connsiteX868" fmla="*/ 4541785 w 12192000"/>
              <a:gd name="connsiteY868" fmla="*/ 6376796 h 6858000"/>
              <a:gd name="connsiteX869" fmla="*/ 4535319 w 12192000"/>
              <a:gd name="connsiteY869" fmla="*/ 6373375 h 6858000"/>
              <a:gd name="connsiteX870" fmla="*/ 4528240 w 12192000"/>
              <a:gd name="connsiteY870" fmla="*/ 6371270 h 6858000"/>
              <a:gd name="connsiteX871" fmla="*/ 4518191 w 12192000"/>
              <a:gd name="connsiteY871" fmla="*/ 6368199 h 6858000"/>
              <a:gd name="connsiteX872" fmla="*/ 4514783 w 12192000"/>
              <a:gd name="connsiteY872" fmla="*/ 6363111 h 6858000"/>
              <a:gd name="connsiteX873" fmla="*/ 4517929 w 12192000"/>
              <a:gd name="connsiteY873" fmla="*/ 6357936 h 6858000"/>
              <a:gd name="connsiteX874" fmla="*/ 4524745 w 12192000"/>
              <a:gd name="connsiteY874" fmla="*/ 6356357 h 6858000"/>
              <a:gd name="connsiteX875" fmla="*/ 4532610 w 12192000"/>
              <a:gd name="connsiteY875" fmla="*/ 6358374 h 6858000"/>
              <a:gd name="connsiteX876" fmla="*/ 4538290 w 12192000"/>
              <a:gd name="connsiteY876" fmla="*/ 6363111 h 6858000"/>
              <a:gd name="connsiteX877" fmla="*/ 4538290 w 12192000"/>
              <a:gd name="connsiteY877" fmla="*/ 6363199 h 6858000"/>
              <a:gd name="connsiteX878" fmla="*/ 4548340 w 12192000"/>
              <a:gd name="connsiteY878" fmla="*/ 6354251 h 6858000"/>
              <a:gd name="connsiteX879" fmla="*/ 4538203 w 12192000"/>
              <a:gd name="connsiteY879" fmla="*/ 6347146 h 6858000"/>
              <a:gd name="connsiteX880" fmla="*/ 4525094 w 12192000"/>
              <a:gd name="connsiteY880" fmla="*/ 6344777 h 6858000"/>
              <a:gd name="connsiteX881" fmla="*/ 6545640 w 12192000"/>
              <a:gd name="connsiteY881" fmla="*/ 6344769 h 6858000"/>
              <a:gd name="connsiteX882" fmla="*/ 6549894 w 12192000"/>
              <a:gd name="connsiteY882" fmla="*/ 6377173 h 6858000"/>
              <a:gd name="connsiteX883" fmla="*/ 6545640 w 12192000"/>
              <a:gd name="connsiteY883" fmla="*/ 6344769 h 6858000"/>
              <a:gd name="connsiteX884" fmla="*/ 4297974 w 12192000"/>
              <a:gd name="connsiteY884" fmla="*/ 6344601 h 6858000"/>
              <a:gd name="connsiteX885" fmla="*/ 4287138 w 12192000"/>
              <a:gd name="connsiteY885" fmla="*/ 6347935 h 6858000"/>
              <a:gd name="connsiteX886" fmla="*/ 4279885 w 12192000"/>
              <a:gd name="connsiteY886" fmla="*/ 6356795 h 6858000"/>
              <a:gd name="connsiteX887" fmla="*/ 4279623 w 12192000"/>
              <a:gd name="connsiteY887" fmla="*/ 6356795 h 6858000"/>
              <a:gd name="connsiteX888" fmla="*/ 4279623 w 12192000"/>
              <a:gd name="connsiteY888" fmla="*/ 6346443 h 6858000"/>
              <a:gd name="connsiteX889" fmla="*/ 4264767 w 12192000"/>
              <a:gd name="connsiteY889" fmla="*/ 6346443 h 6858000"/>
              <a:gd name="connsiteX890" fmla="*/ 4264767 w 12192000"/>
              <a:gd name="connsiteY890" fmla="*/ 6408815 h 6858000"/>
              <a:gd name="connsiteX891" fmla="*/ 4280322 w 12192000"/>
              <a:gd name="connsiteY891" fmla="*/ 6408815 h 6858000"/>
              <a:gd name="connsiteX892" fmla="*/ 4280322 w 12192000"/>
              <a:gd name="connsiteY892" fmla="*/ 6375392 h 6858000"/>
              <a:gd name="connsiteX893" fmla="*/ 4280934 w 12192000"/>
              <a:gd name="connsiteY893" fmla="*/ 6370830 h 6858000"/>
              <a:gd name="connsiteX894" fmla="*/ 4283381 w 12192000"/>
              <a:gd name="connsiteY894" fmla="*/ 6365216 h 6858000"/>
              <a:gd name="connsiteX895" fmla="*/ 4288449 w 12192000"/>
              <a:gd name="connsiteY895" fmla="*/ 6360567 h 6858000"/>
              <a:gd name="connsiteX896" fmla="*/ 4297013 w 12192000"/>
              <a:gd name="connsiteY896" fmla="*/ 6358637 h 6858000"/>
              <a:gd name="connsiteX897" fmla="*/ 4299110 w 12192000"/>
              <a:gd name="connsiteY897" fmla="*/ 6358725 h 6858000"/>
              <a:gd name="connsiteX898" fmla="*/ 4301732 w 12192000"/>
              <a:gd name="connsiteY898" fmla="*/ 6359251 h 6858000"/>
              <a:gd name="connsiteX899" fmla="*/ 4301732 w 12192000"/>
              <a:gd name="connsiteY899" fmla="*/ 6344952 h 6858000"/>
              <a:gd name="connsiteX900" fmla="*/ 4299897 w 12192000"/>
              <a:gd name="connsiteY900" fmla="*/ 6344601 h 6858000"/>
              <a:gd name="connsiteX901" fmla="*/ 4297974 w 12192000"/>
              <a:gd name="connsiteY901" fmla="*/ 6344601 h 6858000"/>
              <a:gd name="connsiteX902" fmla="*/ 3691006 w 12192000"/>
              <a:gd name="connsiteY902" fmla="*/ 6343724 h 6858000"/>
              <a:gd name="connsiteX903" fmla="*/ 3675843 w 12192000"/>
              <a:gd name="connsiteY903" fmla="*/ 6350743 h 6858000"/>
              <a:gd name="connsiteX904" fmla="*/ 3674458 w 12192000"/>
              <a:gd name="connsiteY904" fmla="*/ 6356532 h 6858000"/>
              <a:gd name="connsiteX905" fmla="*/ 3677664 w 12192000"/>
              <a:gd name="connsiteY905" fmla="*/ 6364252 h 6858000"/>
              <a:gd name="connsiteX906" fmla="*/ 3687367 w 12192000"/>
              <a:gd name="connsiteY906" fmla="*/ 6368199 h 6858000"/>
              <a:gd name="connsiteX907" fmla="*/ 3694385 w 12192000"/>
              <a:gd name="connsiteY907" fmla="*/ 6369691 h 6858000"/>
              <a:gd name="connsiteX908" fmla="*/ 3696205 w 12192000"/>
              <a:gd name="connsiteY908" fmla="*/ 6371094 h 6858000"/>
              <a:gd name="connsiteX909" fmla="*/ 3696465 w 12192000"/>
              <a:gd name="connsiteY909" fmla="*/ 6371972 h 6858000"/>
              <a:gd name="connsiteX910" fmla="*/ 3690746 w 12192000"/>
              <a:gd name="connsiteY910" fmla="*/ 6374866 h 6858000"/>
              <a:gd name="connsiteX911" fmla="*/ 3682082 w 12192000"/>
              <a:gd name="connsiteY911" fmla="*/ 6372147 h 6858000"/>
              <a:gd name="connsiteX912" fmla="*/ 3680262 w 12192000"/>
              <a:gd name="connsiteY912" fmla="*/ 6369866 h 6858000"/>
              <a:gd name="connsiteX913" fmla="*/ 3671166 w 12192000"/>
              <a:gd name="connsiteY913" fmla="*/ 6375744 h 6858000"/>
              <a:gd name="connsiteX914" fmla="*/ 3675152 w 12192000"/>
              <a:gd name="connsiteY914" fmla="*/ 6379779 h 6858000"/>
              <a:gd name="connsiteX915" fmla="*/ 3690226 w 12192000"/>
              <a:gd name="connsiteY915" fmla="*/ 6384077 h 6858000"/>
              <a:gd name="connsiteX916" fmla="*/ 3702962 w 12192000"/>
              <a:gd name="connsiteY916" fmla="*/ 6380569 h 6858000"/>
              <a:gd name="connsiteX917" fmla="*/ 3703309 w 12192000"/>
              <a:gd name="connsiteY917" fmla="*/ 6380569 h 6858000"/>
              <a:gd name="connsiteX918" fmla="*/ 3708247 w 12192000"/>
              <a:gd name="connsiteY918" fmla="*/ 6370656 h 6858000"/>
              <a:gd name="connsiteX919" fmla="*/ 3700104 w 12192000"/>
              <a:gd name="connsiteY919" fmla="*/ 6360216 h 6858000"/>
              <a:gd name="connsiteX920" fmla="*/ 3691525 w 12192000"/>
              <a:gd name="connsiteY920" fmla="*/ 6358286 h 6858000"/>
              <a:gd name="connsiteX921" fmla="*/ 3687367 w 12192000"/>
              <a:gd name="connsiteY921" fmla="*/ 6357146 h 6858000"/>
              <a:gd name="connsiteX922" fmla="*/ 3686414 w 12192000"/>
              <a:gd name="connsiteY922" fmla="*/ 6355392 h 6858000"/>
              <a:gd name="connsiteX923" fmla="*/ 3687887 w 12192000"/>
              <a:gd name="connsiteY923" fmla="*/ 6353374 h 6858000"/>
              <a:gd name="connsiteX924" fmla="*/ 3690659 w 12192000"/>
              <a:gd name="connsiteY924" fmla="*/ 6352935 h 6858000"/>
              <a:gd name="connsiteX925" fmla="*/ 3699410 w 12192000"/>
              <a:gd name="connsiteY925" fmla="*/ 6355567 h 6858000"/>
              <a:gd name="connsiteX926" fmla="*/ 3700451 w 12192000"/>
              <a:gd name="connsiteY926" fmla="*/ 6356795 h 6858000"/>
              <a:gd name="connsiteX927" fmla="*/ 3707900 w 12192000"/>
              <a:gd name="connsiteY927" fmla="*/ 6350479 h 6858000"/>
              <a:gd name="connsiteX928" fmla="*/ 3705041 w 12192000"/>
              <a:gd name="connsiteY928" fmla="*/ 6347847 h 6858000"/>
              <a:gd name="connsiteX929" fmla="*/ 3691006 w 12192000"/>
              <a:gd name="connsiteY929" fmla="*/ 6343724 h 6858000"/>
              <a:gd name="connsiteX930" fmla="*/ 3533580 w 12192000"/>
              <a:gd name="connsiteY930" fmla="*/ 6343636 h 6858000"/>
              <a:gd name="connsiteX931" fmla="*/ 3517985 w 12192000"/>
              <a:gd name="connsiteY931" fmla="*/ 6351531 h 6858000"/>
              <a:gd name="connsiteX932" fmla="*/ 3514087 w 12192000"/>
              <a:gd name="connsiteY932" fmla="*/ 6364163 h 6858000"/>
              <a:gd name="connsiteX933" fmla="*/ 3520844 w 12192000"/>
              <a:gd name="connsiteY933" fmla="*/ 6379779 h 6858000"/>
              <a:gd name="connsiteX934" fmla="*/ 3533493 w 12192000"/>
              <a:gd name="connsiteY934" fmla="*/ 6384165 h 6858000"/>
              <a:gd name="connsiteX935" fmla="*/ 3548829 w 12192000"/>
              <a:gd name="connsiteY935" fmla="*/ 6377673 h 6858000"/>
              <a:gd name="connsiteX936" fmla="*/ 3548743 w 12192000"/>
              <a:gd name="connsiteY936" fmla="*/ 6377586 h 6858000"/>
              <a:gd name="connsiteX937" fmla="*/ 3551688 w 12192000"/>
              <a:gd name="connsiteY937" fmla="*/ 6373112 h 6858000"/>
              <a:gd name="connsiteX938" fmla="*/ 3541552 w 12192000"/>
              <a:gd name="connsiteY938" fmla="*/ 6368199 h 6858000"/>
              <a:gd name="connsiteX939" fmla="*/ 3540685 w 12192000"/>
              <a:gd name="connsiteY939" fmla="*/ 6370392 h 6858000"/>
              <a:gd name="connsiteX940" fmla="*/ 3533927 w 12192000"/>
              <a:gd name="connsiteY940" fmla="*/ 6374428 h 6858000"/>
              <a:gd name="connsiteX941" fmla="*/ 3529508 w 12192000"/>
              <a:gd name="connsiteY941" fmla="*/ 6372936 h 6858000"/>
              <a:gd name="connsiteX942" fmla="*/ 3526042 w 12192000"/>
              <a:gd name="connsiteY942" fmla="*/ 6363462 h 6858000"/>
              <a:gd name="connsiteX943" fmla="*/ 3529594 w 12192000"/>
              <a:gd name="connsiteY943" fmla="*/ 6354251 h 6858000"/>
              <a:gd name="connsiteX944" fmla="*/ 3533927 w 12192000"/>
              <a:gd name="connsiteY944" fmla="*/ 6352935 h 6858000"/>
              <a:gd name="connsiteX945" fmla="*/ 3541205 w 12192000"/>
              <a:gd name="connsiteY945" fmla="*/ 6358110 h 6858000"/>
              <a:gd name="connsiteX946" fmla="*/ 3541725 w 12192000"/>
              <a:gd name="connsiteY946" fmla="*/ 6359252 h 6858000"/>
              <a:gd name="connsiteX947" fmla="*/ 3551688 w 12192000"/>
              <a:gd name="connsiteY947" fmla="*/ 6354251 h 6858000"/>
              <a:gd name="connsiteX948" fmla="*/ 3549262 w 12192000"/>
              <a:gd name="connsiteY948" fmla="*/ 6350567 h 6858000"/>
              <a:gd name="connsiteX949" fmla="*/ 3533580 w 12192000"/>
              <a:gd name="connsiteY949" fmla="*/ 6343636 h 6858000"/>
              <a:gd name="connsiteX950" fmla="*/ 6460784 w 12192000"/>
              <a:gd name="connsiteY950" fmla="*/ 6340150 h 6858000"/>
              <a:gd name="connsiteX951" fmla="*/ 6434639 w 12192000"/>
              <a:gd name="connsiteY951" fmla="*/ 6358388 h 6858000"/>
              <a:gd name="connsiteX952" fmla="*/ 6434639 w 12192000"/>
              <a:gd name="connsiteY952" fmla="*/ 6491295 h 6858000"/>
              <a:gd name="connsiteX953" fmla="*/ 6460784 w 12192000"/>
              <a:gd name="connsiteY953" fmla="*/ 6491295 h 6858000"/>
              <a:gd name="connsiteX954" fmla="*/ 6460784 w 12192000"/>
              <a:gd name="connsiteY954" fmla="*/ 6444096 h 6858000"/>
              <a:gd name="connsiteX955" fmla="*/ 6492730 w 12192000"/>
              <a:gd name="connsiteY955" fmla="*/ 6491295 h 6858000"/>
              <a:gd name="connsiteX956" fmla="*/ 6524676 w 12192000"/>
              <a:gd name="connsiteY956" fmla="*/ 6491295 h 6858000"/>
              <a:gd name="connsiteX957" fmla="*/ 6485227 w 12192000"/>
              <a:gd name="connsiteY957" fmla="*/ 6434234 h 6858000"/>
              <a:gd name="connsiteX958" fmla="*/ 6525218 w 12192000"/>
              <a:gd name="connsiteY958" fmla="*/ 6388444 h 6858000"/>
              <a:gd name="connsiteX959" fmla="*/ 6492730 w 12192000"/>
              <a:gd name="connsiteY959" fmla="*/ 6388444 h 6858000"/>
              <a:gd name="connsiteX960" fmla="*/ 6460784 w 12192000"/>
              <a:gd name="connsiteY960" fmla="*/ 6425546 h 6858000"/>
              <a:gd name="connsiteX961" fmla="*/ 4458593 w 12192000"/>
              <a:gd name="connsiteY961" fmla="*/ 6328372 h 6858000"/>
              <a:gd name="connsiteX962" fmla="*/ 4458593 w 12192000"/>
              <a:gd name="connsiteY962" fmla="*/ 6346443 h 6858000"/>
              <a:gd name="connsiteX963" fmla="*/ 4447757 w 12192000"/>
              <a:gd name="connsiteY963" fmla="*/ 6346443 h 6858000"/>
              <a:gd name="connsiteX964" fmla="*/ 4447757 w 12192000"/>
              <a:gd name="connsiteY964" fmla="*/ 6358724 h 6858000"/>
              <a:gd name="connsiteX965" fmla="*/ 4458593 w 12192000"/>
              <a:gd name="connsiteY965" fmla="*/ 6358724 h 6858000"/>
              <a:gd name="connsiteX966" fmla="*/ 4458593 w 12192000"/>
              <a:gd name="connsiteY966" fmla="*/ 6387849 h 6858000"/>
              <a:gd name="connsiteX967" fmla="*/ 4459467 w 12192000"/>
              <a:gd name="connsiteY967" fmla="*/ 6396358 h 6858000"/>
              <a:gd name="connsiteX968" fmla="*/ 4462613 w 12192000"/>
              <a:gd name="connsiteY968" fmla="*/ 6403376 h 6858000"/>
              <a:gd name="connsiteX969" fmla="*/ 4468730 w 12192000"/>
              <a:gd name="connsiteY969" fmla="*/ 6408201 h 6858000"/>
              <a:gd name="connsiteX970" fmla="*/ 4478780 w 12192000"/>
              <a:gd name="connsiteY970" fmla="*/ 6409955 h 6858000"/>
              <a:gd name="connsiteX971" fmla="*/ 4484198 w 12192000"/>
              <a:gd name="connsiteY971" fmla="*/ 6409516 h 6858000"/>
              <a:gd name="connsiteX972" fmla="*/ 4489091 w 12192000"/>
              <a:gd name="connsiteY972" fmla="*/ 6408288 h 6858000"/>
              <a:gd name="connsiteX973" fmla="*/ 4488567 w 12192000"/>
              <a:gd name="connsiteY973" fmla="*/ 6396095 h 6858000"/>
              <a:gd name="connsiteX974" fmla="*/ 4485334 w 12192000"/>
              <a:gd name="connsiteY974" fmla="*/ 6397060 h 6858000"/>
              <a:gd name="connsiteX975" fmla="*/ 4482013 w 12192000"/>
              <a:gd name="connsiteY975" fmla="*/ 6397411 h 6858000"/>
              <a:gd name="connsiteX976" fmla="*/ 4475371 w 12192000"/>
              <a:gd name="connsiteY976" fmla="*/ 6394691 h 6858000"/>
              <a:gd name="connsiteX977" fmla="*/ 4473886 w 12192000"/>
              <a:gd name="connsiteY977" fmla="*/ 6387849 h 6858000"/>
              <a:gd name="connsiteX978" fmla="*/ 4473886 w 12192000"/>
              <a:gd name="connsiteY978" fmla="*/ 6358900 h 6858000"/>
              <a:gd name="connsiteX979" fmla="*/ 4489441 w 12192000"/>
              <a:gd name="connsiteY979" fmla="*/ 6358900 h 6858000"/>
              <a:gd name="connsiteX980" fmla="*/ 4489441 w 12192000"/>
              <a:gd name="connsiteY980" fmla="*/ 6346443 h 6858000"/>
              <a:gd name="connsiteX981" fmla="*/ 4473886 w 12192000"/>
              <a:gd name="connsiteY981" fmla="*/ 6346443 h 6858000"/>
              <a:gd name="connsiteX982" fmla="*/ 4473886 w 12192000"/>
              <a:gd name="connsiteY982" fmla="*/ 6328372 h 6858000"/>
              <a:gd name="connsiteX983" fmla="*/ 9748782 w 12192000"/>
              <a:gd name="connsiteY983" fmla="*/ 6319870 h 6858000"/>
              <a:gd name="connsiteX984" fmla="*/ 9748782 w 12192000"/>
              <a:gd name="connsiteY984" fmla="*/ 6335525 h 6858000"/>
              <a:gd name="connsiteX985" fmla="*/ 9763997 w 12192000"/>
              <a:gd name="connsiteY985" fmla="*/ 6335525 h 6858000"/>
              <a:gd name="connsiteX986" fmla="*/ 9765006 w 12192000"/>
              <a:gd name="connsiteY986" fmla="*/ 6334585 h 6858000"/>
              <a:gd name="connsiteX987" fmla="*/ 9765006 w 12192000"/>
              <a:gd name="connsiteY987" fmla="*/ 6320809 h 6858000"/>
              <a:gd name="connsiteX988" fmla="*/ 9763997 w 12192000"/>
              <a:gd name="connsiteY988" fmla="*/ 6319870 h 6858000"/>
              <a:gd name="connsiteX989" fmla="*/ 9248096 w 12192000"/>
              <a:gd name="connsiteY989" fmla="*/ 6319870 h 6858000"/>
              <a:gd name="connsiteX990" fmla="*/ 9248096 w 12192000"/>
              <a:gd name="connsiteY990" fmla="*/ 6420685 h 6858000"/>
              <a:gd name="connsiteX991" fmla="*/ 9314388 w 12192000"/>
              <a:gd name="connsiteY991" fmla="*/ 6420685 h 6858000"/>
              <a:gd name="connsiteX992" fmla="*/ 9314388 w 12192000"/>
              <a:gd name="connsiteY992" fmla="*/ 6405657 h 6858000"/>
              <a:gd name="connsiteX993" fmla="*/ 9264320 w 12192000"/>
              <a:gd name="connsiteY993" fmla="*/ 6405657 h 6858000"/>
              <a:gd name="connsiteX994" fmla="*/ 9264320 w 12192000"/>
              <a:gd name="connsiteY994" fmla="*/ 6377479 h 6858000"/>
              <a:gd name="connsiteX995" fmla="*/ 9309886 w 12192000"/>
              <a:gd name="connsiteY995" fmla="*/ 6377479 h 6858000"/>
              <a:gd name="connsiteX996" fmla="*/ 9309886 w 12192000"/>
              <a:gd name="connsiteY996" fmla="*/ 6363076 h 6858000"/>
              <a:gd name="connsiteX997" fmla="*/ 9264320 w 12192000"/>
              <a:gd name="connsiteY997" fmla="*/ 6363076 h 6858000"/>
              <a:gd name="connsiteX998" fmla="*/ 9264320 w 12192000"/>
              <a:gd name="connsiteY998" fmla="*/ 6334272 h 6858000"/>
              <a:gd name="connsiteX999" fmla="*/ 9314388 w 12192000"/>
              <a:gd name="connsiteY999" fmla="*/ 6334272 h 6858000"/>
              <a:gd name="connsiteX1000" fmla="*/ 9314388 w 12192000"/>
              <a:gd name="connsiteY1000" fmla="*/ 6319870 h 6858000"/>
              <a:gd name="connsiteX1001" fmla="*/ 4075312 w 12192000"/>
              <a:gd name="connsiteY1001" fmla="*/ 6316880 h 6858000"/>
              <a:gd name="connsiteX1002" fmla="*/ 4075312 w 12192000"/>
              <a:gd name="connsiteY1002" fmla="*/ 6408814 h 6858000"/>
              <a:gd name="connsiteX1003" fmla="*/ 4090866 w 12192000"/>
              <a:gd name="connsiteY1003" fmla="*/ 6408814 h 6858000"/>
              <a:gd name="connsiteX1004" fmla="*/ 4090866 w 12192000"/>
              <a:gd name="connsiteY1004" fmla="*/ 6334951 h 6858000"/>
              <a:gd name="connsiteX1005" fmla="*/ 4091128 w 12192000"/>
              <a:gd name="connsiteY1005" fmla="*/ 6334951 h 6858000"/>
              <a:gd name="connsiteX1006" fmla="*/ 4118568 w 12192000"/>
              <a:gd name="connsiteY1006" fmla="*/ 6408814 h 6858000"/>
              <a:gd name="connsiteX1007" fmla="*/ 4129929 w 12192000"/>
              <a:gd name="connsiteY1007" fmla="*/ 6408814 h 6858000"/>
              <a:gd name="connsiteX1008" fmla="*/ 4157718 w 12192000"/>
              <a:gd name="connsiteY1008" fmla="*/ 6334951 h 6858000"/>
              <a:gd name="connsiteX1009" fmla="*/ 4157980 w 12192000"/>
              <a:gd name="connsiteY1009" fmla="*/ 6334951 h 6858000"/>
              <a:gd name="connsiteX1010" fmla="*/ 4157980 w 12192000"/>
              <a:gd name="connsiteY1010" fmla="*/ 6408814 h 6858000"/>
              <a:gd name="connsiteX1011" fmla="*/ 4174146 w 12192000"/>
              <a:gd name="connsiteY1011" fmla="*/ 6408814 h 6858000"/>
              <a:gd name="connsiteX1012" fmla="*/ 4174146 w 12192000"/>
              <a:gd name="connsiteY1012" fmla="*/ 6316880 h 6858000"/>
              <a:gd name="connsiteX1013" fmla="*/ 4148543 w 12192000"/>
              <a:gd name="connsiteY1013" fmla="*/ 6316880 h 6858000"/>
              <a:gd name="connsiteX1014" fmla="*/ 4125035 w 12192000"/>
              <a:gd name="connsiteY1014" fmla="*/ 6382234 h 6858000"/>
              <a:gd name="connsiteX1015" fmla="*/ 4124686 w 12192000"/>
              <a:gd name="connsiteY1015" fmla="*/ 6382234 h 6858000"/>
              <a:gd name="connsiteX1016" fmla="*/ 4100916 w 12192000"/>
              <a:gd name="connsiteY1016" fmla="*/ 6316880 h 6858000"/>
              <a:gd name="connsiteX1017" fmla="*/ 4075399 w 12192000"/>
              <a:gd name="connsiteY1017" fmla="*/ 6316880 h 6858000"/>
              <a:gd name="connsiteX1018" fmla="*/ 4312394 w 12192000"/>
              <a:gd name="connsiteY1018" fmla="*/ 6310652 h 6858000"/>
              <a:gd name="connsiteX1019" fmla="*/ 4312394 w 12192000"/>
              <a:gd name="connsiteY1019" fmla="*/ 6408815 h 6858000"/>
              <a:gd name="connsiteX1020" fmla="*/ 4327949 w 12192000"/>
              <a:gd name="connsiteY1020" fmla="*/ 6408815 h 6858000"/>
              <a:gd name="connsiteX1021" fmla="*/ 4327949 w 12192000"/>
              <a:gd name="connsiteY1021" fmla="*/ 6376883 h 6858000"/>
              <a:gd name="connsiteX1022" fmla="*/ 4328299 w 12192000"/>
              <a:gd name="connsiteY1022" fmla="*/ 6376883 h 6858000"/>
              <a:gd name="connsiteX1023" fmla="*/ 4352854 w 12192000"/>
              <a:gd name="connsiteY1023" fmla="*/ 6408815 h 6858000"/>
              <a:gd name="connsiteX1024" fmla="*/ 4373391 w 12192000"/>
              <a:gd name="connsiteY1024" fmla="*/ 6408815 h 6858000"/>
              <a:gd name="connsiteX1025" fmla="*/ 4344815 w 12192000"/>
              <a:gd name="connsiteY1025" fmla="*/ 6374690 h 6858000"/>
              <a:gd name="connsiteX1026" fmla="*/ 4371730 w 12192000"/>
              <a:gd name="connsiteY1026" fmla="*/ 6346531 h 6858000"/>
              <a:gd name="connsiteX1027" fmla="*/ 4351806 w 12192000"/>
              <a:gd name="connsiteY1027" fmla="*/ 6346531 h 6858000"/>
              <a:gd name="connsiteX1028" fmla="*/ 4328299 w 12192000"/>
              <a:gd name="connsiteY1028" fmla="*/ 6372760 h 6858000"/>
              <a:gd name="connsiteX1029" fmla="*/ 4327949 w 12192000"/>
              <a:gd name="connsiteY1029" fmla="*/ 6372760 h 6858000"/>
              <a:gd name="connsiteX1030" fmla="*/ 4327949 w 12192000"/>
              <a:gd name="connsiteY1030" fmla="*/ 6310652 h 6858000"/>
              <a:gd name="connsiteX1031" fmla="*/ 7532188 w 12192000"/>
              <a:gd name="connsiteY1031" fmla="*/ 6305048 h 6858000"/>
              <a:gd name="connsiteX1032" fmla="*/ 7532266 w 12192000"/>
              <a:gd name="connsiteY1032" fmla="*/ 6305048 h 6858000"/>
              <a:gd name="connsiteX1033" fmla="*/ 7532266 w 12192000"/>
              <a:gd name="connsiteY1033" fmla="*/ 6491177 h 6858000"/>
              <a:gd name="connsiteX1034" fmla="*/ 7201795 w 12192000"/>
              <a:gd name="connsiteY1034" fmla="*/ 6491177 h 6858000"/>
              <a:gd name="connsiteX1035" fmla="*/ 7201795 w 12192000"/>
              <a:gd name="connsiteY1035" fmla="*/ 6491176 h 6858000"/>
              <a:gd name="connsiteX1036" fmla="*/ 7532188 w 12192000"/>
              <a:gd name="connsiteY1036" fmla="*/ 6491176 h 6858000"/>
              <a:gd name="connsiteX1037" fmla="*/ 11227334 w 12192000"/>
              <a:gd name="connsiteY1037" fmla="*/ 6301177 h 6858000"/>
              <a:gd name="connsiteX1038" fmla="*/ 11245035 w 12192000"/>
              <a:gd name="connsiteY1038" fmla="*/ 6302743 h 6858000"/>
              <a:gd name="connsiteX1039" fmla="*/ 11247054 w 12192000"/>
              <a:gd name="connsiteY1039" fmla="*/ 6303339 h 6858000"/>
              <a:gd name="connsiteX1040" fmla="*/ 11251712 w 12192000"/>
              <a:gd name="connsiteY1040" fmla="*/ 6309675 h 6858000"/>
              <a:gd name="connsiteX1041" fmla="*/ 11251712 w 12192000"/>
              <a:gd name="connsiteY1041" fmla="*/ 6331965 h 6858000"/>
              <a:gd name="connsiteX1042" fmla="*/ 11251712 w 12192000"/>
              <a:gd name="connsiteY1042" fmla="*/ 6353956 h 6858000"/>
              <a:gd name="connsiteX1043" fmla="*/ 11247442 w 12192000"/>
              <a:gd name="connsiteY1043" fmla="*/ 6360068 h 6858000"/>
              <a:gd name="connsiteX1044" fmla="*/ 11221667 w 12192000"/>
              <a:gd name="connsiteY1044" fmla="*/ 6361485 h 6858000"/>
              <a:gd name="connsiteX1045" fmla="*/ 11204276 w 12192000"/>
              <a:gd name="connsiteY1045" fmla="*/ 6345979 h 6858000"/>
              <a:gd name="connsiteX1046" fmla="*/ 11204276 w 12192000"/>
              <a:gd name="connsiteY1046" fmla="*/ 6317801 h 6858000"/>
              <a:gd name="connsiteX1047" fmla="*/ 11227334 w 12192000"/>
              <a:gd name="connsiteY1047" fmla="*/ 6301177 h 6858000"/>
              <a:gd name="connsiteX1048" fmla="*/ 11493160 w 12192000"/>
              <a:gd name="connsiteY1048" fmla="*/ 6301029 h 6858000"/>
              <a:gd name="connsiteX1049" fmla="*/ 11501079 w 12192000"/>
              <a:gd name="connsiteY1049" fmla="*/ 6301923 h 6858000"/>
              <a:gd name="connsiteX1050" fmla="*/ 11518392 w 12192000"/>
              <a:gd name="connsiteY1050" fmla="*/ 6316907 h 6858000"/>
              <a:gd name="connsiteX1051" fmla="*/ 11518392 w 12192000"/>
              <a:gd name="connsiteY1051" fmla="*/ 6346725 h 6858000"/>
              <a:gd name="connsiteX1052" fmla="*/ 11518315 w 12192000"/>
              <a:gd name="connsiteY1052" fmla="*/ 6346725 h 6858000"/>
              <a:gd name="connsiteX1053" fmla="*/ 11491375 w 12192000"/>
              <a:gd name="connsiteY1053" fmla="*/ 6362455 h 6858000"/>
              <a:gd name="connsiteX1054" fmla="*/ 11482602 w 12192000"/>
              <a:gd name="connsiteY1054" fmla="*/ 6360516 h 6858000"/>
              <a:gd name="connsiteX1055" fmla="*/ 11468783 w 12192000"/>
              <a:gd name="connsiteY1055" fmla="*/ 6346427 h 6858000"/>
              <a:gd name="connsiteX1056" fmla="*/ 11468860 w 12192000"/>
              <a:gd name="connsiteY1056" fmla="*/ 6316833 h 6858000"/>
              <a:gd name="connsiteX1057" fmla="*/ 11493160 w 12192000"/>
              <a:gd name="connsiteY1057" fmla="*/ 6301029 h 6858000"/>
              <a:gd name="connsiteX1058" fmla="*/ 7512597 w 12192000"/>
              <a:gd name="connsiteY1058" fmla="*/ 6295635 h 6858000"/>
              <a:gd name="connsiteX1059" fmla="*/ 7526907 w 12192000"/>
              <a:gd name="connsiteY1059" fmla="*/ 6305047 h 6858000"/>
              <a:gd name="connsiteX1060" fmla="*/ 7526831 w 12192000"/>
              <a:gd name="connsiteY1060" fmla="*/ 6305047 h 6858000"/>
              <a:gd name="connsiteX1061" fmla="*/ 7512579 w 12192000"/>
              <a:gd name="connsiteY1061" fmla="*/ 6295673 h 6858000"/>
              <a:gd name="connsiteX1062" fmla="*/ 7521321 w 12192000"/>
              <a:gd name="connsiteY1062" fmla="*/ 6292315 h 6858000"/>
              <a:gd name="connsiteX1063" fmla="*/ 7521322 w 12192000"/>
              <a:gd name="connsiteY1063" fmla="*/ 6292315 h 6858000"/>
              <a:gd name="connsiteX1064" fmla="*/ 7523466 w 12192000"/>
              <a:gd name="connsiteY1064" fmla="*/ 6293686 h 6858000"/>
              <a:gd name="connsiteX1065" fmla="*/ 7438053 w 12192000"/>
              <a:gd name="connsiteY1065" fmla="*/ 6289282 h 6858000"/>
              <a:gd name="connsiteX1066" fmla="*/ 7448156 w 12192000"/>
              <a:gd name="connsiteY1066" fmla="*/ 6307880 h 6858000"/>
              <a:gd name="connsiteX1067" fmla="*/ 7452699 w 12192000"/>
              <a:gd name="connsiteY1067" fmla="*/ 6310227 h 6858000"/>
              <a:gd name="connsiteX1068" fmla="*/ 7452670 w 12192000"/>
              <a:gd name="connsiteY1068" fmla="*/ 6310252 h 6858000"/>
              <a:gd name="connsiteX1069" fmla="*/ 7448078 w 12192000"/>
              <a:gd name="connsiteY1069" fmla="*/ 6307879 h 6858000"/>
              <a:gd name="connsiteX1070" fmla="*/ 7438002 w 12192000"/>
              <a:gd name="connsiteY1070" fmla="*/ 6289329 h 6858000"/>
              <a:gd name="connsiteX1071" fmla="*/ 7516792 w 12192000"/>
              <a:gd name="connsiteY1071" fmla="*/ 6284930 h 6858000"/>
              <a:gd name="connsiteX1072" fmla="*/ 7517724 w 12192000"/>
              <a:gd name="connsiteY1072" fmla="*/ 6286373 h 6858000"/>
              <a:gd name="connsiteX1073" fmla="*/ 7520616 w 12192000"/>
              <a:gd name="connsiteY1073" fmla="*/ 6291150 h 6858000"/>
              <a:gd name="connsiteX1074" fmla="*/ 7517724 w 12192000"/>
              <a:gd name="connsiteY1074" fmla="*/ 6286374 h 6858000"/>
              <a:gd name="connsiteX1075" fmla="*/ 7511448 w 12192000"/>
              <a:gd name="connsiteY1075" fmla="*/ 6281475 h 6858000"/>
              <a:gd name="connsiteX1076" fmla="*/ 7514131 w 12192000"/>
              <a:gd name="connsiteY1076" fmla="*/ 6282317 h 6858000"/>
              <a:gd name="connsiteX1077" fmla="*/ 7511449 w 12192000"/>
              <a:gd name="connsiteY1077" fmla="*/ 6281476 h 6858000"/>
              <a:gd name="connsiteX1078" fmla="*/ 7508158 w 12192000"/>
              <a:gd name="connsiteY1078" fmla="*/ 6283848 h 6858000"/>
              <a:gd name="connsiteX1079" fmla="*/ 7494688 w 12192000"/>
              <a:gd name="connsiteY1079" fmla="*/ 6312702 h 6858000"/>
              <a:gd name="connsiteX1080" fmla="*/ 7494688 w 12192000"/>
              <a:gd name="connsiteY1080" fmla="*/ 6312700 h 6858000"/>
              <a:gd name="connsiteX1081" fmla="*/ 7508157 w 12192000"/>
              <a:gd name="connsiteY1081" fmla="*/ 6283848 h 6858000"/>
              <a:gd name="connsiteX1082" fmla="*/ 7511448 w 12192000"/>
              <a:gd name="connsiteY1082" fmla="*/ 6281475 h 6858000"/>
              <a:gd name="connsiteX1083" fmla="*/ 11660311 w 12192000"/>
              <a:gd name="connsiteY1083" fmla="*/ 6276727 h 6858000"/>
              <a:gd name="connsiteX1084" fmla="*/ 11653789 w 12192000"/>
              <a:gd name="connsiteY1084" fmla="*/ 6283063 h 6858000"/>
              <a:gd name="connsiteX1085" fmla="*/ 11653789 w 12192000"/>
              <a:gd name="connsiteY1085" fmla="*/ 6380420 h 6858000"/>
              <a:gd name="connsiteX1086" fmla="*/ 11653789 w 12192000"/>
              <a:gd name="connsiteY1086" fmla="*/ 6382731 h 6858000"/>
              <a:gd name="connsiteX1087" fmla="*/ 11658370 w 12192000"/>
              <a:gd name="connsiteY1087" fmla="*/ 6386831 h 6858000"/>
              <a:gd name="connsiteX1088" fmla="*/ 11662640 w 12192000"/>
              <a:gd name="connsiteY1088" fmla="*/ 6386831 h 6858000"/>
              <a:gd name="connsiteX1089" fmla="*/ 11678167 w 12192000"/>
              <a:gd name="connsiteY1089" fmla="*/ 6386831 h 6858000"/>
              <a:gd name="connsiteX1090" fmla="*/ 11683679 w 12192000"/>
              <a:gd name="connsiteY1090" fmla="*/ 6381687 h 6858000"/>
              <a:gd name="connsiteX1091" fmla="*/ 11683679 w 12192000"/>
              <a:gd name="connsiteY1091" fmla="*/ 6331742 h 6858000"/>
              <a:gd name="connsiteX1092" fmla="*/ 11683757 w 12192000"/>
              <a:gd name="connsiteY1092" fmla="*/ 6331742 h 6858000"/>
              <a:gd name="connsiteX1093" fmla="*/ 11683757 w 12192000"/>
              <a:gd name="connsiteY1093" fmla="*/ 6282020 h 6858000"/>
              <a:gd name="connsiteX1094" fmla="*/ 11678245 w 12192000"/>
              <a:gd name="connsiteY1094" fmla="*/ 6276727 h 6858000"/>
              <a:gd name="connsiteX1095" fmla="*/ 7439583 w 12192000"/>
              <a:gd name="connsiteY1095" fmla="*/ 6275965 h 6858000"/>
              <a:gd name="connsiteX1096" fmla="*/ 7442491 w 12192000"/>
              <a:gd name="connsiteY1096" fmla="*/ 6278261 h 6858000"/>
              <a:gd name="connsiteX1097" fmla="*/ 7442491 w 12192000"/>
              <a:gd name="connsiteY1097" fmla="*/ 6278262 h 6858000"/>
              <a:gd name="connsiteX1098" fmla="*/ 7439584 w 12192000"/>
              <a:gd name="connsiteY1098" fmla="*/ 6275966 h 6858000"/>
              <a:gd name="connsiteX1099" fmla="*/ 7435910 w 12192000"/>
              <a:gd name="connsiteY1099" fmla="*/ 6276578 h 6858000"/>
              <a:gd name="connsiteX1100" fmla="*/ 7433538 w 12192000"/>
              <a:gd name="connsiteY1100" fmla="*/ 6279486 h 6858000"/>
              <a:gd name="connsiteX1101" fmla="*/ 7406292 w 12192000"/>
              <a:gd name="connsiteY1101" fmla="*/ 6295788 h 6858000"/>
              <a:gd name="connsiteX1102" fmla="*/ 7325473 w 12192000"/>
              <a:gd name="connsiteY1102" fmla="*/ 6295788 h 6858000"/>
              <a:gd name="connsiteX1103" fmla="*/ 7324325 w 12192000"/>
              <a:gd name="connsiteY1103" fmla="*/ 6304971 h 6858000"/>
              <a:gd name="connsiteX1104" fmla="*/ 7324247 w 12192000"/>
              <a:gd name="connsiteY1104" fmla="*/ 6304971 h 6858000"/>
              <a:gd name="connsiteX1105" fmla="*/ 7325395 w 12192000"/>
              <a:gd name="connsiteY1105" fmla="*/ 6295787 h 6858000"/>
              <a:gd name="connsiteX1106" fmla="*/ 7325472 w 12192000"/>
              <a:gd name="connsiteY1106" fmla="*/ 6295787 h 6858000"/>
              <a:gd name="connsiteX1107" fmla="*/ 7406291 w 12192000"/>
              <a:gd name="connsiteY1107" fmla="*/ 6295787 h 6858000"/>
              <a:gd name="connsiteX1108" fmla="*/ 7433537 w 12192000"/>
              <a:gd name="connsiteY1108" fmla="*/ 6279485 h 6858000"/>
              <a:gd name="connsiteX1109" fmla="*/ 7435909 w 12192000"/>
              <a:gd name="connsiteY1109" fmla="*/ 6276577 h 6858000"/>
              <a:gd name="connsiteX1110" fmla="*/ 7439583 w 12192000"/>
              <a:gd name="connsiteY1110" fmla="*/ 6275965 h 6858000"/>
              <a:gd name="connsiteX1111" fmla="*/ 11481282 w 12192000"/>
              <a:gd name="connsiteY1111" fmla="*/ 6275460 h 6858000"/>
              <a:gd name="connsiteX1112" fmla="*/ 11442697 w 12192000"/>
              <a:gd name="connsiteY1112" fmla="*/ 6302818 h 6858000"/>
              <a:gd name="connsiteX1113" fmla="*/ 11440368 w 12192000"/>
              <a:gd name="connsiteY1113" fmla="*/ 6355522 h 6858000"/>
              <a:gd name="connsiteX1114" fmla="*/ 11473984 w 12192000"/>
              <a:gd name="connsiteY1114" fmla="*/ 6386086 h 6858000"/>
              <a:gd name="connsiteX1115" fmla="*/ 11503797 w 12192000"/>
              <a:gd name="connsiteY1115" fmla="*/ 6388322 h 6858000"/>
              <a:gd name="connsiteX1116" fmla="*/ 11544090 w 12192000"/>
              <a:gd name="connsiteY1116" fmla="*/ 6361635 h 6858000"/>
              <a:gd name="connsiteX1117" fmla="*/ 11551388 w 12192000"/>
              <a:gd name="connsiteY1117" fmla="*/ 6329580 h 6858000"/>
              <a:gd name="connsiteX1118" fmla="*/ 11548903 w 12192000"/>
              <a:gd name="connsiteY1118" fmla="*/ 6313553 h 6858000"/>
              <a:gd name="connsiteX1119" fmla="*/ 11548826 w 12192000"/>
              <a:gd name="connsiteY1119" fmla="*/ 6313553 h 6858000"/>
              <a:gd name="connsiteX1120" fmla="*/ 11515442 w 12192000"/>
              <a:gd name="connsiteY1120" fmla="*/ 6278143 h 6858000"/>
              <a:gd name="connsiteX1121" fmla="*/ 11481282 w 12192000"/>
              <a:gd name="connsiteY1121" fmla="*/ 6275460 h 6858000"/>
              <a:gd name="connsiteX1122" fmla="*/ 11350775 w 12192000"/>
              <a:gd name="connsiteY1122" fmla="*/ 6275012 h 6858000"/>
              <a:gd name="connsiteX1123" fmla="*/ 11315451 w 12192000"/>
              <a:gd name="connsiteY1123" fmla="*/ 6282318 h 6858000"/>
              <a:gd name="connsiteX1124" fmla="*/ 11309473 w 12192000"/>
              <a:gd name="connsiteY1124" fmla="*/ 6289474 h 6858000"/>
              <a:gd name="connsiteX1125" fmla="*/ 11309395 w 12192000"/>
              <a:gd name="connsiteY1125" fmla="*/ 6292307 h 6858000"/>
              <a:gd name="connsiteX1126" fmla="*/ 11309395 w 12192000"/>
              <a:gd name="connsiteY1126" fmla="*/ 6336140 h 6858000"/>
              <a:gd name="connsiteX1127" fmla="*/ 11309240 w 12192000"/>
              <a:gd name="connsiteY1127" fmla="*/ 6336065 h 6858000"/>
              <a:gd name="connsiteX1128" fmla="*/ 11309240 w 12192000"/>
              <a:gd name="connsiteY1128" fmla="*/ 6381762 h 6858000"/>
              <a:gd name="connsiteX1129" fmla="*/ 11314364 w 12192000"/>
              <a:gd name="connsiteY1129" fmla="*/ 6386831 h 6858000"/>
              <a:gd name="connsiteX1130" fmla="*/ 11323758 w 12192000"/>
              <a:gd name="connsiteY1130" fmla="*/ 6386831 h 6858000"/>
              <a:gd name="connsiteX1131" fmla="*/ 11334472 w 12192000"/>
              <a:gd name="connsiteY1131" fmla="*/ 6386831 h 6858000"/>
              <a:gd name="connsiteX1132" fmla="*/ 11339208 w 12192000"/>
              <a:gd name="connsiteY1132" fmla="*/ 6382358 h 6858000"/>
              <a:gd name="connsiteX1133" fmla="*/ 11339208 w 12192000"/>
              <a:gd name="connsiteY1133" fmla="*/ 6309527 h 6858000"/>
              <a:gd name="connsiteX1134" fmla="*/ 11344797 w 12192000"/>
              <a:gd name="connsiteY1134" fmla="*/ 6302743 h 6858000"/>
              <a:gd name="connsiteX1135" fmla="*/ 11352406 w 12192000"/>
              <a:gd name="connsiteY1135" fmla="*/ 6301401 h 6858000"/>
              <a:gd name="connsiteX1136" fmla="*/ 11368942 w 12192000"/>
              <a:gd name="connsiteY1136" fmla="*/ 6301699 h 6858000"/>
              <a:gd name="connsiteX1137" fmla="*/ 11382917 w 12192000"/>
              <a:gd name="connsiteY1137" fmla="*/ 6313030 h 6858000"/>
              <a:gd name="connsiteX1138" fmla="*/ 11383926 w 12192000"/>
              <a:gd name="connsiteY1138" fmla="*/ 6320634 h 6858000"/>
              <a:gd name="connsiteX1139" fmla="*/ 11383926 w 12192000"/>
              <a:gd name="connsiteY1139" fmla="*/ 6380122 h 6858000"/>
              <a:gd name="connsiteX1140" fmla="*/ 11383926 w 12192000"/>
              <a:gd name="connsiteY1140" fmla="*/ 6382433 h 6858000"/>
              <a:gd name="connsiteX1141" fmla="*/ 11388662 w 12192000"/>
              <a:gd name="connsiteY1141" fmla="*/ 6386831 h 6858000"/>
              <a:gd name="connsiteX1142" fmla="*/ 11408925 w 12192000"/>
              <a:gd name="connsiteY1142" fmla="*/ 6386831 h 6858000"/>
              <a:gd name="connsiteX1143" fmla="*/ 11413661 w 12192000"/>
              <a:gd name="connsiteY1143" fmla="*/ 6382209 h 6858000"/>
              <a:gd name="connsiteX1144" fmla="*/ 11413661 w 12192000"/>
              <a:gd name="connsiteY1144" fmla="*/ 6315565 h 6858000"/>
              <a:gd name="connsiteX1145" fmla="*/ 11412962 w 12192000"/>
              <a:gd name="connsiteY1145" fmla="*/ 6306620 h 6858000"/>
              <a:gd name="connsiteX1146" fmla="*/ 11394019 w 12192000"/>
              <a:gd name="connsiteY1146" fmla="*/ 6280901 h 6858000"/>
              <a:gd name="connsiteX1147" fmla="*/ 11376318 w 12192000"/>
              <a:gd name="connsiteY1147" fmla="*/ 6275608 h 6858000"/>
              <a:gd name="connsiteX1148" fmla="*/ 11350775 w 12192000"/>
              <a:gd name="connsiteY1148" fmla="*/ 6275012 h 6858000"/>
              <a:gd name="connsiteX1149" fmla="*/ 11240222 w 12192000"/>
              <a:gd name="connsiteY1149" fmla="*/ 6274788 h 6858000"/>
              <a:gd name="connsiteX1150" fmla="*/ 11215301 w 12192000"/>
              <a:gd name="connsiteY1150" fmla="*/ 6275981 h 6858000"/>
              <a:gd name="connsiteX1151" fmla="*/ 11174775 w 12192000"/>
              <a:gd name="connsiteY1151" fmla="*/ 6311166 h 6858000"/>
              <a:gd name="connsiteX1152" fmla="*/ 11175473 w 12192000"/>
              <a:gd name="connsiteY1152" fmla="*/ 6355670 h 6858000"/>
              <a:gd name="connsiteX1153" fmla="*/ 11196901 w 12192000"/>
              <a:gd name="connsiteY1153" fmla="*/ 6381239 h 6858000"/>
              <a:gd name="connsiteX1154" fmla="*/ 11223763 w 12192000"/>
              <a:gd name="connsiteY1154" fmla="*/ 6388694 h 6858000"/>
              <a:gd name="connsiteX1155" fmla="*/ 11256137 w 12192000"/>
              <a:gd name="connsiteY1155" fmla="*/ 6386159 h 6858000"/>
              <a:gd name="connsiteX1156" fmla="*/ 11275624 w 12192000"/>
              <a:gd name="connsiteY1156" fmla="*/ 6380121 h 6858000"/>
              <a:gd name="connsiteX1157" fmla="*/ 11281447 w 12192000"/>
              <a:gd name="connsiteY1157" fmla="*/ 6372518 h 6858000"/>
              <a:gd name="connsiteX1158" fmla="*/ 11281447 w 12192000"/>
              <a:gd name="connsiteY1158" fmla="*/ 6369983 h 6858000"/>
              <a:gd name="connsiteX1159" fmla="*/ 11281447 w 12192000"/>
              <a:gd name="connsiteY1159" fmla="*/ 6292903 h 6858000"/>
              <a:gd name="connsiteX1160" fmla="*/ 11281447 w 12192000"/>
              <a:gd name="connsiteY1160" fmla="*/ 6290666 h 6858000"/>
              <a:gd name="connsiteX1161" fmla="*/ 11281525 w 12192000"/>
              <a:gd name="connsiteY1161" fmla="*/ 6290666 h 6858000"/>
              <a:gd name="connsiteX1162" fmla="*/ 11275236 w 12192000"/>
              <a:gd name="connsiteY1162" fmla="*/ 6282392 h 6858000"/>
              <a:gd name="connsiteX1163" fmla="*/ 11274460 w 12192000"/>
              <a:gd name="connsiteY1163" fmla="*/ 6282094 h 6858000"/>
              <a:gd name="connsiteX1164" fmla="*/ 11240222 w 12192000"/>
              <a:gd name="connsiteY1164" fmla="*/ 6274788 h 6858000"/>
              <a:gd name="connsiteX1165" fmla="*/ 11105057 w 12192000"/>
              <a:gd name="connsiteY1165" fmla="*/ 6273521 h 6858000"/>
              <a:gd name="connsiteX1166" fmla="*/ 11079825 w 12192000"/>
              <a:gd name="connsiteY1166" fmla="*/ 6277025 h 6858000"/>
              <a:gd name="connsiteX1167" fmla="*/ 11052342 w 12192000"/>
              <a:gd name="connsiteY1167" fmla="*/ 6315341 h 6858000"/>
              <a:gd name="connsiteX1168" fmla="*/ 11066161 w 12192000"/>
              <a:gd name="connsiteY1168" fmla="*/ 6339568 h 6858000"/>
              <a:gd name="connsiteX1169" fmla="*/ 11083241 w 12192000"/>
              <a:gd name="connsiteY1169" fmla="*/ 6347247 h 6858000"/>
              <a:gd name="connsiteX1170" fmla="*/ 11105601 w 12192000"/>
              <a:gd name="connsiteY1170" fmla="*/ 6353956 h 6858000"/>
              <a:gd name="connsiteX1171" fmla="*/ 11118255 w 12192000"/>
              <a:gd name="connsiteY1171" fmla="*/ 6359845 h 6858000"/>
              <a:gd name="connsiteX1172" fmla="*/ 11126097 w 12192000"/>
              <a:gd name="connsiteY1172" fmla="*/ 6374680 h 6858000"/>
              <a:gd name="connsiteX1173" fmla="*/ 11124854 w 12192000"/>
              <a:gd name="connsiteY1173" fmla="*/ 6381985 h 6858000"/>
              <a:gd name="connsiteX1174" fmla="*/ 11128503 w 12192000"/>
              <a:gd name="connsiteY1174" fmla="*/ 6386830 h 6858000"/>
              <a:gd name="connsiteX1175" fmla="*/ 11138596 w 12192000"/>
              <a:gd name="connsiteY1175" fmla="*/ 6386830 h 6858000"/>
              <a:gd name="connsiteX1176" fmla="*/ 11138674 w 12192000"/>
              <a:gd name="connsiteY1176" fmla="*/ 6386830 h 6858000"/>
              <a:gd name="connsiteX1177" fmla="*/ 11148766 w 12192000"/>
              <a:gd name="connsiteY1177" fmla="*/ 6386830 h 6858000"/>
              <a:gd name="connsiteX1178" fmla="*/ 11154356 w 12192000"/>
              <a:gd name="connsiteY1178" fmla="*/ 6383029 h 6858000"/>
              <a:gd name="connsiteX1179" fmla="*/ 11154977 w 12192000"/>
              <a:gd name="connsiteY1179" fmla="*/ 6381090 h 6858000"/>
              <a:gd name="connsiteX1180" fmla="*/ 11156452 w 12192000"/>
              <a:gd name="connsiteY1180" fmla="*/ 6368418 h 6858000"/>
              <a:gd name="connsiteX1181" fmla="*/ 11146127 w 12192000"/>
              <a:gd name="connsiteY1181" fmla="*/ 6343594 h 6858000"/>
              <a:gd name="connsiteX1182" fmla="*/ 11134792 w 12192000"/>
              <a:gd name="connsiteY1182" fmla="*/ 6335618 h 6858000"/>
              <a:gd name="connsiteX1183" fmla="*/ 11115693 w 12192000"/>
              <a:gd name="connsiteY1183" fmla="*/ 6328387 h 6858000"/>
              <a:gd name="connsiteX1184" fmla="*/ 11094499 w 12192000"/>
              <a:gd name="connsiteY1184" fmla="*/ 6322199 h 6858000"/>
              <a:gd name="connsiteX1185" fmla="*/ 11086502 w 12192000"/>
              <a:gd name="connsiteY1185" fmla="*/ 6318174 h 6858000"/>
              <a:gd name="connsiteX1186" fmla="*/ 11086968 w 12192000"/>
              <a:gd name="connsiteY1186" fmla="*/ 6303712 h 6858000"/>
              <a:gd name="connsiteX1187" fmla="*/ 11093334 w 12192000"/>
              <a:gd name="connsiteY1187" fmla="*/ 6301177 h 6858000"/>
              <a:gd name="connsiteX1188" fmla="*/ 11115305 w 12192000"/>
              <a:gd name="connsiteY1188" fmla="*/ 6301923 h 6858000"/>
              <a:gd name="connsiteX1189" fmla="*/ 11136267 w 12192000"/>
              <a:gd name="connsiteY1189" fmla="*/ 6310048 h 6858000"/>
              <a:gd name="connsiteX1190" fmla="*/ 11145428 w 12192000"/>
              <a:gd name="connsiteY1190" fmla="*/ 6307141 h 6858000"/>
              <a:gd name="connsiteX1191" fmla="*/ 11150552 w 12192000"/>
              <a:gd name="connsiteY1191" fmla="*/ 6296705 h 6858000"/>
              <a:gd name="connsiteX1192" fmla="*/ 11152415 w 12192000"/>
              <a:gd name="connsiteY1192" fmla="*/ 6292679 h 6858000"/>
              <a:gd name="connsiteX1193" fmla="*/ 11149465 w 12192000"/>
              <a:gd name="connsiteY1193" fmla="*/ 6284777 h 6858000"/>
              <a:gd name="connsiteX1194" fmla="*/ 11144263 w 12192000"/>
              <a:gd name="connsiteY1194" fmla="*/ 6282168 h 6858000"/>
              <a:gd name="connsiteX1195" fmla="*/ 11105057 w 12192000"/>
              <a:gd name="connsiteY1195" fmla="*/ 6273521 h 6858000"/>
              <a:gd name="connsiteX1196" fmla="*/ 7224601 w 12192000"/>
              <a:gd name="connsiteY1196" fmla="*/ 6255454 h 6858000"/>
              <a:gd name="connsiteX1197" fmla="*/ 7224602 w 12192000"/>
              <a:gd name="connsiteY1197" fmla="*/ 6255454 h 6858000"/>
              <a:gd name="connsiteX1198" fmla="*/ 7224602 w 12192000"/>
              <a:gd name="connsiteY1198" fmla="*/ 6255455 h 6858000"/>
              <a:gd name="connsiteX1199" fmla="*/ 7224610 w 12192000"/>
              <a:gd name="connsiteY1199" fmla="*/ 6255455 h 6858000"/>
              <a:gd name="connsiteX1200" fmla="*/ 7224601 w 12192000"/>
              <a:gd name="connsiteY1200" fmla="*/ 6255530 h 6858000"/>
              <a:gd name="connsiteX1201" fmla="*/ 10467296 w 12192000"/>
              <a:gd name="connsiteY1201" fmla="*/ 6244327 h 6858000"/>
              <a:gd name="connsiteX1202" fmla="*/ 10458968 w 12192000"/>
              <a:gd name="connsiteY1202" fmla="*/ 6290209 h 6858000"/>
              <a:gd name="connsiteX1203" fmla="*/ 10451341 w 12192000"/>
              <a:gd name="connsiteY1203" fmla="*/ 6247577 h 6858000"/>
              <a:gd name="connsiteX1204" fmla="*/ 10467296 w 12192000"/>
              <a:gd name="connsiteY1204" fmla="*/ 6244327 h 6858000"/>
              <a:gd name="connsiteX1205" fmla="*/ 10524190 w 12192000"/>
              <a:gd name="connsiteY1205" fmla="*/ 6243631 h 6858000"/>
              <a:gd name="connsiteX1206" fmla="*/ 10530494 w 12192000"/>
              <a:gd name="connsiteY1206" fmla="*/ 6291370 h 6858000"/>
              <a:gd name="connsiteX1207" fmla="*/ 10516329 w 12192000"/>
              <a:gd name="connsiteY1207" fmla="*/ 6249202 h 6858000"/>
              <a:gd name="connsiteX1208" fmla="*/ 10524190 w 12192000"/>
              <a:gd name="connsiteY1208" fmla="*/ 6243631 h 6858000"/>
              <a:gd name="connsiteX1209" fmla="*/ 10270231 w 12192000"/>
              <a:gd name="connsiteY1209" fmla="*/ 6241030 h 6858000"/>
              <a:gd name="connsiteX1210" fmla="*/ 10258789 w 12192000"/>
              <a:gd name="connsiteY1210" fmla="*/ 6258796 h 6858000"/>
              <a:gd name="connsiteX1211" fmla="*/ 10284940 w 12192000"/>
              <a:gd name="connsiteY1211" fmla="*/ 6286651 h 6858000"/>
              <a:gd name="connsiteX1212" fmla="*/ 10259023 w 12192000"/>
              <a:gd name="connsiteY1212" fmla="*/ 6277289 h 6858000"/>
              <a:gd name="connsiteX1213" fmla="*/ 10256532 w 12192000"/>
              <a:gd name="connsiteY1213" fmla="*/ 6277289 h 6858000"/>
              <a:gd name="connsiteX1214" fmla="*/ 10258166 w 12192000"/>
              <a:gd name="connsiteY1214" fmla="*/ 6292067 h 6858000"/>
              <a:gd name="connsiteX1215" fmla="*/ 10295058 w 12192000"/>
              <a:gd name="connsiteY1215" fmla="*/ 6276979 h 6858000"/>
              <a:gd name="connsiteX1216" fmla="*/ 10267506 w 12192000"/>
              <a:gd name="connsiteY1216" fmla="*/ 6250904 h 6858000"/>
              <a:gd name="connsiteX1217" fmla="*/ 10275523 w 12192000"/>
              <a:gd name="connsiteY1217" fmla="*/ 6243477 h 6858000"/>
              <a:gd name="connsiteX1218" fmla="*/ 10291322 w 12192000"/>
              <a:gd name="connsiteY1218" fmla="*/ 6256243 h 6858000"/>
              <a:gd name="connsiteX1219" fmla="*/ 10293813 w 12192000"/>
              <a:gd name="connsiteY1219" fmla="*/ 6256243 h 6858000"/>
              <a:gd name="connsiteX1220" fmla="*/ 10293813 w 12192000"/>
              <a:gd name="connsiteY1220" fmla="*/ 6256166 h 6858000"/>
              <a:gd name="connsiteX1221" fmla="*/ 10293813 w 12192000"/>
              <a:gd name="connsiteY1221" fmla="*/ 6242471 h 6858000"/>
              <a:gd name="connsiteX1222" fmla="*/ 10270231 w 12192000"/>
              <a:gd name="connsiteY1222" fmla="*/ 6241030 h 6858000"/>
              <a:gd name="connsiteX1223" fmla="*/ 10566063 w 12192000"/>
              <a:gd name="connsiteY1223" fmla="*/ 6240923 h 6858000"/>
              <a:gd name="connsiteX1224" fmla="*/ 10566685 w 12192000"/>
              <a:gd name="connsiteY1224" fmla="*/ 6243167 h 6858000"/>
              <a:gd name="connsiteX1225" fmla="*/ 10574235 w 12192000"/>
              <a:gd name="connsiteY1225" fmla="*/ 6246494 h 6858000"/>
              <a:gd name="connsiteX1226" fmla="*/ 10574391 w 12192000"/>
              <a:gd name="connsiteY1226" fmla="*/ 6285954 h 6858000"/>
              <a:gd name="connsiteX1227" fmla="*/ 10564117 w 12192000"/>
              <a:gd name="connsiteY1227" fmla="*/ 6291370 h 6858000"/>
              <a:gd name="connsiteX1228" fmla="*/ 10564117 w 12192000"/>
              <a:gd name="connsiteY1228" fmla="*/ 6293924 h 6858000"/>
              <a:gd name="connsiteX1229" fmla="*/ 10610971 w 12192000"/>
              <a:gd name="connsiteY1229" fmla="*/ 6293924 h 6858000"/>
              <a:gd name="connsiteX1230" fmla="*/ 10610971 w 12192000"/>
              <a:gd name="connsiteY1230" fmla="*/ 6276747 h 6858000"/>
              <a:gd name="connsiteX1231" fmla="*/ 10608480 w 12192000"/>
              <a:gd name="connsiteY1231" fmla="*/ 6276747 h 6858000"/>
              <a:gd name="connsiteX1232" fmla="*/ 10600386 w 12192000"/>
              <a:gd name="connsiteY1232" fmla="*/ 6289436 h 6858000"/>
              <a:gd name="connsiteX1233" fmla="*/ 10584042 w 12192000"/>
              <a:gd name="connsiteY1233" fmla="*/ 6289436 h 6858000"/>
              <a:gd name="connsiteX1234" fmla="*/ 10584042 w 12192000"/>
              <a:gd name="connsiteY1234" fmla="*/ 6245720 h 6858000"/>
              <a:gd name="connsiteX1235" fmla="*/ 10592369 w 12192000"/>
              <a:gd name="connsiteY1235" fmla="*/ 6243476 h 6858000"/>
              <a:gd name="connsiteX1236" fmla="*/ 10592369 w 12192000"/>
              <a:gd name="connsiteY1236" fmla="*/ 6240923 h 6858000"/>
              <a:gd name="connsiteX1237" fmla="*/ 10388843 w 12192000"/>
              <a:gd name="connsiteY1237" fmla="*/ 6240923 h 6858000"/>
              <a:gd name="connsiteX1238" fmla="*/ 10388822 w 12192000"/>
              <a:gd name="connsiteY1238" fmla="*/ 6241000 h 6858000"/>
              <a:gd name="connsiteX1239" fmla="*/ 10363159 w 12192000"/>
              <a:gd name="connsiteY1239" fmla="*/ 6241000 h 6858000"/>
              <a:gd name="connsiteX1240" fmla="*/ 10363548 w 12192000"/>
              <a:gd name="connsiteY1240" fmla="*/ 6242935 h 6858000"/>
              <a:gd name="connsiteX1241" fmla="*/ 10371487 w 12192000"/>
              <a:gd name="connsiteY1241" fmla="*/ 6246416 h 6858000"/>
              <a:gd name="connsiteX1242" fmla="*/ 10371176 w 12192000"/>
              <a:gd name="connsiteY1242" fmla="*/ 6288894 h 6858000"/>
              <a:gd name="connsiteX1243" fmla="*/ 10363159 w 12192000"/>
              <a:gd name="connsiteY1243" fmla="*/ 6291448 h 6858000"/>
              <a:gd name="connsiteX1244" fmla="*/ 10363159 w 12192000"/>
              <a:gd name="connsiteY1244" fmla="*/ 6294001 h 6858000"/>
              <a:gd name="connsiteX1245" fmla="*/ 10388843 w 12192000"/>
              <a:gd name="connsiteY1245" fmla="*/ 6294001 h 6858000"/>
              <a:gd name="connsiteX1246" fmla="*/ 10388843 w 12192000"/>
              <a:gd name="connsiteY1246" fmla="*/ 6291448 h 6858000"/>
              <a:gd name="connsiteX1247" fmla="*/ 10381138 w 12192000"/>
              <a:gd name="connsiteY1247" fmla="*/ 6289204 h 6858000"/>
              <a:gd name="connsiteX1248" fmla="*/ 10381138 w 12192000"/>
              <a:gd name="connsiteY1248" fmla="*/ 6269087 h 6858000"/>
              <a:gd name="connsiteX1249" fmla="*/ 10409390 w 12192000"/>
              <a:gd name="connsiteY1249" fmla="*/ 6269087 h 6858000"/>
              <a:gd name="connsiteX1250" fmla="*/ 10409390 w 12192000"/>
              <a:gd name="connsiteY1250" fmla="*/ 6288585 h 6858000"/>
              <a:gd name="connsiteX1251" fmla="*/ 10401062 w 12192000"/>
              <a:gd name="connsiteY1251" fmla="*/ 6291448 h 6858000"/>
              <a:gd name="connsiteX1252" fmla="*/ 10401062 w 12192000"/>
              <a:gd name="connsiteY1252" fmla="*/ 6294001 h 6858000"/>
              <a:gd name="connsiteX1253" fmla="*/ 10427369 w 12192000"/>
              <a:gd name="connsiteY1253" fmla="*/ 6294001 h 6858000"/>
              <a:gd name="connsiteX1254" fmla="*/ 10427369 w 12192000"/>
              <a:gd name="connsiteY1254" fmla="*/ 6291448 h 6858000"/>
              <a:gd name="connsiteX1255" fmla="*/ 10419353 w 12192000"/>
              <a:gd name="connsiteY1255" fmla="*/ 6288894 h 6858000"/>
              <a:gd name="connsiteX1256" fmla="*/ 10419041 w 12192000"/>
              <a:gd name="connsiteY1256" fmla="*/ 6246416 h 6858000"/>
              <a:gd name="connsiteX1257" fmla="*/ 10426980 w 12192000"/>
              <a:gd name="connsiteY1257" fmla="*/ 6242935 h 6858000"/>
              <a:gd name="connsiteX1258" fmla="*/ 10427369 w 12192000"/>
              <a:gd name="connsiteY1258" fmla="*/ 6241000 h 6858000"/>
              <a:gd name="connsiteX1259" fmla="*/ 10401062 w 12192000"/>
              <a:gd name="connsiteY1259" fmla="*/ 6241000 h 6858000"/>
              <a:gd name="connsiteX1260" fmla="*/ 10401452 w 12192000"/>
              <a:gd name="connsiteY1260" fmla="*/ 6242935 h 6858000"/>
              <a:gd name="connsiteX1261" fmla="*/ 10409390 w 12192000"/>
              <a:gd name="connsiteY1261" fmla="*/ 6245720 h 6858000"/>
              <a:gd name="connsiteX1262" fmla="*/ 10409390 w 12192000"/>
              <a:gd name="connsiteY1262" fmla="*/ 6264522 h 6858000"/>
              <a:gd name="connsiteX1263" fmla="*/ 10381138 w 12192000"/>
              <a:gd name="connsiteY1263" fmla="*/ 6264522 h 6858000"/>
              <a:gd name="connsiteX1264" fmla="*/ 10381138 w 12192000"/>
              <a:gd name="connsiteY1264" fmla="*/ 6245720 h 6858000"/>
              <a:gd name="connsiteX1265" fmla="*/ 10388220 w 12192000"/>
              <a:gd name="connsiteY1265" fmla="*/ 6243167 h 6858000"/>
              <a:gd name="connsiteX1266" fmla="*/ 10388822 w 12192000"/>
              <a:gd name="connsiteY1266" fmla="*/ 6241000 h 6858000"/>
              <a:gd name="connsiteX1267" fmla="*/ 10388843 w 12192000"/>
              <a:gd name="connsiteY1267" fmla="*/ 6241000 h 6858000"/>
              <a:gd name="connsiteX1268" fmla="*/ 10525513 w 12192000"/>
              <a:gd name="connsiteY1268" fmla="*/ 6239840 h 6858000"/>
              <a:gd name="connsiteX1269" fmla="*/ 10531740 w 12192000"/>
              <a:gd name="connsiteY1269" fmla="*/ 6295161 h 6858000"/>
              <a:gd name="connsiteX1270" fmla="*/ 10525513 w 12192000"/>
              <a:gd name="connsiteY1270" fmla="*/ 6239840 h 6858000"/>
              <a:gd name="connsiteX1271" fmla="*/ 10459357 w 12192000"/>
              <a:gd name="connsiteY1271" fmla="*/ 6239840 h 6858000"/>
              <a:gd name="connsiteX1272" fmla="*/ 10465584 w 12192000"/>
              <a:gd name="connsiteY1272" fmla="*/ 6295161 h 6858000"/>
              <a:gd name="connsiteX1273" fmla="*/ 10459357 w 12192000"/>
              <a:gd name="connsiteY1273" fmla="*/ 6239840 h 6858000"/>
              <a:gd name="connsiteX1274" fmla="*/ 10337131 w 12192000"/>
              <a:gd name="connsiteY1274" fmla="*/ 6239489 h 6858000"/>
              <a:gd name="connsiteX1275" fmla="*/ 10305642 w 12192000"/>
              <a:gd name="connsiteY1275" fmla="*/ 6273111 h 6858000"/>
              <a:gd name="connsiteX1276" fmla="*/ 10353663 w 12192000"/>
              <a:gd name="connsiteY1276" fmla="*/ 6291835 h 6858000"/>
              <a:gd name="connsiteX1277" fmla="*/ 10356543 w 12192000"/>
              <a:gd name="connsiteY1277" fmla="*/ 6278682 h 6858000"/>
              <a:gd name="connsiteX1278" fmla="*/ 10353586 w 12192000"/>
              <a:gd name="connsiteY1278" fmla="*/ 6278063 h 6858000"/>
              <a:gd name="connsiteX1279" fmla="*/ 10321753 w 12192000"/>
              <a:gd name="connsiteY1279" fmla="*/ 6283788 h 6858000"/>
              <a:gd name="connsiteX1280" fmla="*/ 10323387 w 12192000"/>
              <a:gd name="connsiteY1280" fmla="*/ 6247036 h 6858000"/>
              <a:gd name="connsiteX1281" fmla="*/ 10352340 w 12192000"/>
              <a:gd name="connsiteY1281" fmla="*/ 6257559 h 6858000"/>
              <a:gd name="connsiteX1282" fmla="*/ 10354831 w 12192000"/>
              <a:gd name="connsiteY1282" fmla="*/ 6257559 h 6858000"/>
              <a:gd name="connsiteX1283" fmla="*/ 10354909 w 12192000"/>
              <a:gd name="connsiteY1283" fmla="*/ 6257636 h 6858000"/>
              <a:gd name="connsiteX1284" fmla="*/ 10354909 w 12192000"/>
              <a:gd name="connsiteY1284" fmla="*/ 6243245 h 6858000"/>
              <a:gd name="connsiteX1285" fmla="*/ 10337131 w 12192000"/>
              <a:gd name="connsiteY1285" fmla="*/ 6239489 h 6858000"/>
              <a:gd name="connsiteX1286" fmla="*/ 9544025 w 12192000"/>
              <a:gd name="connsiteY1286" fmla="*/ 6238457 h 6858000"/>
              <a:gd name="connsiteX1287" fmla="*/ 9563490 w 12192000"/>
              <a:gd name="connsiteY1287" fmla="*/ 6261558 h 6858000"/>
              <a:gd name="connsiteX1288" fmla="*/ 9524444 w 12192000"/>
              <a:gd name="connsiteY1288" fmla="*/ 6261558 h 6858000"/>
              <a:gd name="connsiteX1289" fmla="*/ 9544025 w 12192000"/>
              <a:gd name="connsiteY1289" fmla="*/ 6238457 h 6858000"/>
              <a:gd name="connsiteX1290" fmla="*/ 4546417 w 12192000"/>
              <a:gd name="connsiteY1290" fmla="*/ 6238368 h 6858000"/>
              <a:gd name="connsiteX1291" fmla="*/ 4549825 w 12192000"/>
              <a:gd name="connsiteY1291" fmla="*/ 6238368 h 6858000"/>
              <a:gd name="connsiteX1292" fmla="*/ 4549825 w 12192000"/>
              <a:gd name="connsiteY1292" fmla="*/ 6240561 h 6858000"/>
              <a:gd name="connsiteX1293" fmla="*/ 4545718 w 12192000"/>
              <a:gd name="connsiteY1293" fmla="*/ 6252228 h 6858000"/>
              <a:gd name="connsiteX1294" fmla="*/ 4533571 w 12192000"/>
              <a:gd name="connsiteY1294" fmla="*/ 6256527 h 6858000"/>
              <a:gd name="connsiteX1295" fmla="*/ 4529726 w 12192000"/>
              <a:gd name="connsiteY1295" fmla="*/ 6256176 h 6858000"/>
              <a:gd name="connsiteX1296" fmla="*/ 4526230 w 12192000"/>
              <a:gd name="connsiteY1296" fmla="*/ 6254860 h 6858000"/>
              <a:gd name="connsiteX1297" fmla="*/ 4523696 w 12192000"/>
              <a:gd name="connsiteY1297" fmla="*/ 6252492 h 6858000"/>
              <a:gd name="connsiteX1298" fmla="*/ 4522735 w 12192000"/>
              <a:gd name="connsiteY1298" fmla="*/ 6248807 h 6858000"/>
              <a:gd name="connsiteX1299" fmla="*/ 4525094 w 12192000"/>
              <a:gd name="connsiteY1299" fmla="*/ 6243281 h 6858000"/>
              <a:gd name="connsiteX1300" fmla="*/ 4530949 w 12192000"/>
              <a:gd name="connsiteY1300" fmla="*/ 6240123 h 6858000"/>
              <a:gd name="connsiteX1301" fmla="*/ 4538552 w 12192000"/>
              <a:gd name="connsiteY1301" fmla="*/ 6238719 h 6858000"/>
              <a:gd name="connsiteX1302" fmla="*/ 4546417 w 12192000"/>
              <a:gd name="connsiteY1302" fmla="*/ 6238368 h 6858000"/>
              <a:gd name="connsiteX1303" fmla="*/ 4364564 w 12192000"/>
              <a:gd name="connsiteY1303" fmla="*/ 6238368 h 6858000"/>
              <a:gd name="connsiteX1304" fmla="*/ 4367972 w 12192000"/>
              <a:gd name="connsiteY1304" fmla="*/ 6238368 h 6858000"/>
              <a:gd name="connsiteX1305" fmla="*/ 4367972 w 12192000"/>
              <a:gd name="connsiteY1305" fmla="*/ 6240561 h 6858000"/>
              <a:gd name="connsiteX1306" fmla="*/ 4363865 w 12192000"/>
              <a:gd name="connsiteY1306" fmla="*/ 6252228 h 6858000"/>
              <a:gd name="connsiteX1307" fmla="*/ 4351718 w 12192000"/>
              <a:gd name="connsiteY1307" fmla="*/ 6256527 h 6858000"/>
              <a:gd name="connsiteX1308" fmla="*/ 4347873 w 12192000"/>
              <a:gd name="connsiteY1308" fmla="*/ 6256176 h 6858000"/>
              <a:gd name="connsiteX1309" fmla="*/ 4344377 w 12192000"/>
              <a:gd name="connsiteY1309" fmla="*/ 6254860 h 6858000"/>
              <a:gd name="connsiteX1310" fmla="*/ 4341843 w 12192000"/>
              <a:gd name="connsiteY1310" fmla="*/ 6252492 h 6858000"/>
              <a:gd name="connsiteX1311" fmla="*/ 4340882 w 12192000"/>
              <a:gd name="connsiteY1311" fmla="*/ 6248807 h 6858000"/>
              <a:gd name="connsiteX1312" fmla="*/ 4343241 w 12192000"/>
              <a:gd name="connsiteY1312" fmla="*/ 6243281 h 6858000"/>
              <a:gd name="connsiteX1313" fmla="*/ 4349096 w 12192000"/>
              <a:gd name="connsiteY1313" fmla="*/ 6240123 h 6858000"/>
              <a:gd name="connsiteX1314" fmla="*/ 4356699 w 12192000"/>
              <a:gd name="connsiteY1314" fmla="*/ 6238719 h 6858000"/>
              <a:gd name="connsiteX1315" fmla="*/ 4364564 w 12192000"/>
              <a:gd name="connsiteY1315" fmla="*/ 6238368 h 6858000"/>
              <a:gd name="connsiteX1316" fmla="*/ 9467078 w 12192000"/>
              <a:gd name="connsiteY1316" fmla="*/ 6238154 h 6858000"/>
              <a:gd name="connsiteX1317" fmla="*/ 9474375 w 12192000"/>
              <a:gd name="connsiteY1317" fmla="*/ 6293336 h 6858000"/>
              <a:gd name="connsiteX1318" fmla="*/ 9467078 w 12192000"/>
              <a:gd name="connsiteY1318" fmla="*/ 6238154 h 6858000"/>
              <a:gd name="connsiteX1319" fmla="*/ 9390385 w 12192000"/>
              <a:gd name="connsiteY1319" fmla="*/ 6238154 h 6858000"/>
              <a:gd name="connsiteX1320" fmla="*/ 9386581 w 12192000"/>
              <a:gd name="connsiteY1320" fmla="*/ 6293963 h 6858000"/>
              <a:gd name="connsiteX1321" fmla="*/ 9390385 w 12192000"/>
              <a:gd name="connsiteY1321" fmla="*/ 6238154 h 6858000"/>
              <a:gd name="connsiteX1322" fmla="*/ 11634071 w 12192000"/>
              <a:gd name="connsiteY1322" fmla="*/ 6233938 h 6858000"/>
              <a:gd name="connsiteX1323" fmla="*/ 11606277 w 12192000"/>
              <a:gd name="connsiteY1323" fmla="*/ 6234012 h 6858000"/>
              <a:gd name="connsiteX1324" fmla="*/ 11577862 w 12192000"/>
              <a:gd name="connsiteY1324" fmla="*/ 6255854 h 6858000"/>
              <a:gd name="connsiteX1325" fmla="*/ 11573514 w 12192000"/>
              <a:gd name="connsiteY1325" fmla="*/ 6277621 h 6858000"/>
              <a:gd name="connsiteX1326" fmla="*/ 11573514 w 12192000"/>
              <a:gd name="connsiteY1326" fmla="*/ 6328387 h 6858000"/>
              <a:gd name="connsiteX1327" fmla="*/ 11573437 w 12192000"/>
              <a:gd name="connsiteY1327" fmla="*/ 6328462 h 6858000"/>
              <a:gd name="connsiteX1328" fmla="*/ 11573437 w 12192000"/>
              <a:gd name="connsiteY1328" fmla="*/ 6381464 h 6858000"/>
              <a:gd name="connsiteX1329" fmla="*/ 11579104 w 12192000"/>
              <a:gd name="connsiteY1329" fmla="*/ 6386905 h 6858000"/>
              <a:gd name="connsiteX1330" fmla="*/ 11596728 w 12192000"/>
              <a:gd name="connsiteY1330" fmla="*/ 6386905 h 6858000"/>
              <a:gd name="connsiteX1331" fmla="*/ 11603171 w 12192000"/>
              <a:gd name="connsiteY1331" fmla="*/ 6380644 h 6858000"/>
              <a:gd name="connsiteX1332" fmla="*/ 11603171 w 12192000"/>
              <a:gd name="connsiteY1332" fmla="*/ 6303936 h 6858000"/>
              <a:gd name="connsiteX1333" fmla="*/ 11603171 w 12192000"/>
              <a:gd name="connsiteY1333" fmla="*/ 6301849 h 6858000"/>
              <a:gd name="connsiteX1334" fmla="*/ 11604103 w 12192000"/>
              <a:gd name="connsiteY1334" fmla="*/ 6300880 h 6858000"/>
              <a:gd name="connsiteX1335" fmla="*/ 11631353 w 12192000"/>
              <a:gd name="connsiteY1335" fmla="*/ 6300880 h 6858000"/>
              <a:gd name="connsiteX1336" fmla="*/ 11636865 w 12192000"/>
              <a:gd name="connsiteY1336" fmla="*/ 6295736 h 6858000"/>
              <a:gd name="connsiteX1337" fmla="*/ 11636865 w 12192000"/>
              <a:gd name="connsiteY1337" fmla="*/ 6281870 h 6858000"/>
              <a:gd name="connsiteX1338" fmla="*/ 11631353 w 12192000"/>
              <a:gd name="connsiteY1338" fmla="*/ 6276578 h 6858000"/>
              <a:gd name="connsiteX1339" fmla="*/ 11604879 w 12192000"/>
              <a:gd name="connsiteY1339" fmla="*/ 6276578 h 6858000"/>
              <a:gd name="connsiteX1340" fmla="*/ 11603016 w 12192000"/>
              <a:gd name="connsiteY1340" fmla="*/ 6274714 h 6858000"/>
              <a:gd name="connsiteX1341" fmla="*/ 11603327 w 12192000"/>
              <a:gd name="connsiteY1341" fmla="*/ 6270092 h 6858000"/>
              <a:gd name="connsiteX1342" fmla="*/ 11614817 w 12192000"/>
              <a:gd name="connsiteY1342" fmla="*/ 6256599 h 6858000"/>
              <a:gd name="connsiteX1343" fmla="*/ 11620329 w 12192000"/>
              <a:gd name="connsiteY1343" fmla="*/ 6255929 h 6858000"/>
              <a:gd name="connsiteX1344" fmla="*/ 11630422 w 12192000"/>
              <a:gd name="connsiteY1344" fmla="*/ 6256898 h 6858000"/>
              <a:gd name="connsiteX1345" fmla="*/ 11636943 w 12192000"/>
              <a:gd name="connsiteY1345" fmla="*/ 6252499 h 6858000"/>
              <a:gd name="connsiteX1346" fmla="*/ 11639195 w 12192000"/>
              <a:gd name="connsiteY1346" fmla="*/ 6240945 h 6858000"/>
              <a:gd name="connsiteX1347" fmla="*/ 11634536 w 12192000"/>
              <a:gd name="connsiteY1347" fmla="*/ 6234012 h 6858000"/>
              <a:gd name="connsiteX1348" fmla="*/ 11634071 w 12192000"/>
              <a:gd name="connsiteY1348" fmla="*/ 6233938 h 6858000"/>
              <a:gd name="connsiteX1349" fmla="*/ 11663805 w 12192000"/>
              <a:gd name="connsiteY1349" fmla="*/ 6233192 h 6858000"/>
              <a:gd name="connsiteX1350" fmla="*/ 11653169 w 12192000"/>
              <a:gd name="connsiteY1350" fmla="*/ 6243479 h 6858000"/>
              <a:gd name="connsiteX1351" fmla="*/ 11652703 w 12192000"/>
              <a:gd name="connsiteY1351" fmla="*/ 6247057 h 6858000"/>
              <a:gd name="connsiteX1352" fmla="*/ 11663262 w 12192000"/>
              <a:gd name="connsiteY1352" fmla="*/ 6262414 h 6858000"/>
              <a:gd name="connsiteX1353" fmla="*/ 11674286 w 12192000"/>
              <a:gd name="connsiteY1353" fmla="*/ 6262414 h 6858000"/>
              <a:gd name="connsiteX1354" fmla="*/ 11684612 w 12192000"/>
              <a:gd name="connsiteY1354" fmla="*/ 6248026 h 6858000"/>
              <a:gd name="connsiteX1355" fmla="*/ 11684534 w 12192000"/>
              <a:gd name="connsiteY1355" fmla="*/ 6248101 h 6858000"/>
              <a:gd name="connsiteX1356" fmla="*/ 11684534 w 12192000"/>
              <a:gd name="connsiteY1356" fmla="*/ 6245790 h 6858000"/>
              <a:gd name="connsiteX1357" fmla="*/ 11675140 w 12192000"/>
              <a:gd name="connsiteY1357" fmla="*/ 6233788 h 6858000"/>
              <a:gd name="connsiteX1358" fmla="*/ 11663805 w 12192000"/>
              <a:gd name="connsiteY1358" fmla="*/ 6233192 h 6858000"/>
              <a:gd name="connsiteX1359" fmla="*/ 7254356 w 12192000"/>
              <a:gd name="connsiteY1359" fmla="*/ 6230164 h 6858000"/>
              <a:gd name="connsiteX1360" fmla="*/ 7265394 w 12192000"/>
              <a:gd name="connsiteY1360" fmla="*/ 6237951 h 6858000"/>
              <a:gd name="connsiteX1361" fmla="*/ 7265394 w 12192000"/>
              <a:gd name="connsiteY1361" fmla="*/ 6238005 h 6858000"/>
              <a:gd name="connsiteX1362" fmla="*/ 7265394 w 12192000"/>
              <a:gd name="connsiteY1362" fmla="*/ 6238158 h 6858000"/>
              <a:gd name="connsiteX1363" fmla="*/ 7265393 w 12192000"/>
              <a:gd name="connsiteY1363" fmla="*/ 6238159 h 6858000"/>
              <a:gd name="connsiteX1364" fmla="*/ 7265393 w 12192000"/>
              <a:gd name="connsiteY1364" fmla="*/ 6238157 h 6858000"/>
              <a:gd name="connsiteX1365" fmla="*/ 7265393 w 12192000"/>
              <a:gd name="connsiteY1365" fmla="*/ 6238004 h 6858000"/>
              <a:gd name="connsiteX1366" fmla="*/ 7237842 w 12192000"/>
              <a:gd name="connsiteY1366" fmla="*/ 6230046 h 6858000"/>
              <a:gd name="connsiteX1367" fmla="*/ 7235852 w 12192000"/>
              <a:gd name="connsiteY1367" fmla="*/ 6246194 h 6858000"/>
              <a:gd name="connsiteX1368" fmla="*/ 7235929 w 12192000"/>
              <a:gd name="connsiteY1368" fmla="*/ 6246194 h 6858000"/>
              <a:gd name="connsiteX1369" fmla="*/ 7237919 w 12192000"/>
              <a:gd name="connsiteY1369" fmla="*/ 6230046 h 6858000"/>
              <a:gd name="connsiteX1370" fmla="*/ 7237919 w 12192000"/>
              <a:gd name="connsiteY1370" fmla="*/ 6230121 h 6858000"/>
              <a:gd name="connsiteX1371" fmla="*/ 7237918 w 12192000"/>
              <a:gd name="connsiteY1371" fmla="*/ 6230121 h 6858000"/>
              <a:gd name="connsiteX1372" fmla="*/ 7235928 w 12192000"/>
              <a:gd name="connsiteY1372" fmla="*/ 6246270 h 6858000"/>
              <a:gd name="connsiteX1373" fmla="*/ 7253071 w 12192000"/>
              <a:gd name="connsiteY1373" fmla="*/ 6246270 h 6858000"/>
              <a:gd name="connsiteX1374" fmla="*/ 7265393 w 12192000"/>
              <a:gd name="connsiteY1374" fmla="*/ 6238234 h 6858000"/>
              <a:gd name="connsiteX1375" fmla="*/ 7265393 w 12192000"/>
              <a:gd name="connsiteY1375" fmla="*/ 6238209 h 6858000"/>
              <a:gd name="connsiteX1376" fmla="*/ 7265471 w 12192000"/>
              <a:gd name="connsiteY1376" fmla="*/ 6238158 h 6858000"/>
              <a:gd name="connsiteX1377" fmla="*/ 7265471 w 12192000"/>
              <a:gd name="connsiteY1377" fmla="*/ 6238005 h 6858000"/>
              <a:gd name="connsiteX1378" fmla="*/ 7265394 w 12192000"/>
              <a:gd name="connsiteY1378" fmla="*/ 6237951 h 6858000"/>
              <a:gd name="connsiteX1379" fmla="*/ 7265394 w 12192000"/>
              <a:gd name="connsiteY1379" fmla="*/ 6237928 h 6858000"/>
              <a:gd name="connsiteX1380" fmla="*/ 7254220 w 12192000"/>
              <a:gd name="connsiteY1380" fmla="*/ 6230046 h 6858000"/>
              <a:gd name="connsiteX1381" fmla="*/ 7237919 w 12192000"/>
              <a:gd name="connsiteY1381" fmla="*/ 6230046 h 6858000"/>
              <a:gd name="connsiteX1382" fmla="*/ 9543617 w 12192000"/>
              <a:gd name="connsiteY1382" fmla="*/ 6229779 h 6858000"/>
              <a:gd name="connsiteX1383" fmla="*/ 9516526 w 12192000"/>
              <a:gd name="connsiteY1383" fmla="*/ 6284883 h 6858000"/>
              <a:gd name="connsiteX1384" fmla="*/ 9571873 w 12192000"/>
              <a:gd name="connsiteY1384" fmla="*/ 6292006 h 6858000"/>
              <a:gd name="connsiteX1385" fmla="*/ 9564964 w 12192000"/>
              <a:gd name="connsiteY1385" fmla="*/ 6286526 h 6858000"/>
              <a:gd name="connsiteX1386" fmla="*/ 9524444 w 12192000"/>
              <a:gd name="connsiteY1386" fmla="*/ 6270089 h 6858000"/>
              <a:gd name="connsiteX1387" fmla="*/ 9573193 w 12192000"/>
              <a:gd name="connsiteY1387" fmla="*/ 6270089 h 6858000"/>
              <a:gd name="connsiteX1388" fmla="*/ 9573193 w 12192000"/>
              <a:gd name="connsiteY1388" fmla="*/ 6270011 h 6858000"/>
              <a:gd name="connsiteX1389" fmla="*/ 9543617 w 12192000"/>
              <a:gd name="connsiteY1389" fmla="*/ 6229779 h 6858000"/>
              <a:gd name="connsiteX1390" fmla="*/ 9386426 w 12192000"/>
              <a:gd name="connsiteY1390" fmla="*/ 6229623 h 6858000"/>
              <a:gd name="connsiteX1391" fmla="*/ 9395896 w 12192000"/>
              <a:gd name="connsiteY1391" fmla="*/ 6303355 h 6858000"/>
              <a:gd name="connsiteX1392" fmla="*/ 9386426 w 12192000"/>
              <a:gd name="connsiteY1392" fmla="*/ 6229623 h 6858000"/>
              <a:gd name="connsiteX1393" fmla="*/ 7409123 w 12192000"/>
              <a:gd name="connsiteY1393" fmla="*/ 6218871 h 6858000"/>
              <a:gd name="connsiteX1394" fmla="*/ 7394581 w 12192000"/>
              <a:gd name="connsiteY1394" fmla="*/ 6233106 h 6858000"/>
              <a:gd name="connsiteX1395" fmla="*/ 7394581 w 12192000"/>
              <a:gd name="connsiteY1395" fmla="*/ 6233259 h 6858000"/>
              <a:gd name="connsiteX1396" fmla="*/ 7405602 w 12192000"/>
              <a:gd name="connsiteY1396" fmla="*/ 6247494 h 6858000"/>
              <a:gd name="connsiteX1397" fmla="*/ 7420220 w 12192000"/>
              <a:gd name="connsiteY1397" fmla="*/ 6233259 h 6858000"/>
              <a:gd name="connsiteX1398" fmla="*/ 7420220 w 12192000"/>
              <a:gd name="connsiteY1398" fmla="*/ 6233106 h 6858000"/>
              <a:gd name="connsiteX1399" fmla="*/ 7409123 w 12192000"/>
              <a:gd name="connsiteY1399" fmla="*/ 6218871 h 6858000"/>
              <a:gd name="connsiteX1400" fmla="*/ 7357692 w 12192000"/>
              <a:gd name="connsiteY1400" fmla="*/ 6218871 h 6858000"/>
              <a:gd name="connsiteX1401" fmla="*/ 7342998 w 12192000"/>
              <a:gd name="connsiteY1401" fmla="*/ 6233106 h 6858000"/>
              <a:gd name="connsiteX1402" fmla="*/ 7342998 w 12192000"/>
              <a:gd name="connsiteY1402" fmla="*/ 6233259 h 6858000"/>
              <a:gd name="connsiteX1403" fmla="*/ 7354172 w 12192000"/>
              <a:gd name="connsiteY1403" fmla="*/ 6247494 h 6858000"/>
              <a:gd name="connsiteX1404" fmla="*/ 7368637 w 12192000"/>
              <a:gd name="connsiteY1404" fmla="*/ 6233259 h 6858000"/>
              <a:gd name="connsiteX1405" fmla="*/ 7368637 w 12192000"/>
              <a:gd name="connsiteY1405" fmla="*/ 6233106 h 6858000"/>
              <a:gd name="connsiteX1406" fmla="*/ 7357692 w 12192000"/>
              <a:gd name="connsiteY1406" fmla="*/ 6218871 h 6858000"/>
              <a:gd name="connsiteX1407" fmla="*/ 7477238 w 12192000"/>
              <a:gd name="connsiteY1407" fmla="*/ 6216499 h 6858000"/>
              <a:gd name="connsiteX1408" fmla="*/ 7486882 w 12192000"/>
              <a:gd name="connsiteY1408" fmla="*/ 6325865 h 6858000"/>
              <a:gd name="connsiteX1409" fmla="*/ 7492208 w 12192000"/>
              <a:gd name="connsiteY1409" fmla="*/ 6330734 h 6858000"/>
              <a:gd name="connsiteX1410" fmla="*/ 7492161 w 12192000"/>
              <a:gd name="connsiteY1410" fmla="*/ 6330763 h 6858000"/>
              <a:gd name="connsiteX1411" fmla="*/ 7486804 w 12192000"/>
              <a:gd name="connsiteY1411" fmla="*/ 6325864 h 6858000"/>
              <a:gd name="connsiteX1412" fmla="*/ 7477183 w 12192000"/>
              <a:gd name="connsiteY1412" fmla="*/ 6216742 h 6858000"/>
              <a:gd name="connsiteX1413" fmla="*/ 4616240 w 12192000"/>
              <a:gd name="connsiteY1413" fmla="*/ 6215385 h 6858000"/>
              <a:gd name="connsiteX1414" fmla="*/ 4624105 w 12192000"/>
              <a:gd name="connsiteY1414" fmla="*/ 6217139 h 6858000"/>
              <a:gd name="connsiteX1415" fmla="*/ 4629697 w 12192000"/>
              <a:gd name="connsiteY1415" fmla="*/ 6221789 h 6858000"/>
              <a:gd name="connsiteX1416" fmla="*/ 4633018 w 12192000"/>
              <a:gd name="connsiteY1416" fmla="*/ 6228192 h 6858000"/>
              <a:gd name="connsiteX1417" fmla="*/ 4634154 w 12192000"/>
              <a:gd name="connsiteY1417" fmla="*/ 6235386 h 6858000"/>
              <a:gd name="connsiteX1418" fmla="*/ 4633018 w 12192000"/>
              <a:gd name="connsiteY1418" fmla="*/ 6242667 h 6858000"/>
              <a:gd name="connsiteX1419" fmla="*/ 4629697 w 12192000"/>
              <a:gd name="connsiteY1419" fmla="*/ 6249158 h 6858000"/>
              <a:gd name="connsiteX1420" fmla="*/ 4624105 w 12192000"/>
              <a:gd name="connsiteY1420" fmla="*/ 6253808 h 6858000"/>
              <a:gd name="connsiteX1421" fmla="*/ 4616240 w 12192000"/>
              <a:gd name="connsiteY1421" fmla="*/ 6255650 h 6858000"/>
              <a:gd name="connsiteX1422" fmla="*/ 4608637 w 12192000"/>
              <a:gd name="connsiteY1422" fmla="*/ 6253895 h 6858000"/>
              <a:gd name="connsiteX1423" fmla="*/ 4602869 w 12192000"/>
              <a:gd name="connsiteY1423" fmla="*/ 6249246 h 6858000"/>
              <a:gd name="connsiteX1424" fmla="*/ 4599287 w 12192000"/>
              <a:gd name="connsiteY1424" fmla="*/ 6242842 h 6858000"/>
              <a:gd name="connsiteX1425" fmla="*/ 4598063 w 12192000"/>
              <a:gd name="connsiteY1425" fmla="*/ 6235649 h 6858000"/>
              <a:gd name="connsiteX1426" fmla="*/ 4599287 w 12192000"/>
              <a:gd name="connsiteY1426" fmla="*/ 6228368 h 6858000"/>
              <a:gd name="connsiteX1427" fmla="*/ 4602869 w 12192000"/>
              <a:gd name="connsiteY1427" fmla="*/ 6221876 h 6858000"/>
              <a:gd name="connsiteX1428" fmla="*/ 4608637 w 12192000"/>
              <a:gd name="connsiteY1428" fmla="*/ 6217227 h 6858000"/>
              <a:gd name="connsiteX1429" fmla="*/ 4616240 w 12192000"/>
              <a:gd name="connsiteY1429" fmla="*/ 6215385 h 6858000"/>
              <a:gd name="connsiteX1430" fmla="*/ 4726873 w 12192000"/>
              <a:gd name="connsiteY1430" fmla="*/ 6214332 h 6858000"/>
              <a:gd name="connsiteX1431" fmla="*/ 4733427 w 12192000"/>
              <a:gd name="connsiteY1431" fmla="*/ 6215560 h 6858000"/>
              <a:gd name="connsiteX1432" fmla="*/ 4738058 w 12192000"/>
              <a:gd name="connsiteY1432" fmla="*/ 6218893 h 6858000"/>
              <a:gd name="connsiteX1433" fmla="*/ 4740680 w 12192000"/>
              <a:gd name="connsiteY1433" fmla="*/ 6223718 h 6858000"/>
              <a:gd name="connsiteX1434" fmla="*/ 4741554 w 12192000"/>
              <a:gd name="connsiteY1434" fmla="*/ 6229420 h 6858000"/>
              <a:gd name="connsiteX1435" fmla="*/ 4709745 w 12192000"/>
              <a:gd name="connsiteY1435" fmla="*/ 6229420 h 6858000"/>
              <a:gd name="connsiteX1436" fmla="*/ 4715075 w 12192000"/>
              <a:gd name="connsiteY1436" fmla="*/ 6218543 h 6858000"/>
              <a:gd name="connsiteX1437" fmla="*/ 4726873 w 12192000"/>
              <a:gd name="connsiteY1437" fmla="*/ 6214332 h 6858000"/>
              <a:gd name="connsiteX1438" fmla="*/ 7326084 w 12192000"/>
              <a:gd name="connsiteY1438" fmla="*/ 6210988 h 6858000"/>
              <a:gd name="connsiteX1439" fmla="*/ 7326084 w 12192000"/>
              <a:gd name="connsiteY1439" fmla="*/ 6211064 h 6858000"/>
              <a:gd name="connsiteX1440" fmla="*/ 7326075 w 12192000"/>
              <a:gd name="connsiteY1440" fmla="*/ 6211064 h 6858000"/>
              <a:gd name="connsiteX1441" fmla="*/ 7286134 w 12192000"/>
              <a:gd name="connsiteY1441" fmla="*/ 6210988 h 6858000"/>
              <a:gd name="connsiteX1442" fmla="*/ 7296313 w 12192000"/>
              <a:gd name="connsiteY1442" fmla="*/ 6210988 h 6858000"/>
              <a:gd name="connsiteX1443" fmla="*/ 7293251 w 12192000"/>
              <a:gd name="connsiteY1443" fmla="*/ 6236244 h 6858000"/>
              <a:gd name="connsiteX1444" fmla="*/ 7301440 w 12192000"/>
              <a:gd name="connsiteY1444" fmla="*/ 6247035 h 6858000"/>
              <a:gd name="connsiteX1445" fmla="*/ 7312767 w 12192000"/>
              <a:gd name="connsiteY1445" fmla="*/ 6236091 h 6858000"/>
              <a:gd name="connsiteX1446" fmla="*/ 7315829 w 12192000"/>
              <a:gd name="connsiteY1446" fmla="*/ 6211064 h 6858000"/>
              <a:gd name="connsiteX1447" fmla="*/ 7326075 w 12192000"/>
              <a:gd name="connsiteY1447" fmla="*/ 6211064 h 6858000"/>
              <a:gd name="connsiteX1448" fmla="*/ 7320650 w 12192000"/>
              <a:gd name="connsiteY1448" fmla="*/ 6255377 h 6858000"/>
              <a:gd name="connsiteX1449" fmla="*/ 7310395 w 12192000"/>
              <a:gd name="connsiteY1449" fmla="*/ 6255377 h 6858000"/>
              <a:gd name="connsiteX1450" fmla="*/ 7311237 w 12192000"/>
              <a:gd name="connsiteY1450" fmla="*/ 6248489 h 6858000"/>
              <a:gd name="connsiteX1451" fmla="*/ 7296389 w 12192000"/>
              <a:gd name="connsiteY1451" fmla="*/ 6256296 h 6858000"/>
              <a:gd name="connsiteX1452" fmla="*/ 7282690 w 12192000"/>
              <a:gd name="connsiteY1452" fmla="*/ 6239229 h 6858000"/>
              <a:gd name="connsiteX1453" fmla="*/ 7407745 w 12192000"/>
              <a:gd name="connsiteY1453" fmla="*/ 6210146 h 6858000"/>
              <a:gd name="connsiteX1454" fmla="*/ 7421904 w 12192000"/>
              <a:gd name="connsiteY1454" fmla="*/ 6217952 h 6858000"/>
              <a:gd name="connsiteX1455" fmla="*/ 7422746 w 12192000"/>
              <a:gd name="connsiteY1455" fmla="*/ 6211064 h 6858000"/>
              <a:gd name="connsiteX1456" fmla="*/ 7432925 w 12192000"/>
              <a:gd name="connsiteY1456" fmla="*/ 6211064 h 6858000"/>
              <a:gd name="connsiteX1457" fmla="*/ 7427491 w 12192000"/>
              <a:gd name="connsiteY1457" fmla="*/ 6255454 h 6858000"/>
              <a:gd name="connsiteX1458" fmla="*/ 7417312 w 12192000"/>
              <a:gd name="connsiteY1458" fmla="*/ 6255454 h 6858000"/>
              <a:gd name="connsiteX1459" fmla="*/ 7418230 w 12192000"/>
              <a:gd name="connsiteY1459" fmla="*/ 6248030 h 6858000"/>
              <a:gd name="connsiteX1460" fmla="*/ 7402082 w 12192000"/>
              <a:gd name="connsiteY1460" fmla="*/ 6256372 h 6858000"/>
              <a:gd name="connsiteX1461" fmla="*/ 7384326 w 12192000"/>
              <a:gd name="connsiteY1461" fmla="*/ 6233336 h 6858000"/>
              <a:gd name="connsiteX1462" fmla="*/ 7384326 w 12192000"/>
              <a:gd name="connsiteY1462" fmla="*/ 6233183 h 6858000"/>
              <a:gd name="connsiteX1463" fmla="*/ 7407745 w 12192000"/>
              <a:gd name="connsiteY1463" fmla="*/ 6210146 h 6858000"/>
              <a:gd name="connsiteX1464" fmla="*/ 7361213 w 12192000"/>
              <a:gd name="connsiteY1464" fmla="*/ 6210069 h 6858000"/>
              <a:gd name="connsiteX1465" fmla="*/ 7378969 w 12192000"/>
              <a:gd name="connsiteY1465" fmla="*/ 6233106 h 6858000"/>
              <a:gd name="connsiteX1466" fmla="*/ 7378969 w 12192000"/>
              <a:gd name="connsiteY1466" fmla="*/ 6233259 h 6858000"/>
              <a:gd name="connsiteX1467" fmla="*/ 7355549 w 12192000"/>
              <a:gd name="connsiteY1467" fmla="*/ 6256296 h 6858000"/>
              <a:gd name="connsiteX1468" fmla="*/ 7341391 w 12192000"/>
              <a:gd name="connsiteY1468" fmla="*/ 6248489 h 6858000"/>
              <a:gd name="connsiteX1469" fmla="*/ 7338865 w 12192000"/>
              <a:gd name="connsiteY1469" fmla="*/ 6268847 h 6858000"/>
              <a:gd name="connsiteX1470" fmla="*/ 7328686 w 12192000"/>
              <a:gd name="connsiteY1470" fmla="*/ 6268847 h 6858000"/>
              <a:gd name="connsiteX1471" fmla="*/ 7335804 w 12192000"/>
              <a:gd name="connsiteY1471" fmla="*/ 6210988 h 6858000"/>
              <a:gd name="connsiteX1472" fmla="*/ 7345983 w 12192000"/>
              <a:gd name="connsiteY1472" fmla="*/ 6210988 h 6858000"/>
              <a:gd name="connsiteX1473" fmla="*/ 7345064 w 12192000"/>
              <a:gd name="connsiteY1473" fmla="*/ 6218412 h 6858000"/>
              <a:gd name="connsiteX1474" fmla="*/ 7361213 w 12192000"/>
              <a:gd name="connsiteY1474" fmla="*/ 6210069 h 6858000"/>
              <a:gd name="connsiteX1475" fmla="*/ 7240826 w 12192000"/>
              <a:gd name="connsiteY1475" fmla="*/ 6205784 h 6858000"/>
              <a:gd name="connsiteX1476" fmla="*/ 7238913 w 12192000"/>
              <a:gd name="connsiteY1476" fmla="*/ 6221396 h 6858000"/>
              <a:gd name="connsiteX1477" fmla="*/ 7252995 w 12192000"/>
              <a:gd name="connsiteY1477" fmla="*/ 6221396 h 6858000"/>
              <a:gd name="connsiteX1478" fmla="*/ 7265087 w 12192000"/>
              <a:gd name="connsiteY1478" fmla="*/ 6213437 h 6858000"/>
              <a:gd name="connsiteX1479" fmla="*/ 7265087 w 12192000"/>
              <a:gd name="connsiteY1479" fmla="*/ 6213284 h 6858000"/>
              <a:gd name="connsiteX1480" fmla="*/ 7255673 w 12192000"/>
              <a:gd name="connsiteY1480" fmla="*/ 6205784 h 6858000"/>
              <a:gd name="connsiteX1481" fmla="*/ 4401441 w 12192000"/>
              <a:gd name="connsiteY1481" fmla="*/ 6204507 h 6858000"/>
              <a:gd name="connsiteX1482" fmla="*/ 4401441 w 12192000"/>
              <a:gd name="connsiteY1482" fmla="*/ 6266878 h 6858000"/>
              <a:gd name="connsiteX1483" fmla="*/ 4416996 w 12192000"/>
              <a:gd name="connsiteY1483" fmla="*/ 6266878 h 6858000"/>
              <a:gd name="connsiteX1484" fmla="*/ 4416996 w 12192000"/>
              <a:gd name="connsiteY1484" fmla="*/ 6204507 h 6858000"/>
              <a:gd name="connsiteX1485" fmla="*/ 4147318 w 12192000"/>
              <a:gd name="connsiteY1485" fmla="*/ 6204506 h 6858000"/>
              <a:gd name="connsiteX1486" fmla="*/ 4147318 w 12192000"/>
              <a:gd name="connsiteY1486" fmla="*/ 6243455 h 6858000"/>
              <a:gd name="connsiteX1487" fmla="*/ 4148630 w 12192000"/>
              <a:gd name="connsiteY1487" fmla="*/ 6252842 h 6858000"/>
              <a:gd name="connsiteX1488" fmla="*/ 4152736 w 12192000"/>
              <a:gd name="connsiteY1488" fmla="*/ 6260912 h 6858000"/>
              <a:gd name="connsiteX1489" fmla="*/ 4159814 w 12192000"/>
              <a:gd name="connsiteY1489" fmla="*/ 6266527 h 6858000"/>
              <a:gd name="connsiteX1490" fmla="*/ 4170214 w 12192000"/>
              <a:gd name="connsiteY1490" fmla="*/ 6268632 h 6858000"/>
              <a:gd name="connsiteX1491" fmla="*/ 4182274 w 12192000"/>
              <a:gd name="connsiteY1491" fmla="*/ 6265035 h 6858000"/>
              <a:gd name="connsiteX1492" fmla="*/ 4189440 w 12192000"/>
              <a:gd name="connsiteY1492" fmla="*/ 6256789 h 6858000"/>
              <a:gd name="connsiteX1493" fmla="*/ 4189701 w 12192000"/>
              <a:gd name="connsiteY1493" fmla="*/ 6256789 h 6858000"/>
              <a:gd name="connsiteX1494" fmla="*/ 4189701 w 12192000"/>
              <a:gd name="connsiteY1494" fmla="*/ 6266790 h 6858000"/>
              <a:gd name="connsiteX1495" fmla="*/ 4204469 w 12192000"/>
              <a:gd name="connsiteY1495" fmla="*/ 6266790 h 6858000"/>
              <a:gd name="connsiteX1496" fmla="*/ 4204469 w 12192000"/>
              <a:gd name="connsiteY1496" fmla="*/ 6204506 h 6858000"/>
              <a:gd name="connsiteX1497" fmla="*/ 4188914 w 12192000"/>
              <a:gd name="connsiteY1497" fmla="*/ 6204506 h 6858000"/>
              <a:gd name="connsiteX1498" fmla="*/ 4188914 w 12192000"/>
              <a:gd name="connsiteY1498" fmla="*/ 6238806 h 6858000"/>
              <a:gd name="connsiteX1499" fmla="*/ 4188041 w 12192000"/>
              <a:gd name="connsiteY1499" fmla="*/ 6244947 h 6858000"/>
              <a:gd name="connsiteX1500" fmla="*/ 4185419 w 12192000"/>
              <a:gd name="connsiteY1500" fmla="*/ 6250298 h 6858000"/>
              <a:gd name="connsiteX1501" fmla="*/ 4180876 w 12192000"/>
              <a:gd name="connsiteY1501" fmla="*/ 6254158 h 6858000"/>
              <a:gd name="connsiteX1502" fmla="*/ 4174497 w 12192000"/>
              <a:gd name="connsiteY1502" fmla="*/ 6255649 h 6858000"/>
              <a:gd name="connsiteX1503" fmla="*/ 4168467 w 12192000"/>
              <a:gd name="connsiteY1503" fmla="*/ 6254070 h 6858000"/>
              <a:gd name="connsiteX1504" fmla="*/ 4164883 w 12192000"/>
              <a:gd name="connsiteY1504" fmla="*/ 6250122 h 6858000"/>
              <a:gd name="connsiteX1505" fmla="*/ 4163223 w 12192000"/>
              <a:gd name="connsiteY1505" fmla="*/ 6244771 h 6858000"/>
              <a:gd name="connsiteX1506" fmla="*/ 4162873 w 12192000"/>
              <a:gd name="connsiteY1506" fmla="*/ 6239069 h 6858000"/>
              <a:gd name="connsiteX1507" fmla="*/ 4162873 w 12192000"/>
              <a:gd name="connsiteY1507" fmla="*/ 6204506 h 6858000"/>
              <a:gd name="connsiteX1508" fmla="*/ 4727135 w 12192000"/>
              <a:gd name="connsiteY1508" fmla="*/ 6202840 h 6858000"/>
              <a:gd name="connsiteX1509" fmla="*/ 4714114 w 12192000"/>
              <a:gd name="connsiteY1509" fmla="*/ 6205209 h 6858000"/>
              <a:gd name="connsiteX1510" fmla="*/ 4703715 w 12192000"/>
              <a:gd name="connsiteY1510" fmla="*/ 6211963 h 6858000"/>
              <a:gd name="connsiteX1511" fmla="*/ 4696811 w 12192000"/>
              <a:gd name="connsiteY1511" fmla="*/ 6222490 h 6858000"/>
              <a:gd name="connsiteX1512" fmla="*/ 4694277 w 12192000"/>
              <a:gd name="connsiteY1512" fmla="*/ 6236175 h 6858000"/>
              <a:gd name="connsiteX1513" fmla="*/ 4696811 w 12192000"/>
              <a:gd name="connsiteY1513" fmla="*/ 6249860 h 6858000"/>
              <a:gd name="connsiteX1514" fmla="*/ 4703802 w 12192000"/>
              <a:gd name="connsiteY1514" fmla="*/ 6260036 h 6858000"/>
              <a:gd name="connsiteX1515" fmla="*/ 4714376 w 12192000"/>
              <a:gd name="connsiteY1515" fmla="*/ 6266440 h 6858000"/>
              <a:gd name="connsiteX1516" fmla="*/ 4727659 w 12192000"/>
              <a:gd name="connsiteY1516" fmla="*/ 6268720 h 6858000"/>
              <a:gd name="connsiteX1517" fmla="*/ 4754312 w 12192000"/>
              <a:gd name="connsiteY1517" fmla="*/ 6256264 h 6858000"/>
              <a:gd name="connsiteX1518" fmla="*/ 4744000 w 12192000"/>
              <a:gd name="connsiteY1518" fmla="*/ 6247930 h 6858000"/>
              <a:gd name="connsiteX1519" fmla="*/ 4737359 w 12192000"/>
              <a:gd name="connsiteY1519" fmla="*/ 6253807 h 6858000"/>
              <a:gd name="connsiteX1520" fmla="*/ 4727484 w 12192000"/>
              <a:gd name="connsiteY1520" fmla="*/ 6255913 h 6858000"/>
              <a:gd name="connsiteX1521" fmla="*/ 4721018 w 12192000"/>
              <a:gd name="connsiteY1521" fmla="*/ 6254772 h 6858000"/>
              <a:gd name="connsiteX1522" fmla="*/ 4715425 w 12192000"/>
              <a:gd name="connsiteY1522" fmla="*/ 6251614 h 6858000"/>
              <a:gd name="connsiteX1523" fmla="*/ 4711492 w 12192000"/>
              <a:gd name="connsiteY1523" fmla="*/ 6246790 h 6858000"/>
              <a:gd name="connsiteX1524" fmla="*/ 4709745 w 12192000"/>
              <a:gd name="connsiteY1524" fmla="*/ 6240649 h 6858000"/>
              <a:gd name="connsiteX1525" fmla="*/ 4756934 w 12192000"/>
              <a:gd name="connsiteY1525" fmla="*/ 6240649 h 6858000"/>
              <a:gd name="connsiteX1526" fmla="*/ 4757109 w 12192000"/>
              <a:gd name="connsiteY1526" fmla="*/ 6238544 h 6858000"/>
              <a:gd name="connsiteX1527" fmla="*/ 4757109 w 12192000"/>
              <a:gd name="connsiteY1527" fmla="*/ 6236438 h 6858000"/>
              <a:gd name="connsiteX1528" fmla="*/ 4757196 w 12192000"/>
              <a:gd name="connsiteY1528" fmla="*/ 6236614 h 6858000"/>
              <a:gd name="connsiteX1529" fmla="*/ 4754924 w 12192000"/>
              <a:gd name="connsiteY1529" fmla="*/ 6221876 h 6858000"/>
              <a:gd name="connsiteX1530" fmla="*/ 4748632 w 12192000"/>
              <a:gd name="connsiteY1530" fmla="*/ 6211349 h 6858000"/>
              <a:gd name="connsiteX1531" fmla="*/ 4739107 w 12192000"/>
              <a:gd name="connsiteY1531" fmla="*/ 6204945 h 6858000"/>
              <a:gd name="connsiteX1532" fmla="*/ 4727135 w 12192000"/>
              <a:gd name="connsiteY1532" fmla="*/ 6202840 h 6858000"/>
              <a:gd name="connsiteX1533" fmla="*/ 4536979 w 12192000"/>
              <a:gd name="connsiteY1533" fmla="*/ 6202840 h 6858000"/>
              <a:gd name="connsiteX1534" fmla="*/ 4522910 w 12192000"/>
              <a:gd name="connsiteY1534" fmla="*/ 6205296 h 6858000"/>
              <a:gd name="connsiteX1535" fmla="*/ 4510676 w 12192000"/>
              <a:gd name="connsiteY1535" fmla="*/ 6212665 h 6858000"/>
              <a:gd name="connsiteX1536" fmla="*/ 4518715 w 12192000"/>
              <a:gd name="connsiteY1536" fmla="*/ 6222139 h 6858000"/>
              <a:gd name="connsiteX1537" fmla="*/ 4526230 w 12192000"/>
              <a:gd name="connsiteY1537" fmla="*/ 6217051 h 6858000"/>
              <a:gd name="connsiteX1538" fmla="*/ 4535668 w 12192000"/>
              <a:gd name="connsiteY1538" fmla="*/ 6214946 h 6858000"/>
              <a:gd name="connsiteX1539" fmla="*/ 4545718 w 12192000"/>
              <a:gd name="connsiteY1539" fmla="*/ 6217753 h 6858000"/>
              <a:gd name="connsiteX1540" fmla="*/ 4549913 w 12192000"/>
              <a:gd name="connsiteY1540" fmla="*/ 6226350 h 6858000"/>
              <a:gd name="connsiteX1541" fmla="*/ 4549913 w 12192000"/>
              <a:gd name="connsiteY1541" fmla="*/ 6227929 h 6858000"/>
              <a:gd name="connsiteX1542" fmla="*/ 4535057 w 12192000"/>
              <a:gd name="connsiteY1542" fmla="*/ 6228631 h 6858000"/>
              <a:gd name="connsiteX1543" fmla="*/ 4521249 w 12192000"/>
              <a:gd name="connsiteY1543" fmla="*/ 6231526 h 6858000"/>
              <a:gd name="connsiteX1544" fmla="*/ 4511112 w 12192000"/>
              <a:gd name="connsiteY1544" fmla="*/ 6237929 h 6858000"/>
              <a:gd name="connsiteX1545" fmla="*/ 4507180 w 12192000"/>
              <a:gd name="connsiteY1545" fmla="*/ 6249070 h 6858000"/>
              <a:gd name="connsiteX1546" fmla="*/ 4509452 w 12192000"/>
              <a:gd name="connsiteY1546" fmla="*/ 6258194 h 6858000"/>
              <a:gd name="connsiteX1547" fmla="*/ 4515132 w 12192000"/>
              <a:gd name="connsiteY1547" fmla="*/ 6264159 h 6858000"/>
              <a:gd name="connsiteX1548" fmla="*/ 4522648 w 12192000"/>
              <a:gd name="connsiteY1548" fmla="*/ 6267405 h 6858000"/>
              <a:gd name="connsiteX1549" fmla="*/ 4530513 w 12192000"/>
              <a:gd name="connsiteY1549" fmla="*/ 6268370 h 6858000"/>
              <a:gd name="connsiteX1550" fmla="*/ 4542310 w 12192000"/>
              <a:gd name="connsiteY1550" fmla="*/ 6265738 h 6858000"/>
              <a:gd name="connsiteX1551" fmla="*/ 4549825 w 12192000"/>
              <a:gd name="connsiteY1551" fmla="*/ 6258895 h 6858000"/>
              <a:gd name="connsiteX1552" fmla="*/ 4550175 w 12192000"/>
              <a:gd name="connsiteY1552" fmla="*/ 6258895 h 6858000"/>
              <a:gd name="connsiteX1553" fmla="*/ 4550175 w 12192000"/>
              <a:gd name="connsiteY1553" fmla="*/ 6259159 h 6858000"/>
              <a:gd name="connsiteX1554" fmla="*/ 4550175 w 12192000"/>
              <a:gd name="connsiteY1554" fmla="*/ 6267054 h 6858000"/>
              <a:gd name="connsiteX1555" fmla="*/ 4564681 w 12192000"/>
              <a:gd name="connsiteY1555" fmla="*/ 6267054 h 6858000"/>
              <a:gd name="connsiteX1556" fmla="*/ 4564681 w 12192000"/>
              <a:gd name="connsiteY1556" fmla="*/ 6229157 h 6858000"/>
              <a:gd name="connsiteX1557" fmla="*/ 4563458 w 12192000"/>
              <a:gd name="connsiteY1557" fmla="*/ 6219771 h 6858000"/>
              <a:gd name="connsiteX1558" fmla="*/ 4559088 w 12192000"/>
              <a:gd name="connsiteY1558" fmla="*/ 6211349 h 6858000"/>
              <a:gd name="connsiteX1559" fmla="*/ 4550612 w 12192000"/>
              <a:gd name="connsiteY1559" fmla="*/ 6205209 h 6858000"/>
              <a:gd name="connsiteX1560" fmla="*/ 4536979 w 12192000"/>
              <a:gd name="connsiteY1560" fmla="*/ 6202840 h 6858000"/>
              <a:gd name="connsiteX1561" fmla="*/ 4355126 w 12192000"/>
              <a:gd name="connsiteY1561" fmla="*/ 6202840 h 6858000"/>
              <a:gd name="connsiteX1562" fmla="*/ 4341057 w 12192000"/>
              <a:gd name="connsiteY1562" fmla="*/ 6205296 h 6858000"/>
              <a:gd name="connsiteX1563" fmla="*/ 4328822 w 12192000"/>
              <a:gd name="connsiteY1563" fmla="*/ 6212665 h 6858000"/>
              <a:gd name="connsiteX1564" fmla="*/ 4336862 w 12192000"/>
              <a:gd name="connsiteY1564" fmla="*/ 6222139 h 6858000"/>
              <a:gd name="connsiteX1565" fmla="*/ 4344377 w 12192000"/>
              <a:gd name="connsiteY1565" fmla="*/ 6217051 h 6858000"/>
              <a:gd name="connsiteX1566" fmla="*/ 4353815 w 12192000"/>
              <a:gd name="connsiteY1566" fmla="*/ 6214946 h 6858000"/>
              <a:gd name="connsiteX1567" fmla="*/ 4363865 w 12192000"/>
              <a:gd name="connsiteY1567" fmla="*/ 6217753 h 6858000"/>
              <a:gd name="connsiteX1568" fmla="*/ 4368060 w 12192000"/>
              <a:gd name="connsiteY1568" fmla="*/ 6226350 h 6858000"/>
              <a:gd name="connsiteX1569" fmla="*/ 4368060 w 12192000"/>
              <a:gd name="connsiteY1569" fmla="*/ 6227929 h 6858000"/>
              <a:gd name="connsiteX1570" fmla="*/ 4353204 w 12192000"/>
              <a:gd name="connsiteY1570" fmla="*/ 6228631 h 6858000"/>
              <a:gd name="connsiteX1571" fmla="*/ 4339396 w 12192000"/>
              <a:gd name="connsiteY1571" fmla="*/ 6231526 h 6858000"/>
              <a:gd name="connsiteX1572" fmla="*/ 4329259 w 12192000"/>
              <a:gd name="connsiteY1572" fmla="*/ 6237929 h 6858000"/>
              <a:gd name="connsiteX1573" fmla="*/ 4325327 w 12192000"/>
              <a:gd name="connsiteY1573" fmla="*/ 6249070 h 6858000"/>
              <a:gd name="connsiteX1574" fmla="*/ 4327599 w 12192000"/>
              <a:gd name="connsiteY1574" fmla="*/ 6258194 h 6858000"/>
              <a:gd name="connsiteX1575" fmla="*/ 4333279 w 12192000"/>
              <a:gd name="connsiteY1575" fmla="*/ 6264159 h 6858000"/>
              <a:gd name="connsiteX1576" fmla="*/ 4340795 w 12192000"/>
              <a:gd name="connsiteY1576" fmla="*/ 6267405 h 6858000"/>
              <a:gd name="connsiteX1577" fmla="*/ 4348659 w 12192000"/>
              <a:gd name="connsiteY1577" fmla="*/ 6268370 h 6858000"/>
              <a:gd name="connsiteX1578" fmla="*/ 4360457 w 12192000"/>
              <a:gd name="connsiteY1578" fmla="*/ 6265738 h 6858000"/>
              <a:gd name="connsiteX1579" fmla="*/ 4367972 w 12192000"/>
              <a:gd name="connsiteY1579" fmla="*/ 6258895 h 6858000"/>
              <a:gd name="connsiteX1580" fmla="*/ 4368322 w 12192000"/>
              <a:gd name="connsiteY1580" fmla="*/ 6258895 h 6858000"/>
              <a:gd name="connsiteX1581" fmla="*/ 4368322 w 12192000"/>
              <a:gd name="connsiteY1581" fmla="*/ 6259159 h 6858000"/>
              <a:gd name="connsiteX1582" fmla="*/ 4368322 w 12192000"/>
              <a:gd name="connsiteY1582" fmla="*/ 6267054 h 6858000"/>
              <a:gd name="connsiteX1583" fmla="*/ 4382828 w 12192000"/>
              <a:gd name="connsiteY1583" fmla="*/ 6267054 h 6858000"/>
              <a:gd name="connsiteX1584" fmla="*/ 4382828 w 12192000"/>
              <a:gd name="connsiteY1584" fmla="*/ 6229157 h 6858000"/>
              <a:gd name="connsiteX1585" fmla="*/ 4381605 w 12192000"/>
              <a:gd name="connsiteY1585" fmla="*/ 6219771 h 6858000"/>
              <a:gd name="connsiteX1586" fmla="*/ 4377235 w 12192000"/>
              <a:gd name="connsiteY1586" fmla="*/ 6211349 h 6858000"/>
              <a:gd name="connsiteX1587" fmla="*/ 4368759 w 12192000"/>
              <a:gd name="connsiteY1587" fmla="*/ 6205209 h 6858000"/>
              <a:gd name="connsiteX1588" fmla="*/ 4355126 w 12192000"/>
              <a:gd name="connsiteY1588" fmla="*/ 6202840 h 6858000"/>
              <a:gd name="connsiteX1589" fmla="*/ 4244231 w 12192000"/>
              <a:gd name="connsiteY1589" fmla="*/ 6202752 h 6858000"/>
              <a:gd name="connsiteX1590" fmla="*/ 4235143 w 12192000"/>
              <a:gd name="connsiteY1590" fmla="*/ 6203892 h 6858000"/>
              <a:gd name="connsiteX1591" fmla="*/ 4227278 w 12192000"/>
              <a:gd name="connsiteY1591" fmla="*/ 6207489 h 6858000"/>
              <a:gd name="connsiteX1592" fmla="*/ 4221685 w 12192000"/>
              <a:gd name="connsiteY1592" fmla="*/ 6213630 h 6858000"/>
              <a:gd name="connsiteX1593" fmla="*/ 4219588 w 12192000"/>
              <a:gd name="connsiteY1593" fmla="*/ 6222578 h 6858000"/>
              <a:gd name="connsiteX1594" fmla="*/ 4221161 w 12192000"/>
              <a:gd name="connsiteY1594" fmla="*/ 6229946 h 6858000"/>
              <a:gd name="connsiteX1595" fmla="*/ 4225268 w 12192000"/>
              <a:gd name="connsiteY1595" fmla="*/ 6234947 h 6858000"/>
              <a:gd name="connsiteX1596" fmla="*/ 4231123 w 12192000"/>
              <a:gd name="connsiteY1596" fmla="*/ 6238192 h 6858000"/>
              <a:gd name="connsiteX1597" fmla="*/ 4237940 w 12192000"/>
              <a:gd name="connsiteY1597" fmla="*/ 6240210 h 6858000"/>
              <a:gd name="connsiteX1598" fmla="*/ 4248601 w 12192000"/>
              <a:gd name="connsiteY1598" fmla="*/ 6243543 h 6858000"/>
              <a:gd name="connsiteX1599" fmla="*/ 4252184 w 12192000"/>
              <a:gd name="connsiteY1599" fmla="*/ 6249158 h 6858000"/>
              <a:gd name="connsiteX1600" fmla="*/ 4251310 w 12192000"/>
              <a:gd name="connsiteY1600" fmla="*/ 6252667 h 6858000"/>
              <a:gd name="connsiteX1601" fmla="*/ 4248950 w 12192000"/>
              <a:gd name="connsiteY1601" fmla="*/ 6254948 h 6858000"/>
              <a:gd name="connsiteX1602" fmla="*/ 4245717 w 12192000"/>
              <a:gd name="connsiteY1602" fmla="*/ 6256176 h 6858000"/>
              <a:gd name="connsiteX1603" fmla="*/ 4242309 w 12192000"/>
              <a:gd name="connsiteY1603" fmla="*/ 6256527 h 6858000"/>
              <a:gd name="connsiteX1604" fmla="*/ 4233133 w 12192000"/>
              <a:gd name="connsiteY1604" fmla="*/ 6254334 h 6858000"/>
              <a:gd name="connsiteX1605" fmla="*/ 4226404 w 12192000"/>
              <a:gd name="connsiteY1605" fmla="*/ 6248719 h 6858000"/>
              <a:gd name="connsiteX1606" fmla="*/ 4216180 w 12192000"/>
              <a:gd name="connsiteY1606" fmla="*/ 6258369 h 6858000"/>
              <a:gd name="connsiteX1607" fmla="*/ 4227540 w 12192000"/>
              <a:gd name="connsiteY1607" fmla="*/ 6266001 h 6858000"/>
              <a:gd name="connsiteX1608" fmla="*/ 4241610 w 12192000"/>
              <a:gd name="connsiteY1608" fmla="*/ 6268632 h 6858000"/>
              <a:gd name="connsiteX1609" fmla="*/ 4251397 w 12192000"/>
              <a:gd name="connsiteY1609" fmla="*/ 6267492 h 6858000"/>
              <a:gd name="connsiteX1610" fmla="*/ 4259699 w 12192000"/>
              <a:gd name="connsiteY1610" fmla="*/ 6263895 h 6858000"/>
              <a:gd name="connsiteX1611" fmla="*/ 4265379 w 12192000"/>
              <a:gd name="connsiteY1611" fmla="*/ 6257492 h 6858000"/>
              <a:gd name="connsiteX1612" fmla="*/ 4267477 w 12192000"/>
              <a:gd name="connsiteY1612" fmla="*/ 6247842 h 6858000"/>
              <a:gd name="connsiteX1613" fmla="*/ 4265641 w 12192000"/>
              <a:gd name="connsiteY1613" fmla="*/ 6240122 h 6858000"/>
              <a:gd name="connsiteX1614" fmla="*/ 4260922 w 12192000"/>
              <a:gd name="connsiteY1614" fmla="*/ 6234771 h 6858000"/>
              <a:gd name="connsiteX1615" fmla="*/ 4254456 w 12192000"/>
              <a:gd name="connsiteY1615" fmla="*/ 6231350 h 6858000"/>
              <a:gd name="connsiteX1616" fmla="*/ 4247377 w 12192000"/>
              <a:gd name="connsiteY1616" fmla="*/ 6229245 h 6858000"/>
              <a:gd name="connsiteX1617" fmla="*/ 4237328 w 12192000"/>
              <a:gd name="connsiteY1617" fmla="*/ 6226174 h 6858000"/>
              <a:gd name="connsiteX1618" fmla="*/ 4233920 w 12192000"/>
              <a:gd name="connsiteY1618" fmla="*/ 6221086 h 6858000"/>
              <a:gd name="connsiteX1619" fmla="*/ 4237066 w 12192000"/>
              <a:gd name="connsiteY1619" fmla="*/ 6215911 h 6858000"/>
              <a:gd name="connsiteX1620" fmla="*/ 4243882 w 12192000"/>
              <a:gd name="connsiteY1620" fmla="*/ 6214332 h 6858000"/>
              <a:gd name="connsiteX1621" fmla="*/ 4251747 w 12192000"/>
              <a:gd name="connsiteY1621" fmla="*/ 6216349 h 6858000"/>
              <a:gd name="connsiteX1622" fmla="*/ 4257427 w 12192000"/>
              <a:gd name="connsiteY1622" fmla="*/ 6221086 h 6858000"/>
              <a:gd name="connsiteX1623" fmla="*/ 4257427 w 12192000"/>
              <a:gd name="connsiteY1623" fmla="*/ 6221174 h 6858000"/>
              <a:gd name="connsiteX1624" fmla="*/ 4267477 w 12192000"/>
              <a:gd name="connsiteY1624" fmla="*/ 6212226 h 6858000"/>
              <a:gd name="connsiteX1625" fmla="*/ 4257340 w 12192000"/>
              <a:gd name="connsiteY1625" fmla="*/ 6205121 h 6858000"/>
              <a:gd name="connsiteX1626" fmla="*/ 4244231 w 12192000"/>
              <a:gd name="connsiteY1626" fmla="*/ 6202752 h 6858000"/>
              <a:gd name="connsiteX1627" fmla="*/ 4470303 w 12192000"/>
              <a:gd name="connsiteY1627" fmla="*/ 6202664 h 6858000"/>
              <a:gd name="connsiteX1628" fmla="*/ 4458243 w 12192000"/>
              <a:gd name="connsiteY1628" fmla="*/ 6206261 h 6858000"/>
              <a:gd name="connsiteX1629" fmla="*/ 4451078 w 12192000"/>
              <a:gd name="connsiteY1629" fmla="*/ 6214507 h 6858000"/>
              <a:gd name="connsiteX1630" fmla="*/ 4450816 w 12192000"/>
              <a:gd name="connsiteY1630" fmla="*/ 6214507 h 6858000"/>
              <a:gd name="connsiteX1631" fmla="*/ 4450816 w 12192000"/>
              <a:gd name="connsiteY1631" fmla="*/ 6204506 h 6858000"/>
              <a:gd name="connsiteX1632" fmla="*/ 4436047 w 12192000"/>
              <a:gd name="connsiteY1632" fmla="*/ 6204506 h 6858000"/>
              <a:gd name="connsiteX1633" fmla="*/ 4436047 w 12192000"/>
              <a:gd name="connsiteY1633" fmla="*/ 6266790 h 6858000"/>
              <a:gd name="connsiteX1634" fmla="*/ 4451602 w 12192000"/>
              <a:gd name="connsiteY1634" fmla="*/ 6266790 h 6858000"/>
              <a:gd name="connsiteX1635" fmla="*/ 4451602 w 12192000"/>
              <a:gd name="connsiteY1635" fmla="*/ 6232490 h 6858000"/>
              <a:gd name="connsiteX1636" fmla="*/ 4452476 w 12192000"/>
              <a:gd name="connsiteY1636" fmla="*/ 6226349 h 6858000"/>
              <a:gd name="connsiteX1637" fmla="*/ 4455097 w 12192000"/>
              <a:gd name="connsiteY1637" fmla="*/ 6220998 h 6858000"/>
              <a:gd name="connsiteX1638" fmla="*/ 4459554 w 12192000"/>
              <a:gd name="connsiteY1638" fmla="*/ 6217138 h 6858000"/>
              <a:gd name="connsiteX1639" fmla="*/ 4466021 w 12192000"/>
              <a:gd name="connsiteY1639" fmla="*/ 6215647 h 6858000"/>
              <a:gd name="connsiteX1640" fmla="*/ 4472051 w 12192000"/>
              <a:gd name="connsiteY1640" fmla="*/ 6217226 h 6858000"/>
              <a:gd name="connsiteX1641" fmla="*/ 4475634 w 12192000"/>
              <a:gd name="connsiteY1641" fmla="*/ 6221174 h 6858000"/>
              <a:gd name="connsiteX1642" fmla="*/ 4477294 w 12192000"/>
              <a:gd name="connsiteY1642" fmla="*/ 6226525 h 6858000"/>
              <a:gd name="connsiteX1643" fmla="*/ 4477644 w 12192000"/>
              <a:gd name="connsiteY1643" fmla="*/ 6232227 h 6858000"/>
              <a:gd name="connsiteX1644" fmla="*/ 4477644 w 12192000"/>
              <a:gd name="connsiteY1644" fmla="*/ 6266790 h 6858000"/>
              <a:gd name="connsiteX1645" fmla="*/ 4493198 w 12192000"/>
              <a:gd name="connsiteY1645" fmla="*/ 6266790 h 6858000"/>
              <a:gd name="connsiteX1646" fmla="*/ 4493198 w 12192000"/>
              <a:gd name="connsiteY1646" fmla="*/ 6227841 h 6858000"/>
              <a:gd name="connsiteX1647" fmla="*/ 4491888 w 12192000"/>
              <a:gd name="connsiteY1647" fmla="*/ 6218454 h 6858000"/>
              <a:gd name="connsiteX1648" fmla="*/ 4487780 w 12192000"/>
              <a:gd name="connsiteY1648" fmla="*/ 6210384 h 6858000"/>
              <a:gd name="connsiteX1649" fmla="*/ 4480702 w 12192000"/>
              <a:gd name="connsiteY1649" fmla="*/ 6204769 h 6858000"/>
              <a:gd name="connsiteX1650" fmla="*/ 4470303 w 12192000"/>
              <a:gd name="connsiteY1650" fmla="*/ 6202664 h 6858000"/>
              <a:gd name="connsiteX1651" fmla="*/ 9486717 w 12192000"/>
              <a:gd name="connsiteY1651" fmla="*/ 6201288 h 6858000"/>
              <a:gd name="connsiteX1652" fmla="*/ 9486717 w 12192000"/>
              <a:gd name="connsiteY1652" fmla="*/ 6239955 h 6858000"/>
              <a:gd name="connsiteX1653" fmla="*/ 9478722 w 12192000"/>
              <a:gd name="connsiteY1653" fmla="*/ 6232597 h 6858000"/>
              <a:gd name="connsiteX1654" fmla="*/ 9438822 w 12192000"/>
              <a:gd name="connsiteY1654" fmla="*/ 6282691 h 6858000"/>
              <a:gd name="connsiteX1655" fmla="*/ 9486717 w 12192000"/>
              <a:gd name="connsiteY1655" fmla="*/ 6293023 h 6858000"/>
              <a:gd name="connsiteX1656" fmla="*/ 9487338 w 12192000"/>
              <a:gd name="connsiteY1656" fmla="*/ 6302181 h 6858000"/>
              <a:gd name="connsiteX1657" fmla="*/ 9487416 w 12192000"/>
              <a:gd name="connsiteY1657" fmla="*/ 6302181 h 6858000"/>
              <a:gd name="connsiteX1658" fmla="*/ 9496809 w 12192000"/>
              <a:gd name="connsiteY1658" fmla="*/ 6302181 h 6858000"/>
              <a:gd name="connsiteX1659" fmla="*/ 9496809 w 12192000"/>
              <a:gd name="connsiteY1659" fmla="*/ 6201288 h 6858000"/>
              <a:gd name="connsiteX1660" fmla="*/ 9248717 w 12192000"/>
              <a:gd name="connsiteY1660" fmla="*/ 6201288 h 6858000"/>
              <a:gd name="connsiteX1661" fmla="*/ 9248717 w 12192000"/>
              <a:gd name="connsiteY1661" fmla="*/ 6302181 h 6858000"/>
              <a:gd name="connsiteX1662" fmla="*/ 9259817 w 12192000"/>
              <a:gd name="connsiteY1662" fmla="*/ 6302181 h 6858000"/>
              <a:gd name="connsiteX1663" fmla="*/ 9259817 w 12192000"/>
              <a:gd name="connsiteY1663" fmla="*/ 6212403 h 6858000"/>
              <a:gd name="connsiteX1664" fmla="*/ 9289393 w 12192000"/>
              <a:gd name="connsiteY1664" fmla="*/ 6292319 h 6858000"/>
              <a:gd name="connsiteX1665" fmla="*/ 9302046 w 12192000"/>
              <a:gd name="connsiteY1665" fmla="*/ 6292710 h 6858000"/>
              <a:gd name="connsiteX1666" fmla="*/ 9331932 w 12192000"/>
              <a:gd name="connsiteY1666" fmla="*/ 6212403 h 6858000"/>
              <a:gd name="connsiteX1667" fmla="*/ 9331932 w 12192000"/>
              <a:gd name="connsiteY1667" fmla="*/ 6302181 h 6858000"/>
              <a:gd name="connsiteX1668" fmla="*/ 9343032 w 12192000"/>
              <a:gd name="connsiteY1668" fmla="*/ 6302181 h 6858000"/>
              <a:gd name="connsiteX1669" fmla="*/ 9343032 w 12192000"/>
              <a:gd name="connsiteY1669" fmla="*/ 6201288 h 6858000"/>
              <a:gd name="connsiteX1670" fmla="*/ 9324790 w 12192000"/>
              <a:gd name="connsiteY1670" fmla="*/ 6201288 h 6858000"/>
              <a:gd name="connsiteX1671" fmla="*/ 9296224 w 12192000"/>
              <a:gd name="connsiteY1671" fmla="*/ 6281830 h 6858000"/>
              <a:gd name="connsiteX1672" fmla="*/ 9266959 w 12192000"/>
              <a:gd name="connsiteY1672" fmla="*/ 6201288 h 6858000"/>
              <a:gd name="connsiteX1673" fmla="*/ 9197951 w 12192000"/>
              <a:gd name="connsiteY1673" fmla="*/ 6201288 h 6858000"/>
              <a:gd name="connsiteX1674" fmla="*/ 9042544 w 12192000"/>
              <a:gd name="connsiteY1674" fmla="*/ 6201679 h 6858000"/>
              <a:gd name="connsiteX1675" fmla="*/ 9040681 w 12192000"/>
              <a:gd name="connsiteY1675" fmla="*/ 6207158 h 6858000"/>
              <a:gd name="connsiteX1676" fmla="*/ 9193448 w 12192000"/>
              <a:gd name="connsiteY1676" fmla="*/ 6207158 h 6858000"/>
              <a:gd name="connsiteX1677" fmla="*/ 9225197 w 12192000"/>
              <a:gd name="connsiteY1677" fmla="*/ 6298894 h 6858000"/>
              <a:gd name="connsiteX1678" fmla="*/ 9164960 w 12192000"/>
              <a:gd name="connsiteY1678" fmla="*/ 6253183 h 6858000"/>
              <a:gd name="connsiteX1679" fmla="*/ 9024147 w 12192000"/>
              <a:gd name="connsiteY1679" fmla="*/ 6253026 h 6858000"/>
              <a:gd name="connsiteX1680" fmla="*/ 9021119 w 12192000"/>
              <a:gd name="connsiteY1680" fmla="*/ 6260932 h 6858000"/>
              <a:gd name="connsiteX1681" fmla="*/ 9163174 w 12192000"/>
              <a:gd name="connsiteY1681" fmla="*/ 6260932 h 6858000"/>
              <a:gd name="connsiteX1682" fmla="*/ 9218754 w 12192000"/>
              <a:gd name="connsiteY1682" fmla="*/ 6304138 h 6858000"/>
              <a:gd name="connsiteX1683" fmla="*/ 9005284 w 12192000"/>
              <a:gd name="connsiteY1683" fmla="*/ 6304764 h 6858000"/>
              <a:gd name="connsiteX1684" fmla="*/ 9001635 w 12192000"/>
              <a:gd name="connsiteY1684" fmla="*/ 6313922 h 6858000"/>
              <a:gd name="connsiteX1685" fmla="*/ 9203772 w 12192000"/>
              <a:gd name="connsiteY1685" fmla="*/ 6313922 h 6858000"/>
              <a:gd name="connsiteX1686" fmla="*/ 9101229 w 12192000"/>
              <a:gd name="connsiteY1686" fmla="*/ 6356346 h 6858000"/>
              <a:gd name="connsiteX1687" fmla="*/ 8986964 w 12192000"/>
              <a:gd name="connsiteY1687" fmla="*/ 6356502 h 6858000"/>
              <a:gd name="connsiteX1688" fmla="*/ 8985489 w 12192000"/>
              <a:gd name="connsiteY1688" fmla="*/ 6357598 h 6858000"/>
              <a:gd name="connsiteX1689" fmla="*/ 8982151 w 12192000"/>
              <a:gd name="connsiteY1689" fmla="*/ 6367617 h 6858000"/>
              <a:gd name="connsiteX1690" fmla="*/ 9102160 w 12192000"/>
              <a:gd name="connsiteY1690" fmla="*/ 6367617 h 6858000"/>
              <a:gd name="connsiteX1691" fmla="*/ 9166900 w 12192000"/>
              <a:gd name="connsiteY1691" fmla="*/ 6340457 h 6858000"/>
              <a:gd name="connsiteX1692" fmla="*/ 9173343 w 12192000"/>
              <a:gd name="connsiteY1692" fmla="*/ 6338500 h 6858000"/>
              <a:gd name="connsiteX1693" fmla="*/ 9068005 w 12192000"/>
              <a:gd name="connsiteY1693" fmla="*/ 6408632 h 6858000"/>
              <a:gd name="connsiteX1694" fmla="*/ 8967557 w 12192000"/>
              <a:gd name="connsiteY1694" fmla="*/ 6408867 h 6858000"/>
              <a:gd name="connsiteX1695" fmla="*/ 8963288 w 12192000"/>
              <a:gd name="connsiteY1695" fmla="*/ 6420686 h 6858000"/>
              <a:gd name="connsiteX1696" fmla="*/ 9072197 w 12192000"/>
              <a:gd name="connsiteY1696" fmla="*/ 6420686 h 6858000"/>
              <a:gd name="connsiteX1697" fmla="*/ 9235677 w 12192000"/>
              <a:gd name="connsiteY1697" fmla="*/ 6311809 h 6858000"/>
              <a:gd name="connsiteX1698" fmla="*/ 9235677 w 12192000"/>
              <a:gd name="connsiteY1698" fmla="*/ 6310400 h 6858000"/>
              <a:gd name="connsiteX1699" fmla="*/ 7231872 w 12192000"/>
              <a:gd name="connsiteY1699" fmla="*/ 6196677 h 6858000"/>
              <a:gd name="connsiteX1700" fmla="*/ 7258202 w 12192000"/>
              <a:gd name="connsiteY1700" fmla="*/ 6196677 h 6858000"/>
              <a:gd name="connsiteX1701" fmla="*/ 7272970 w 12192000"/>
              <a:gd name="connsiteY1701" fmla="*/ 6201880 h 6858000"/>
              <a:gd name="connsiteX1702" fmla="*/ 7275725 w 12192000"/>
              <a:gd name="connsiteY1702" fmla="*/ 6211600 h 6858000"/>
              <a:gd name="connsiteX1703" fmla="*/ 7275725 w 12192000"/>
              <a:gd name="connsiteY1703" fmla="*/ 6211753 h 6858000"/>
              <a:gd name="connsiteX1704" fmla="*/ 7265699 w 12192000"/>
              <a:gd name="connsiteY1704" fmla="*/ 6224840 h 6858000"/>
              <a:gd name="connsiteX1705" fmla="*/ 7275572 w 12192000"/>
              <a:gd name="connsiteY1705" fmla="*/ 6239152 h 6858000"/>
              <a:gd name="connsiteX1706" fmla="*/ 7275572 w 12192000"/>
              <a:gd name="connsiteY1706" fmla="*/ 6239305 h 6858000"/>
              <a:gd name="connsiteX1707" fmla="*/ 7251847 w 12192000"/>
              <a:gd name="connsiteY1707" fmla="*/ 6255454 h 6858000"/>
              <a:gd name="connsiteX1708" fmla="*/ 7224688 w 12192000"/>
              <a:gd name="connsiteY1708" fmla="*/ 6255454 h 6858000"/>
              <a:gd name="connsiteX1709" fmla="*/ 7478846 w 12192000"/>
              <a:gd name="connsiteY1709" fmla="*/ 6192468 h 6858000"/>
              <a:gd name="connsiteX1710" fmla="*/ 7484279 w 12192000"/>
              <a:gd name="connsiteY1710" fmla="*/ 6197748 h 6858000"/>
              <a:gd name="connsiteX1711" fmla="*/ 7478846 w 12192000"/>
              <a:gd name="connsiteY1711" fmla="*/ 6192468 h 6858000"/>
              <a:gd name="connsiteX1712" fmla="*/ 7478845 w 12192000"/>
              <a:gd name="connsiteY1712" fmla="*/ 6192467 h 6858000"/>
              <a:gd name="connsiteX1713" fmla="*/ 7478846 w 12192000"/>
              <a:gd name="connsiteY1713" fmla="*/ 6192468 h 6858000"/>
              <a:gd name="connsiteX1714" fmla="*/ 7472723 w 12192000"/>
              <a:gd name="connsiteY1714" fmla="*/ 6196907 h 6858000"/>
              <a:gd name="connsiteX1715" fmla="*/ 7450452 w 12192000"/>
              <a:gd name="connsiteY1715" fmla="*/ 6292956 h 6858000"/>
              <a:gd name="connsiteX1716" fmla="*/ 7450451 w 12192000"/>
              <a:gd name="connsiteY1716" fmla="*/ 6292955 h 6858000"/>
              <a:gd name="connsiteX1717" fmla="*/ 7472722 w 12192000"/>
              <a:gd name="connsiteY1717" fmla="*/ 6196906 h 6858000"/>
              <a:gd name="connsiteX1718" fmla="*/ 7478845 w 12192000"/>
              <a:gd name="connsiteY1718" fmla="*/ 6192467 h 6858000"/>
              <a:gd name="connsiteX1719" fmla="*/ 4285303 w 12192000"/>
              <a:gd name="connsiteY1719" fmla="*/ 6186435 h 6858000"/>
              <a:gd name="connsiteX1720" fmla="*/ 4285303 w 12192000"/>
              <a:gd name="connsiteY1720" fmla="*/ 6204506 h 6858000"/>
              <a:gd name="connsiteX1721" fmla="*/ 4274467 w 12192000"/>
              <a:gd name="connsiteY1721" fmla="*/ 6204506 h 6858000"/>
              <a:gd name="connsiteX1722" fmla="*/ 4274467 w 12192000"/>
              <a:gd name="connsiteY1722" fmla="*/ 6216787 h 6858000"/>
              <a:gd name="connsiteX1723" fmla="*/ 4285303 w 12192000"/>
              <a:gd name="connsiteY1723" fmla="*/ 6216787 h 6858000"/>
              <a:gd name="connsiteX1724" fmla="*/ 4285303 w 12192000"/>
              <a:gd name="connsiteY1724" fmla="*/ 6245912 h 6858000"/>
              <a:gd name="connsiteX1725" fmla="*/ 4286177 w 12192000"/>
              <a:gd name="connsiteY1725" fmla="*/ 6254421 h 6858000"/>
              <a:gd name="connsiteX1726" fmla="*/ 4289323 w 12192000"/>
              <a:gd name="connsiteY1726" fmla="*/ 6261439 h 6858000"/>
              <a:gd name="connsiteX1727" fmla="*/ 4295440 w 12192000"/>
              <a:gd name="connsiteY1727" fmla="*/ 6266264 h 6858000"/>
              <a:gd name="connsiteX1728" fmla="*/ 4305490 w 12192000"/>
              <a:gd name="connsiteY1728" fmla="*/ 6268018 h 6858000"/>
              <a:gd name="connsiteX1729" fmla="*/ 4310908 w 12192000"/>
              <a:gd name="connsiteY1729" fmla="*/ 6267579 h 6858000"/>
              <a:gd name="connsiteX1730" fmla="*/ 4315801 w 12192000"/>
              <a:gd name="connsiteY1730" fmla="*/ 6266351 h 6858000"/>
              <a:gd name="connsiteX1731" fmla="*/ 4315277 w 12192000"/>
              <a:gd name="connsiteY1731" fmla="*/ 6254158 h 6858000"/>
              <a:gd name="connsiteX1732" fmla="*/ 4312044 w 12192000"/>
              <a:gd name="connsiteY1732" fmla="*/ 6255123 h 6858000"/>
              <a:gd name="connsiteX1733" fmla="*/ 4308723 w 12192000"/>
              <a:gd name="connsiteY1733" fmla="*/ 6255474 h 6858000"/>
              <a:gd name="connsiteX1734" fmla="*/ 4302081 w 12192000"/>
              <a:gd name="connsiteY1734" fmla="*/ 6252754 h 6858000"/>
              <a:gd name="connsiteX1735" fmla="*/ 4300596 w 12192000"/>
              <a:gd name="connsiteY1735" fmla="*/ 6245912 h 6858000"/>
              <a:gd name="connsiteX1736" fmla="*/ 4300596 w 12192000"/>
              <a:gd name="connsiteY1736" fmla="*/ 6216963 h 6858000"/>
              <a:gd name="connsiteX1737" fmla="*/ 4316151 w 12192000"/>
              <a:gd name="connsiteY1737" fmla="*/ 6216963 h 6858000"/>
              <a:gd name="connsiteX1738" fmla="*/ 4316151 w 12192000"/>
              <a:gd name="connsiteY1738" fmla="*/ 6204506 h 6858000"/>
              <a:gd name="connsiteX1739" fmla="*/ 4300596 w 12192000"/>
              <a:gd name="connsiteY1739" fmla="*/ 6204506 h 6858000"/>
              <a:gd name="connsiteX1740" fmla="*/ 4300596 w 12192000"/>
              <a:gd name="connsiteY1740" fmla="*/ 6186435 h 6858000"/>
              <a:gd name="connsiteX1741" fmla="*/ 4409044 w 12192000"/>
              <a:gd name="connsiteY1741" fmla="*/ 6173891 h 6858000"/>
              <a:gd name="connsiteX1742" fmla="*/ 4401965 w 12192000"/>
              <a:gd name="connsiteY1742" fmla="*/ 6176698 h 6858000"/>
              <a:gd name="connsiteX1743" fmla="*/ 4399206 w 12192000"/>
              <a:gd name="connsiteY1743" fmla="*/ 6183190 h 6858000"/>
              <a:gd name="connsiteX1744" fmla="*/ 4399169 w 12192000"/>
              <a:gd name="connsiteY1744" fmla="*/ 6183102 h 6858000"/>
              <a:gd name="connsiteX1745" fmla="*/ 4399169 w 12192000"/>
              <a:gd name="connsiteY1745" fmla="*/ 6183277 h 6858000"/>
              <a:gd name="connsiteX1746" fmla="*/ 4399206 w 12192000"/>
              <a:gd name="connsiteY1746" fmla="*/ 6183190 h 6858000"/>
              <a:gd name="connsiteX1747" fmla="*/ 4401965 w 12192000"/>
              <a:gd name="connsiteY1747" fmla="*/ 6189681 h 6858000"/>
              <a:gd name="connsiteX1748" fmla="*/ 4409044 w 12192000"/>
              <a:gd name="connsiteY1748" fmla="*/ 6192488 h 6858000"/>
              <a:gd name="connsiteX1749" fmla="*/ 4416210 w 12192000"/>
              <a:gd name="connsiteY1749" fmla="*/ 6189857 h 6858000"/>
              <a:gd name="connsiteX1750" fmla="*/ 4419093 w 12192000"/>
              <a:gd name="connsiteY1750" fmla="*/ 6183190 h 6858000"/>
              <a:gd name="connsiteX1751" fmla="*/ 4416210 w 12192000"/>
              <a:gd name="connsiteY1751" fmla="*/ 6176523 h 6858000"/>
              <a:gd name="connsiteX1752" fmla="*/ 4409044 w 12192000"/>
              <a:gd name="connsiteY1752" fmla="*/ 6173891 h 6858000"/>
              <a:gd name="connsiteX1753" fmla="*/ 3992906 w 12192000"/>
              <a:gd name="connsiteY1753" fmla="*/ 6172487 h 6858000"/>
              <a:gd name="connsiteX1754" fmla="*/ 3992906 w 12192000"/>
              <a:gd name="connsiteY1754" fmla="*/ 6550400 h 6858000"/>
              <a:gd name="connsiteX1755" fmla="*/ 4003217 w 12192000"/>
              <a:gd name="connsiteY1755" fmla="*/ 6550400 h 6858000"/>
              <a:gd name="connsiteX1756" fmla="*/ 4003217 w 12192000"/>
              <a:gd name="connsiteY1756" fmla="*/ 6172487 h 6858000"/>
              <a:gd name="connsiteX1757" fmla="*/ 4105896 w 12192000"/>
              <a:gd name="connsiteY1757" fmla="*/ 6172400 h 6858000"/>
              <a:gd name="connsiteX1758" fmla="*/ 4093663 w 12192000"/>
              <a:gd name="connsiteY1758" fmla="*/ 6174067 h 6858000"/>
              <a:gd name="connsiteX1759" fmla="*/ 4082913 w 12192000"/>
              <a:gd name="connsiteY1759" fmla="*/ 6178979 h 6858000"/>
              <a:gd name="connsiteX1760" fmla="*/ 4075312 w 12192000"/>
              <a:gd name="connsiteY1760" fmla="*/ 6187313 h 6858000"/>
              <a:gd name="connsiteX1761" fmla="*/ 4072428 w 12192000"/>
              <a:gd name="connsiteY1761" fmla="*/ 6199419 h 6858000"/>
              <a:gd name="connsiteX1762" fmla="*/ 4074525 w 12192000"/>
              <a:gd name="connsiteY1762" fmla="*/ 6210297 h 6858000"/>
              <a:gd name="connsiteX1763" fmla="*/ 4079855 w 12192000"/>
              <a:gd name="connsiteY1763" fmla="*/ 6217665 h 6858000"/>
              <a:gd name="connsiteX1764" fmla="*/ 4087283 w 12192000"/>
              <a:gd name="connsiteY1764" fmla="*/ 6222490 h 6858000"/>
              <a:gd name="connsiteX1765" fmla="*/ 4095585 w 12192000"/>
              <a:gd name="connsiteY1765" fmla="*/ 6225648 h 6858000"/>
              <a:gd name="connsiteX1766" fmla="*/ 4103713 w 12192000"/>
              <a:gd name="connsiteY1766" fmla="*/ 6228368 h 6858000"/>
              <a:gd name="connsiteX1767" fmla="*/ 4110440 w 12192000"/>
              <a:gd name="connsiteY1767" fmla="*/ 6231438 h 6858000"/>
              <a:gd name="connsiteX1768" fmla="*/ 4114985 w 12192000"/>
              <a:gd name="connsiteY1768" fmla="*/ 6235561 h 6858000"/>
              <a:gd name="connsiteX1769" fmla="*/ 4116645 w 12192000"/>
              <a:gd name="connsiteY1769" fmla="*/ 6241614 h 6858000"/>
              <a:gd name="connsiteX1770" fmla="*/ 4115159 w 12192000"/>
              <a:gd name="connsiteY1770" fmla="*/ 6247930 h 6858000"/>
              <a:gd name="connsiteX1771" fmla="*/ 4111314 w 12192000"/>
              <a:gd name="connsiteY1771" fmla="*/ 6252141 h 6858000"/>
              <a:gd name="connsiteX1772" fmla="*/ 4105985 w 12192000"/>
              <a:gd name="connsiteY1772" fmla="*/ 6254509 h 6858000"/>
              <a:gd name="connsiteX1773" fmla="*/ 4100129 w 12192000"/>
              <a:gd name="connsiteY1773" fmla="*/ 6255211 h 6858000"/>
              <a:gd name="connsiteX1774" fmla="*/ 4089030 w 12192000"/>
              <a:gd name="connsiteY1774" fmla="*/ 6252492 h 6858000"/>
              <a:gd name="connsiteX1775" fmla="*/ 4080031 w 12192000"/>
              <a:gd name="connsiteY1775" fmla="*/ 6245123 h 6858000"/>
              <a:gd name="connsiteX1776" fmla="*/ 4068408 w 12192000"/>
              <a:gd name="connsiteY1776" fmla="*/ 6256001 h 6858000"/>
              <a:gd name="connsiteX1777" fmla="*/ 4082390 w 12192000"/>
              <a:gd name="connsiteY1777" fmla="*/ 6265826 h 6858000"/>
              <a:gd name="connsiteX1778" fmla="*/ 4099867 w 12192000"/>
              <a:gd name="connsiteY1778" fmla="*/ 6269159 h 6858000"/>
              <a:gd name="connsiteX1779" fmla="*/ 4112713 w 12192000"/>
              <a:gd name="connsiteY1779" fmla="*/ 6267317 h 6858000"/>
              <a:gd name="connsiteX1780" fmla="*/ 4123287 w 12192000"/>
              <a:gd name="connsiteY1780" fmla="*/ 6261878 h 6858000"/>
              <a:gd name="connsiteX1781" fmla="*/ 4130540 w 12192000"/>
              <a:gd name="connsiteY1781" fmla="*/ 6252755 h 6858000"/>
              <a:gd name="connsiteX1782" fmla="*/ 4133249 w 12192000"/>
              <a:gd name="connsiteY1782" fmla="*/ 6239859 h 6858000"/>
              <a:gd name="connsiteX1783" fmla="*/ 4130715 w 12192000"/>
              <a:gd name="connsiteY1783" fmla="*/ 6228543 h 6858000"/>
              <a:gd name="connsiteX1784" fmla="*/ 4124248 w 12192000"/>
              <a:gd name="connsiteY1784" fmla="*/ 6220999 h 6858000"/>
              <a:gd name="connsiteX1785" fmla="*/ 4115597 w 12192000"/>
              <a:gd name="connsiteY1785" fmla="*/ 6216174 h 6858000"/>
              <a:gd name="connsiteX1786" fmla="*/ 4106508 w 12192000"/>
              <a:gd name="connsiteY1786" fmla="*/ 6212928 h 6858000"/>
              <a:gd name="connsiteX1787" fmla="*/ 4099430 w 12192000"/>
              <a:gd name="connsiteY1787" fmla="*/ 6210560 h 6858000"/>
              <a:gd name="connsiteX1788" fmla="*/ 4093924 w 12192000"/>
              <a:gd name="connsiteY1788" fmla="*/ 6207840 h 6858000"/>
              <a:gd name="connsiteX1789" fmla="*/ 4090341 w 12192000"/>
              <a:gd name="connsiteY1789" fmla="*/ 6204068 h 6858000"/>
              <a:gd name="connsiteX1790" fmla="*/ 4089030 w 12192000"/>
              <a:gd name="connsiteY1790" fmla="*/ 6198717 h 6858000"/>
              <a:gd name="connsiteX1791" fmla="*/ 4090516 w 12192000"/>
              <a:gd name="connsiteY1791" fmla="*/ 6192927 h 6858000"/>
              <a:gd name="connsiteX1792" fmla="*/ 4094361 w 12192000"/>
              <a:gd name="connsiteY1792" fmla="*/ 6189067 h 6858000"/>
              <a:gd name="connsiteX1793" fmla="*/ 4099517 w 12192000"/>
              <a:gd name="connsiteY1793" fmla="*/ 6186874 h 6858000"/>
              <a:gd name="connsiteX1794" fmla="*/ 4105197 w 12192000"/>
              <a:gd name="connsiteY1794" fmla="*/ 6186173 h 6858000"/>
              <a:gd name="connsiteX1795" fmla="*/ 4114723 w 12192000"/>
              <a:gd name="connsiteY1795" fmla="*/ 6188453 h 6858000"/>
              <a:gd name="connsiteX1796" fmla="*/ 4122063 w 12192000"/>
              <a:gd name="connsiteY1796" fmla="*/ 6194068 h 6858000"/>
              <a:gd name="connsiteX1797" fmla="*/ 4121976 w 12192000"/>
              <a:gd name="connsiteY1797" fmla="*/ 6193892 h 6858000"/>
              <a:gd name="connsiteX1798" fmla="*/ 4132550 w 12192000"/>
              <a:gd name="connsiteY1798" fmla="*/ 6182225 h 6858000"/>
              <a:gd name="connsiteX1799" fmla="*/ 4120054 w 12192000"/>
              <a:gd name="connsiteY1799" fmla="*/ 6174856 h 6858000"/>
              <a:gd name="connsiteX1800" fmla="*/ 4105896 w 12192000"/>
              <a:gd name="connsiteY1800" fmla="*/ 6172400 h 6858000"/>
              <a:gd name="connsiteX1801" fmla="*/ 3294950 w 12192000"/>
              <a:gd name="connsiteY1801" fmla="*/ 6168726 h 6858000"/>
              <a:gd name="connsiteX1802" fmla="*/ 3274091 w 12192000"/>
              <a:gd name="connsiteY1802" fmla="*/ 6168978 h 6858000"/>
              <a:gd name="connsiteX1803" fmla="*/ 3241600 w 12192000"/>
              <a:gd name="connsiteY1803" fmla="*/ 6174154 h 6858000"/>
              <a:gd name="connsiteX1804" fmla="*/ 3133561 w 12192000"/>
              <a:gd name="connsiteY1804" fmla="*/ 6248720 h 6858000"/>
              <a:gd name="connsiteX1805" fmla="*/ 3098123 w 12192000"/>
              <a:gd name="connsiteY1805" fmla="*/ 6364427 h 6858000"/>
              <a:gd name="connsiteX1806" fmla="*/ 3103582 w 12192000"/>
              <a:gd name="connsiteY1806" fmla="*/ 6406534 h 6858000"/>
              <a:gd name="connsiteX1807" fmla="*/ 3166916 w 12192000"/>
              <a:gd name="connsiteY1807" fmla="*/ 6508381 h 6858000"/>
              <a:gd name="connsiteX1808" fmla="*/ 3279723 w 12192000"/>
              <a:gd name="connsiteY1808" fmla="*/ 6552331 h 6858000"/>
              <a:gd name="connsiteX1809" fmla="*/ 3329542 w 12192000"/>
              <a:gd name="connsiteY1809" fmla="*/ 6547770 h 6858000"/>
              <a:gd name="connsiteX1810" fmla="*/ 3457162 w 12192000"/>
              <a:gd name="connsiteY1810" fmla="*/ 6446624 h 6858000"/>
              <a:gd name="connsiteX1811" fmla="*/ 3475616 w 12192000"/>
              <a:gd name="connsiteY1811" fmla="*/ 6333899 h 6858000"/>
              <a:gd name="connsiteX1812" fmla="*/ 3455777 w 12192000"/>
              <a:gd name="connsiteY1812" fmla="*/ 6271264 h 6858000"/>
              <a:gd name="connsiteX1813" fmla="*/ 3365843 w 12192000"/>
              <a:gd name="connsiteY1813" fmla="*/ 6185383 h 6858000"/>
              <a:gd name="connsiteX1814" fmla="*/ 3306494 w 12192000"/>
              <a:gd name="connsiteY1814" fmla="*/ 6169329 h 6858000"/>
              <a:gd name="connsiteX1815" fmla="*/ 3306580 w 12192000"/>
              <a:gd name="connsiteY1815" fmla="*/ 6169329 h 6858000"/>
              <a:gd name="connsiteX1816" fmla="*/ 3294950 w 12192000"/>
              <a:gd name="connsiteY1816" fmla="*/ 6168726 h 6858000"/>
              <a:gd name="connsiteX1817" fmla="*/ 4664216 w 12192000"/>
              <a:gd name="connsiteY1817" fmla="*/ 6168628 h 6858000"/>
              <a:gd name="connsiteX1818" fmla="*/ 4664216 w 12192000"/>
              <a:gd name="connsiteY1818" fmla="*/ 6266791 h 6858000"/>
              <a:gd name="connsiteX1819" fmla="*/ 4679771 w 12192000"/>
              <a:gd name="connsiteY1819" fmla="*/ 6266791 h 6858000"/>
              <a:gd name="connsiteX1820" fmla="*/ 4679771 w 12192000"/>
              <a:gd name="connsiteY1820" fmla="*/ 6168628 h 6858000"/>
              <a:gd name="connsiteX1821" fmla="*/ 4582945 w 12192000"/>
              <a:gd name="connsiteY1821" fmla="*/ 6168628 h 6858000"/>
              <a:gd name="connsiteX1822" fmla="*/ 4582945 w 12192000"/>
              <a:gd name="connsiteY1822" fmla="*/ 6266703 h 6858000"/>
              <a:gd name="connsiteX1823" fmla="*/ 4597714 w 12192000"/>
              <a:gd name="connsiteY1823" fmla="*/ 6266703 h 6858000"/>
              <a:gd name="connsiteX1824" fmla="*/ 4597714 w 12192000"/>
              <a:gd name="connsiteY1824" fmla="*/ 6257317 h 6858000"/>
              <a:gd name="connsiteX1825" fmla="*/ 4597976 w 12192000"/>
              <a:gd name="connsiteY1825" fmla="*/ 6257317 h 6858000"/>
              <a:gd name="connsiteX1826" fmla="*/ 4606977 w 12192000"/>
              <a:gd name="connsiteY1826" fmla="*/ 6265650 h 6858000"/>
              <a:gd name="connsiteX1827" fmla="*/ 4619298 w 12192000"/>
              <a:gd name="connsiteY1827" fmla="*/ 6268545 h 6858000"/>
              <a:gd name="connsiteX1828" fmla="*/ 4632057 w 12192000"/>
              <a:gd name="connsiteY1828" fmla="*/ 6265914 h 6858000"/>
              <a:gd name="connsiteX1829" fmla="*/ 4641669 w 12192000"/>
              <a:gd name="connsiteY1829" fmla="*/ 6258808 h 6858000"/>
              <a:gd name="connsiteX1830" fmla="*/ 4647787 w 12192000"/>
              <a:gd name="connsiteY1830" fmla="*/ 6248281 h 6858000"/>
              <a:gd name="connsiteX1831" fmla="*/ 4649884 w 12192000"/>
              <a:gd name="connsiteY1831" fmla="*/ 6235386 h 6858000"/>
              <a:gd name="connsiteX1832" fmla="*/ 4647699 w 12192000"/>
              <a:gd name="connsiteY1832" fmla="*/ 6222490 h 6858000"/>
              <a:gd name="connsiteX1833" fmla="*/ 4641495 w 12192000"/>
              <a:gd name="connsiteY1833" fmla="*/ 6212139 h 6858000"/>
              <a:gd name="connsiteX1834" fmla="*/ 4631882 w 12192000"/>
              <a:gd name="connsiteY1834" fmla="*/ 6205209 h 6858000"/>
              <a:gd name="connsiteX1835" fmla="*/ 4619735 w 12192000"/>
              <a:gd name="connsiteY1835" fmla="*/ 6202665 h 6858000"/>
              <a:gd name="connsiteX1836" fmla="*/ 4612132 w 12192000"/>
              <a:gd name="connsiteY1836" fmla="*/ 6203630 h 6858000"/>
              <a:gd name="connsiteX1837" fmla="*/ 4606278 w 12192000"/>
              <a:gd name="connsiteY1837" fmla="*/ 6205998 h 6858000"/>
              <a:gd name="connsiteX1838" fmla="*/ 4601908 w 12192000"/>
              <a:gd name="connsiteY1838" fmla="*/ 6209156 h 6858000"/>
              <a:gd name="connsiteX1839" fmla="*/ 4598937 w 12192000"/>
              <a:gd name="connsiteY1839" fmla="*/ 6212402 h 6858000"/>
              <a:gd name="connsiteX1840" fmla="*/ 4598587 w 12192000"/>
              <a:gd name="connsiteY1840" fmla="*/ 6212402 h 6858000"/>
              <a:gd name="connsiteX1841" fmla="*/ 4598587 w 12192000"/>
              <a:gd name="connsiteY1841" fmla="*/ 6168628 h 6858000"/>
              <a:gd name="connsiteX1842" fmla="*/ 4598500 w 12192000"/>
              <a:gd name="connsiteY1842" fmla="*/ 6168628 h 6858000"/>
              <a:gd name="connsiteX1843" fmla="*/ 7532112 w 12192000"/>
              <a:gd name="connsiteY1843" fmla="*/ 6160783 h 6858000"/>
              <a:gd name="connsiteX1844" fmla="*/ 7532113 w 12192000"/>
              <a:gd name="connsiteY1844" fmla="*/ 6160783 h 6858000"/>
              <a:gd name="connsiteX1845" fmla="*/ 7532113 w 12192000"/>
              <a:gd name="connsiteY1845" fmla="*/ 6295788 h 6858000"/>
              <a:gd name="connsiteX1846" fmla="*/ 7526755 w 12192000"/>
              <a:gd name="connsiteY1846" fmla="*/ 6295788 h 6858000"/>
              <a:gd name="connsiteX1847" fmla="*/ 7523466 w 12192000"/>
              <a:gd name="connsiteY1847" fmla="*/ 6293686 h 6858000"/>
              <a:gd name="connsiteX1848" fmla="*/ 7526755 w 12192000"/>
              <a:gd name="connsiteY1848" fmla="*/ 6295787 h 6858000"/>
              <a:gd name="connsiteX1849" fmla="*/ 7532112 w 12192000"/>
              <a:gd name="connsiteY1849" fmla="*/ 6295787 h 6858000"/>
              <a:gd name="connsiteX1850" fmla="*/ 6729737 w 12192000"/>
              <a:gd name="connsiteY1850" fmla="*/ 6152004 h 6858000"/>
              <a:gd name="connsiteX1851" fmla="*/ 6684135 w 12192000"/>
              <a:gd name="connsiteY1851" fmla="*/ 6161508 h 6858000"/>
              <a:gd name="connsiteX1852" fmla="*/ 6684099 w 12192000"/>
              <a:gd name="connsiteY1852" fmla="*/ 6161454 h 6858000"/>
              <a:gd name="connsiteX1853" fmla="*/ 6684021 w 12192000"/>
              <a:gd name="connsiteY1853" fmla="*/ 6161532 h 6858000"/>
              <a:gd name="connsiteX1854" fmla="*/ 6659423 w 12192000"/>
              <a:gd name="connsiteY1854" fmla="*/ 6175073 h 6858000"/>
              <a:gd name="connsiteX1855" fmla="*/ 6625775 w 12192000"/>
              <a:gd name="connsiteY1855" fmla="*/ 6341246 h 6858000"/>
              <a:gd name="connsiteX1856" fmla="*/ 6655710 w 12192000"/>
              <a:gd name="connsiteY1856" fmla="*/ 6320661 h 6858000"/>
              <a:gd name="connsiteX1857" fmla="*/ 6649600 w 12192000"/>
              <a:gd name="connsiteY1857" fmla="*/ 6301719 h 6858000"/>
              <a:gd name="connsiteX1858" fmla="*/ 6672377 w 12192000"/>
              <a:gd name="connsiteY1858" fmla="*/ 6206012 h 6858000"/>
              <a:gd name="connsiteX1859" fmla="*/ 6701257 w 12192000"/>
              <a:gd name="connsiteY1859" fmla="*/ 6187343 h 6858000"/>
              <a:gd name="connsiteX1860" fmla="*/ 6701270 w 12192000"/>
              <a:gd name="connsiteY1860" fmla="*/ 6187362 h 6858000"/>
              <a:gd name="connsiteX1861" fmla="*/ 6789065 w 12192000"/>
              <a:gd name="connsiteY1861" fmla="*/ 6206695 h 6858000"/>
              <a:gd name="connsiteX1862" fmla="*/ 6786822 w 12192000"/>
              <a:gd name="connsiteY1862" fmla="*/ 6308137 h 6858000"/>
              <a:gd name="connsiteX1863" fmla="*/ 6696011 w 12192000"/>
              <a:gd name="connsiteY1863" fmla="*/ 6280663 h 6858000"/>
              <a:gd name="connsiteX1864" fmla="*/ 6731902 w 12192000"/>
              <a:gd name="connsiteY1864" fmla="*/ 6223290 h 6858000"/>
              <a:gd name="connsiteX1865" fmla="*/ 6731883 w 12192000"/>
              <a:gd name="connsiteY1865" fmla="*/ 6223229 h 6858000"/>
              <a:gd name="connsiteX1866" fmla="*/ 6750699 w 12192000"/>
              <a:gd name="connsiteY1866" fmla="*/ 6229081 h 6858000"/>
              <a:gd name="connsiteX1867" fmla="*/ 6751240 w 12192000"/>
              <a:gd name="connsiteY1867" fmla="*/ 6254677 h 6858000"/>
              <a:gd name="connsiteX1868" fmla="*/ 6753252 w 12192000"/>
              <a:gd name="connsiteY1868" fmla="*/ 6256320 h 6858000"/>
              <a:gd name="connsiteX1869" fmla="*/ 6753278 w 12192000"/>
              <a:gd name="connsiteY1869" fmla="*/ 6256358 h 6858000"/>
              <a:gd name="connsiteX1870" fmla="*/ 6751318 w 12192000"/>
              <a:gd name="connsiteY1870" fmla="*/ 6254755 h 6858000"/>
              <a:gd name="connsiteX1871" fmla="*/ 6751395 w 12192000"/>
              <a:gd name="connsiteY1871" fmla="*/ 6254833 h 6858000"/>
              <a:gd name="connsiteX1872" fmla="*/ 6730046 w 12192000"/>
              <a:gd name="connsiteY1872" fmla="*/ 6258356 h 6858000"/>
              <a:gd name="connsiteX1873" fmla="*/ 6716046 w 12192000"/>
              <a:gd name="connsiteY1873" fmla="*/ 6268296 h 6858000"/>
              <a:gd name="connsiteX1874" fmla="*/ 6716046 w 12192000"/>
              <a:gd name="connsiteY1874" fmla="*/ 6269392 h 6858000"/>
              <a:gd name="connsiteX1875" fmla="*/ 6723858 w 12192000"/>
              <a:gd name="connsiteY1875" fmla="*/ 6278941 h 6858000"/>
              <a:gd name="connsiteX1876" fmla="*/ 6756733 w 12192000"/>
              <a:gd name="connsiteY1876" fmla="*/ 6307511 h 6858000"/>
              <a:gd name="connsiteX1877" fmla="*/ 6771352 w 12192000"/>
              <a:gd name="connsiteY1877" fmla="*/ 6297179 h 6858000"/>
              <a:gd name="connsiteX1878" fmla="*/ 6747992 w 12192000"/>
              <a:gd name="connsiteY1878" fmla="*/ 6275810 h 6858000"/>
              <a:gd name="connsiteX1879" fmla="*/ 6761528 w 12192000"/>
              <a:gd name="connsiteY1879" fmla="*/ 6271036 h 6858000"/>
              <a:gd name="connsiteX1880" fmla="*/ 6761915 w 12192000"/>
              <a:gd name="connsiteY1880" fmla="*/ 6269940 h 6858000"/>
              <a:gd name="connsiteX1881" fmla="*/ 6761878 w 12192000"/>
              <a:gd name="connsiteY1881" fmla="*/ 6269843 h 6858000"/>
              <a:gd name="connsiteX1882" fmla="*/ 6765396 w 12192000"/>
              <a:gd name="connsiteY1882" fmla="*/ 6268140 h 6858000"/>
              <a:gd name="connsiteX1883" fmla="*/ 6774137 w 12192000"/>
              <a:gd name="connsiteY1883" fmla="*/ 6225090 h 6858000"/>
              <a:gd name="connsiteX1884" fmla="*/ 6720145 w 12192000"/>
              <a:gd name="connsiteY1884" fmla="*/ 6204112 h 6858000"/>
              <a:gd name="connsiteX1885" fmla="*/ 6720197 w 12192000"/>
              <a:gd name="connsiteY1885" fmla="*/ 6204191 h 6858000"/>
              <a:gd name="connsiteX1886" fmla="*/ 6720145 w 12192000"/>
              <a:gd name="connsiteY1886" fmla="*/ 6204191 h 6858000"/>
              <a:gd name="connsiteX1887" fmla="*/ 6676286 w 12192000"/>
              <a:gd name="connsiteY1887" fmla="*/ 6301093 h 6858000"/>
              <a:gd name="connsiteX1888" fmla="*/ 6768006 w 12192000"/>
              <a:gd name="connsiteY1888" fmla="*/ 6346090 h 6858000"/>
              <a:gd name="connsiteX1889" fmla="*/ 6801790 w 12192000"/>
              <a:gd name="connsiteY1889" fmla="*/ 6330618 h 6858000"/>
              <a:gd name="connsiteX1890" fmla="*/ 6801750 w 12192000"/>
              <a:gd name="connsiteY1890" fmla="*/ 6330679 h 6858000"/>
              <a:gd name="connsiteX1891" fmla="*/ 6801828 w 12192000"/>
              <a:gd name="connsiteY1891" fmla="*/ 6330601 h 6858000"/>
              <a:gd name="connsiteX1892" fmla="*/ 6801815 w 12192000"/>
              <a:gd name="connsiteY1892" fmla="*/ 6330582 h 6858000"/>
              <a:gd name="connsiteX1893" fmla="*/ 6832816 w 12192000"/>
              <a:gd name="connsiteY1893" fmla="*/ 6283853 h 6858000"/>
              <a:gd name="connsiteX1894" fmla="*/ 6832150 w 12192000"/>
              <a:gd name="connsiteY1894" fmla="*/ 6226576 h 6858000"/>
              <a:gd name="connsiteX1895" fmla="*/ 6729737 w 12192000"/>
              <a:gd name="connsiteY1895" fmla="*/ 6152004 h 6858000"/>
              <a:gd name="connsiteX1896" fmla="*/ 7192917 w 12192000"/>
              <a:gd name="connsiteY1896" fmla="*/ 6151905 h 6858000"/>
              <a:gd name="connsiteX1897" fmla="*/ 7192917 w 12192000"/>
              <a:gd name="connsiteY1897" fmla="*/ 6499979 h 6858000"/>
              <a:gd name="connsiteX1898" fmla="*/ 7540991 w 12192000"/>
              <a:gd name="connsiteY1898" fmla="*/ 6499979 h 6858000"/>
              <a:gd name="connsiteX1899" fmla="*/ 7540991 w 12192000"/>
              <a:gd name="connsiteY1899" fmla="*/ 6151905 h 6858000"/>
              <a:gd name="connsiteX1900" fmla="*/ 10851357 w 12192000"/>
              <a:gd name="connsiteY1900" fmla="*/ 6151401 h 6858000"/>
              <a:gd name="connsiteX1901" fmla="*/ 10851357 w 12192000"/>
              <a:gd name="connsiteY1901" fmla="*/ 6495801 h 6858000"/>
              <a:gd name="connsiteX1902" fmla="*/ 10862157 w 12192000"/>
              <a:gd name="connsiteY1902" fmla="*/ 6495801 h 6858000"/>
              <a:gd name="connsiteX1903" fmla="*/ 10862157 w 12192000"/>
              <a:gd name="connsiteY1903" fmla="*/ 6151401 h 6858000"/>
              <a:gd name="connsiteX1904" fmla="*/ 10038531 w 12192000"/>
              <a:gd name="connsiteY1904" fmla="*/ 6151401 h 6858000"/>
              <a:gd name="connsiteX1905" fmla="*/ 10038531 w 12192000"/>
              <a:gd name="connsiteY1905" fmla="*/ 6495801 h 6858000"/>
              <a:gd name="connsiteX1906" fmla="*/ 10049331 w 12192000"/>
              <a:gd name="connsiteY1906" fmla="*/ 6495801 h 6858000"/>
              <a:gd name="connsiteX1907" fmla="*/ 10049331 w 12192000"/>
              <a:gd name="connsiteY1907" fmla="*/ 6151401 h 6858000"/>
              <a:gd name="connsiteX1908" fmla="*/ 7009065 w 12192000"/>
              <a:gd name="connsiteY1908" fmla="*/ 6151401 h 6858000"/>
              <a:gd name="connsiteX1909" fmla="*/ 7009065 w 12192000"/>
              <a:gd name="connsiteY1909" fmla="*/ 6495801 h 6858000"/>
              <a:gd name="connsiteX1910" fmla="*/ 7019865 w 12192000"/>
              <a:gd name="connsiteY1910" fmla="*/ 6495801 h 6858000"/>
              <a:gd name="connsiteX1911" fmla="*/ 7019865 w 12192000"/>
              <a:gd name="connsiteY1911" fmla="*/ 6151401 h 6858000"/>
              <a:gd name="connsiteX1912" fmla="*/ 10347127 w 12192000"/>
              <a:gd name="connsiteY1912" fmla="*/ 6149004 h 6858000"/>
              <a:gd name="connsiteX1913" fmla="*/ 10347127 w 12192000"/>
              <a:gd name="connsiteY1913" fmla="*/ 6165253 h 6858000"/>
              <a:gd name="connsiteX1914" fmla="*/ 10332962 w 12192000"/>
              <a:gd name="connsiteY1914" fmla="*/ 6155039 h 6858000"/>
              <a:gd name="connsiteX1915" fmla="*/ 10431465 w 12192000"/>
              <a:gd name="connsiteY1915" fmla="*/ 6124196 h 6858000"/>
              <a:gd name="connsiteX1916" fmla="*/ 10442157 w 12192000"/>
              <a:gd name="connsiteY1916" fmla="*/ 6136934 h 6858000"/>
              <a:gd name="connsiteX1917" fmla="*/ 10419664 w 12192000"/>
              <a:gd name="connsiteY1917" fmla="*/ 6136934 h 6858000"/>
              <a:gd name="connsiteX1918" fmla="*/ 10431465 w 12192000"/>
              <a:gd name="connsiteY1918" fmla="*/ 6124196 h 6858000"/>
              <a:gd name="connsiteX1919" fmla="*/ 10435989 w 12192000"/>
              <a:gd name="connsiteY1919" fmla="*/ 6119844 h 6858000"/>
              <a:gd name="connsiteX1920" fmla="*/ 10409546 w 12192000"/>
              <a:gd name="connsiteY1920" fmla="*/ 6136160 h 6858000"/>
              <a:gd name="connsiteX1921" fmla="*/ 10454843 w 12192000"/>
              <a:gd name="connsiteY1921" fmla="*/ 6164711 h 6858000"/>
              <a:gd name="connsiteX1922" fmla="*/ 10452742 w 12192000"/>
              <a:gd name="connsiteY1922" fmla="*/ 6161848 h 6858000"/>
              <a:gd name="connsiteX1923" fmla="*/ 10419041 w 12192000"/>
              <a:gd name="connsiteY1923" fmla="*/ 6152563 h 6858000"/>
              <a:gd name="connsiteX1924" fmla="*/ 10418963 w 12192000"/>
              <a:gd name="connsiteY1924" fmla="*/ 6152641 h 6858000"/>
              <a:gd name="connsiteX1925" fmla="*/ 10418963 w 12192000"/>
              <a:gd name="connsiteY1925" fmla="*/ 6140802 h 6858000"/>
              <a:gd name="connsiteX1926" fmla="*/ 10453676 w 12192000"/>
              <a:gd name="connsiteY1926" fmla="*/ 6141421 h 6858000"/>
              <a:gd name="connsiteX1927" fmla="*/ 10435989 w 12192000"/>
              <a:gd name="connsiteY1927" fmla="*/ 6119844 h 6858000"/>
              <a:gd name="connsiteX1928" fmla="*/ 10342399 w 12192000"/>
              <a:gd name="connsiteY1928" fmla="*/ 6119805 h 6858000"/>
              <a:gd name="connsiteX1929" fmla="*/ 10321131 w 12192000"/>
              <a:gd name="connsiteY1929" fmla="*/ 6133762 h 6858000"/>
              <a:gd name="connsiteX1930" fmla="*/ 10320509 w 12192000"/>
              <a:gd name="connsiteY1930" fmla="*/ 6137631 h 6858000"/>
              <a:gd name="connsiteX1931" fmla="*/ 10332339 w 12192000"/>
              <a:gd name="connsiteY1931" fmla="*/ 6135696 h 6858000"/>
              <a:gd name="connsiteX1932" fmla="*/ 10342846 w 12192000"/>
              <a:gd name="connsiteY1932" fmla="*/ 6125560 h 6858000"/>
              <a:gd name="connsiteX1933" fmla="*/ 10346815 w 12192000"/>
              <a:gd name="connsiteY1933" fmla="*/ 6145290 h 6858000"/>
              <a:gd name="connsiteX1934" fmla="*/ 10321754 w 12192000"/>
              <a:gd name="connsiteY1934" fmla="*/ 6154885 h 6858000"/>
              <a:gd name="connsiteX1935" fmla="*/ 10339966 w 12192000"/>
              <a:gd name="connsiteY1935" fmla="*/ 6174228 h 6858000"/>
              <a:gd name="connsiteX1936" fmla="*/ 10347749 w 12192000"/>
              <a:gd name="connsiteY1936" fmla="*/ 6168889 h 6858000"/>
              <a:gd name="connsiteX1937" fmla="*/ 10358256 w 12192000"/>
              <a:gd name="connsiteY1937" fmla="*/ 6176472 h 6858000"/>
              <a:gd name="connsiteX1938" fmla="*/ 10366409 w 12192000"/>
              <a:gd name="connsiteY1938" fmla="*/ 6172942 h 6858000"/>
              <a:gd name="connsiteX1939" fmla="*/ 10370161 w 12192000"/>
              <a:gd name="connsiteY1939" fmla="*/ 6165794 h 6858000"/>
              <a:gd name="connsiteX1940" fmla="*/ 10370320 w 12192000"/>
              <a:gd name="connsiteY1940" fmla="*/ 6165717 h 6858000"/>
              <a:gd name="connsiteX1941" fmla="*/ 10370242 w 12192000"/>
              <a:gd name="connsiteY1941" fmla="*/ 6165640 h 6858000"/>
              <a:gd name="connsiteX1942" fmla="*/ 10370161 w 12192000"/>
              <a:gd name="connsiteY1942" fmla="*/ 6165794 h 6858000"/>
              <a:gd name="connsiteX1943" fmla="*/ 10364181 w 12192000"/>
              <a:gd name="connsiteY1943" fmla="*/ 6168705 h 6858000"/>
              <a:gd name="connsiteX1944" fmla="*/ 10359035 w 12192000"/>
              <a:gd name="connsiteY1944" fmla="*/ 6165717 h 6858000"/>
              <a:gd name="connsiteX1945" fmla="*/ 10358723 w 12192000"/>
              <a:gd name="connsiteY1945" fmla="*/ 6142969 h 6858000"/>
              <a:gd name="connsiteX1946" fmla="*/ 10359346 w 12192000"/>
              <a:gd name="connsiteY1946" fmla="*/ 6134690 h 6858000"/>
              <a:gd name="connsiteX1947" fmla="*/ 10342399 w 12192000"/>
              <a:gd name="connsiteY1947" fmla="*/ 6119805 h 6858000"/>
              <a:gd name="connsiteX1948" fmla="*/ 10246959 w 12192000"/>
              <a:gd name="connsiteY1948" fmla="*/ 6093527 h 6858000"/>
              <a:gd name="connsiteX1949" fmla="*/ 10246959 w 12192000"/>
              <a:gd name="connsiteY1949" fmla="*/ 6097318 h 6858000"/>
              <a:gd name="connsiteX1950" fmla="*/ 10259334 w 12192000"/>
              <a:gd name="connsiteY1950" fmla="*/ 6103353 h 6858000"/>
              <a:gd name="connsiteX1951" fmla="*/ 10282683 w 12192000"/>
              <a:gd name="connsiteY1951" fmla="*/ 6142659 h 6858000"/>
              <a:gd name="connsiteX1952" fmla="*/ 10282683 w 12192000"/>
              <a:gd name="connsiteY1952" fmla="*/ 6166645 h 6858000"/>
              <a:gd name="connsiteX1953" fmla="*/ 10268051 w 12192000"/>
              <a:gd name="connsiteY1953" fmla="*/ 6171829 h 6858000"/>
              <a:gd name="connsiteX1954" fmla="*/ 10268440 w 12192000"/>
              <a:gd name="connsiteY1954" fmla="*/ 6175388 h 6858000"/>
              <a:gd name="connsiteX1955" fmla="*/ 10309301 w 12192000"/>
              <a:gd name="connsiteY1955" fmla="*/ 6175388 h 6858000"/>
              <a:gd name="connsiteX1956" fmla="*/ 10309301 w 12192000"/>
              <a:gd name="connsiteY1956" fmla="*/ 6171519 h 6858000"/>
              <a:gd name="connsiteX1957" fmla="*/ 10295447 w 12192000"/>
              <a:gd name="connsiteY1957" fmla="*/ 6165793 h 6858000"/>
              <a:gd name="connsiteX1958" fmla="*/ 10295292 w 12192000"/>
              <a:gd name="connsiteY1958" fmla="*/ 6140725 h 6858000"/>
              <a:gd name="connsiteX1959" fmla="*/ 10323233 w 12192000"/>
              <a:gd name="connsiteY1959" fmla="*/ 6098943 h 6858000"/>
              <a:gd name="connsiteX1960" fmla="*/ 10331094 w 12192000"/>
              <a:gd name="connsiteY1960" fmla="*/ 6097473 h 6858000"/>
              <a:gd name="connsiteX1961" fmla="*/ 10331094 w 12192000"/>
              <a:gd name="connsiteY1961" fmla="*/ 6093604 h 6858000"/>
              <a:gd name="connsiteX1962" fmla="*/ 10300273 w 12192000"/>
              <a:gd name="connsiteY1962" fmla="*/ 6093604 h 6858000"/>
              <a:gd name="connsiteX1963" fmla="*/ 10300273 w 12192000"/>
              <a:gd name="connsiteY1963" fmla="*/ 6097473 h 6858000"/>
              <a:gd name="connsiteX1964" fmla="*/ 10310391 w 12192000"/>
              <a:gd name="connsiteY1964" fmla="*/ 6099872 h 6858000"/>
              <a:gd name="connsiteX1965" fmla="*/ 10311247 w 12192000"/>
              <a:gd name="connsiteY1965" fmla="*/ 6100955 h 6858000"/>
              <a:gd name="connsiteX1966" fmla="*/ 10292568 w 12192000"/>
              <a:gd name="connsiteY1966" fmla="*/ 6134457 h 6858000"/>
              <a:gd name="connsiteX1967" fmla="*/ 10272721 w 12192000"/>
              <a:gd name="connsiteY1967" fmla="*/ 6101419 h 6858000"/>
              <a:gd name="connsiteX1968" fmla="*/ 10282917 w 12192000"/>
              <a:gd name="connsiteY1968" fmla="*/ 6097396 h 6858000"/>
              <a:gd name="connsiteX1969" fmla="*/ 10282917 w 12192000"/>
              <a:gd name="connsiteY1969" fmla="*/ 6093527 h 6858000"/>
              <a:gd name="connsiteX1970" fmla="*/ 10246959 w 12192000"/>
              <a:gd name="connsiteY1970" fmla="*/ 6093527 h 6858000"/>
              <a:gd name="connsiteX1971" fmla="*/ 10393980 w 12192000"/>
              <a:gd name="connsiteY1971" fmla="*/ 6086487 h 6858000"/>
              <a:gd name="connsiteX1972" fmla="*/ 10371799 w 12192000"/>
              <a:gd name="connsiteY1972" fmla="*/ 6092213 h 6858000"/>
              <a:gd name="connsiteX1973" fmla="*/ 10370242 w 12192000"/>
              <a:gd name="connsiteY1973" fmla="*/ 6095462 h 6858000"/>
              <a:gd name="connsiteX1974" fmla="*/ 10379582 w 12192000"/>
              <a:gd name="connsiteY1974" fmla="*/ 6099254 h 6858000"/>
              <a:gd name="connsiteX1975" fmla="*/ 10379815 w 12192000"/>
              <a:gd name="connsiteY1975" fmla="*/ 6167884 h 6858000"/>
              <a:gd name="connsiteX1976" fmla="*/ 10371488 w 12192000"/>
              <a:gd name="connsiteY1976" fmla="*/ 6172139 h 6858000"/>
              <a:gd name="connsiteX1977" fmla="*/ 10371488 w 12192000"/>
              <a:gd name="connsiteY1977" fmla="*/ 6175234 h 6858000"/>
              <a:gd name="connsiteX1978" fmla="*/ 10371565 w 12192000"/>
              <a:gd name="connsiteY1978" fmla="*/ 6175157 h 6858000"/>
              <a:gd name="connsiteX1979" fmla="*/ 10399506 w 12192000"/>
              <a:gd name="connsiteY1979" fmla="*/ 6175157 h 6858000"/>
              <a:gd name="connsiteX1980" fmla="*/ 10400440 w 12192000"/>
              <a:gd name="connsiteY1980" fmla="*/ 6171984 h 6858000"/>
              <a:gd name="connsiteX1981" fmla="*/ 10391412 w 12192000"/>
              <a:gd name="connsiteY1981" fmla="*/ 6168502 h 6858000"/>
              <a:gd name="connsiteX1982" fmla="*/ 10391412 w 12192000"/>
              <a:gd name="connsiteY1982" fmla="*/ 6094456 h 6858000"/>
              <a:gd name="connsiteX1983" fmla="*/ 10393980 w 12192000"/>
              <a:gd name="connsiteY1983" fmla="*/ 6086487 h 6858000"/>
              <a:gd name="connsiteX1984" fmla="*/ 6537153 w 12192000"/>
              <a:gd name="connsiteY1984" fmla="*/ 6054617 h 6858000"/>
              <a:gd name="connsiteX1985" fmla="*/ 6531581 w 12192000"/>
              <a:gd name="connsiteY1985" fmla="*/ 6056536 h 6858000"/>
              <a:gd name="connsiteX1986" fmla="*/ 6529476 w 12192000"/>
              <a:gd name="connsiteY1986" fmla="*/ 6061675 h 6858000"/>
              <a:gd name="connsiteX1987" fmla="*/ 6529476 w 12192000"/>
              <a:gd name="connsiteY1987" fmla="*/ 6064151 h 6858000"/>
              <a:gd name="connsiteX1988" fmla="*/ 6531581 w 12192000"/>
              <a:gd name="connsiteY1988" fmla="*/ 6069228 h 6858000"/>
              <a:gd name="connsiteX1989" fmla="*/ 6537153 w 12192000"/>
              <a:gd name="connsiteY1989" fmla="*/ 6071209 h 6858000"/>
              <a:gd name="connsiteX1990" fmla="*/ 6542787 w 12192000"/>
              <a:gd name="connsiteY1990" fmla="*/ 6069228 h 6858000"/>
              <a:gd name="connsiteX1991" fmla="*/ 6544831 w 12192000"/>
              <a:gd name="connsiteY1991" fmla="*/ 6064151 h 6858000"/>
              <a:gd name="connsiteX1992" fmla="*/ 6544831 w 12192000"/>
              <a:gd name="connsiteY1992" fmla="*/ 6061675 h 6858000"/>
              <a:gd name="connsiteX1993" fmla="*/ 6542787 w 12192000"/>
              <a:gd name="connsiteY1993" fmla="*/ 6056536 h 6858000"/>
              <a:gd name="connsiteX1994" fmla="*/ 6537153 w 12192000"/>
              <a:gd name="connsiteY1994" fmla="*/ 6054617 h 6858000"/>
              <a:gd name="connsiteX1995" fmla="*/ 3865705 w 12192000"/>
              <a:gd name="connsiteY1995" fmla="*/ 6054617 h 6858000"/>
              <a:gd name="connsiteX1996" fmla="*/ 3860134 w 12192000"/>
              <a:gd name="connsiteY1996" fmla="*/ 6056536 h 6858000"/>
              <a:gd name="connsiteX1997" fmla="*/ 3858029 w 12192000"/>
              <a:gd name="connsiteY1997" fmla="*/ 6061675 h 6858000"/>
              <a:gd name="connsiteX1998" fmla="*/ 3858029 w 12192000"/>
              <a:gd name="connsiteY1998" fmla="*/ 6064151 h 6858000"/>
              <a:gd name="connsiteX1999" fmla="*/ 3860134 w 12192000"/>
              <a:gd name="connsiteY1999" fmla="*/ 6069228 h 6858000"/>
              <a:gd name="connsiteX2000" fmla="*/ 3865705 w 12192000"/>
              <a:gd name="connsiteY2000" fmla="*/ 6071209 h 6858000"/>
              <a:gd name="connsiteX2001" fmla="*/ 3871339 w 12192000"/>
              <a:gd name="connsiteY2001" fmla="*/ 6069228 h 6858000"/>
              <a:gd name="connsiteX2002" fmla="*/ 3873384 w 12192000"/>
              <a:gd name="connsiteY2002" fmla="*/ 6064151 h 6858000"/>
              <a:gd name="connsiteX2003" fmla="*/ 3873384 w 12192000"/>
              <a:gd name="connsiteY2003" fmla="*/ 6061675 h 6858000"/>
              <a:gd name="connsiteX2004" fmla="*/ 3871339 w 12192000"/>
              <a:gd name="connsiteY2004" fmla="*/ 6056536 h 6858000"/>
              <a:gd name="connsiteX2005" fmla="*/ 3865705 w 12192000"/>
              <a:gd name="connsiteY2005" fmla="*/ 6054617 h 6858000"/>
              <a:gd name="connsiteX2006" fmla="*/ 3197117 w 12192000"/>
              <a:gd name="connsiteY2006" fmla="*/ 6038024 h 6858000"/>
              <a:gd name="connsiteX2007" fmla="*/ 3202999 w 12192000"/>
              <a:gd name="connsiteY2007" fmla="*/ 6038334 h 6858000"/>
              <a:gd name="connsiteX2008" fmla="*/ 3210366 w 12192000"/>
              <a:gd name="connsiteY2008" fmla="*/ 6039139 h 6858000"/>
              <a:gd name="connsiteX2009" fmla="*/ 3210366 w 12192000"/>
              <a:gd name="connsiteY2009" fmla="*/ 6047559 h 6858000"/>
              <a:gd name="connsiteX2010" fmla="*/ 3207210 w 12192000"/>
              <a:gd name="connsiteY2010" fmla="*/ 6058889 h 6858000"/>
              <a:gd name="connsiteX2011" fmla="*/ 3196746 w 12192000"/>
              <a:gd name="connsiteY2011" fmla="*/ 6062418 h 6858000"/>
              <a:gd name="connsiteX2012" fmla="*/ 3195631 w 12192000"/>
              <a:gd name="connsiteY2012" fmla="*/ 6062418 h 6858000"/>
              <a:gd name="connsiteX2013" fmla="*/ 3183744 w 12192000"/>
              <a:gd name="connsiteY2013" fmla="*/ 6059694 h 6858000"/>
              <a:gd name="connsiteX2014" fmla="*/ 3180278 w 12192000"/>
              <a:gd name="connsiteY2014" fmla="*/ 6050902 h 6858000"/>
              <a:gd name="connsiteX2015" fmla="*/ 3183931 w 12192000"/>
              <a:gd name="connsiteY2015" fmla="*/ 6040996 h 6858000"/>
              <a:gd name="connsiteX2016" fmla="*/ 3197117 w 12192000"/>
              <a:gd name="connsiteY2016" fmla="*/ 6038024 h 6858000"/>
              <a:gd name="connsiteX2017" fmla="*/ 6432150 w 12192000"/>
              <a:gd name="connsiteY2017" fmla="*/ 6011278 h 6858000"/>
              <a:gd name="connsiteX2018" fmla="*/ 6449114 w 12192000"/>
              <a:gd name="connsiteY2018" fmla="*/ 6031833 h 6858000"/>
              <a:gd name="connsiteX2019" fmla="*/ 6449114 w 12192000"/>
              <a:gd name="connsiteY2019" fmla="*/ 6042234 h 6858000"/>
              <a:gd name="connsiteX2020" fmla="*/ 6432274 w 12192000"/>
              <a:gd name="connsiteY2020" fmla="*/ 6062789 h 6858000"/>
              <a:gd name="connsiteX2021" fmla="*/ 6415310 w 12192000"/>
              <a:gd name="connsiteY2021" fmla="*/ 6042234 h 6858000"/>
              <a:gd name="connsiteX2022" fmla="*/ 6415310 w 12192000"/>
              <a:gd name="connsiteY2022" fmla="*/ 6031833 h 6858000"/>
              <a:gd name="connsiteX2023" fmla="*/ 6419582 w 12192000"/>
              <a:gd name="connsiteY2023" fmla="*/ 6016541 h 6858000"/>
              <a:gd name="connsiteX2024" fmla="*/ 6432150 w 12192000"/>
              <a:gd name="connsiteY2024" fmla="*/ 6011278 h 6858000"/>
              <a:gd name="connsiteX2025" fmla="*/ 6335785 w 12192000"/>
              <a:gd name="connsiteY2025" fmla="*/ 6011278 h 6858000"/>
              <a:gd name="connsiteX2026" fmla="*/ 6352626 w 12192000"/>
              <a:gd name="connsiteY2026" fmla="*/ 6031833 h 6858000"/>
              <a:gd name="connsiteX2027" fmla="*/ 6352626 w 12192000"/>
              <a:gd name="connsiteY2027" fmla="*/ 6042234 h 6858000"/>
              <a:gd name="connsiteX2028" fmla="*/ 6335662 w 12192000"/>
              <a:gd name="connsiteY2028" fmla="*/ 6062789 h 6858000"/>
              <a:gd name="connsiteX2029" fmla="*/ 6318821 w 12192000"/>
              <a:gd name="connsiteY2029" fmla="*/ 6042234 h 6858000"/>
              <a:gd name="connsiteX2030" fmla="*/ 6318821 w 12192000"/>
              <a:gd name="connsiteY2030" fmla="*/ 6031833 h 6858000"/>
              <a:gd name="connsiteX2031" fmla="*/ 6335785 w 12192000"/>
              <a:gd name="connsiteY2031" fmla="*/ 6011278 h 6858000"/>
              <a:gd name="connsiteX2032" fmla="*/ 3778638 w 12192000"/>
              <a:gd name="connsiteY2032" fmla="*/ 6011278 h 6858000"/>
              <a:gd name="connsiteX2033" fmla="*/ 3795602 w 12192000"/>
              <a:gd name="connsiteY2033" fmla="*/ 6031833 h 6858000"/>
              <a:gd name="connsiteX2034" fmla="*/ 3795602 w 12192000"/>
              <a:gd name="connsiteY2034" fmla="*/ 6042234 h 6858000"/>
              <a:gd name="connsiteX2035" fmla="*/ 3778638 w 12192000"/>
              <a:gd name="connsiteY2035" fmla="*/ 6062789 h 6858000"/>
              <a:gd name="connsiteX2036" fmla="*/ 3761674 w 12192000"/>
              <a:gd name="connsiteY2036" fmla="*/ 6042234 h 6858000"/>
              <a:gd name="connsiteX2037" fmla="*/ 3761674 w 12192000"/>
              <a:gd name="connsiteY2037" fmla="*/ 6031833 h 6858000"/>
              <a:gd name="connsiteX2038" fmla="*/ 3778638 w 12192000"/>
              <a:gd name="connsiteY2038" fmla="*/ 6011278 h 6858000"/>
              <a:gd name="connsiteX2039" fmla="*/ 3665576 w 12192000"/>
              <a:gd name="connsiteY2039" fmla="*/ 6011278 h 6858000"/>
              <a:gd name="connsiteX2040" fmla="*/ 3682416 w 12192000"/>
              <a:gd name="connsiteY2040" fmla="*/ 6031833 h 6858000"/>
              <a:gd name="connsiteX2041" fmla="*/ 3682416 w 12192000"/>
              <a:gd name="connsiteY2041" fmla="*/ 6042234 h 6858000"/>
              <a:gd name="connsiteX2042" fmla="*/ 3665452 w 12192000"/>
              <a:gd name="connsiteY2042" fmla="*/ 6062789 h 6858000"/>
              <a:gd name="connsiteX2043" fmla="*/ 3652885 w 12192000"/>
              <a:gd name="connsiteY2043" fmla="*/ 6057527 h 6858000"/>
              <a:gd name="connsiteX2044" fmla="*/ 3648612 w 12192000"/>
              <a:gd name="connsiteY2044" fmla="*/ 6042234 h 6858000"/>
              <a:gd name="connsiteX2045" fmla="*/ 3648612 w 12192000"/>
              <a:gd name="connsiteY2045" fmla="*/ 6031833 h 6858000"/>
              <a:gd name="connsiteX2046" fmla="*/ 3665576 w 12192000"/>
              <a:gd name="connsiteY2046" fmla="*/ 6011278 h 6858000"/>
              <a:gd name="connsiteX2047" fmla="*/ 6268491 w 12192000"/>
              <a:gd name="connsiteY2047" fmla="*/ 6010535 h 6858000"/>
              <a:gd name="connsiteX2048" fmla="*/ 6280317 w 12192000"/>
              <a:gd name="connsiteY2048" fmla="*/ 6015736 h 6858000"/>
              <a:gd name="connsiteX2049" fmla="*/ 6284093 w 12192000"/>
              <a:gd name="connsiteY2049" fmla="*/ 6031957 h 6858000"/>
              <a:gd name="connsiteX2050" fmla="*/ 6252146 w 12192000"/>
              <a:gd name="connsiteY2050" fmla="*/ 6031957 h 6858000"/>
              <a:gd name="connsiteX2051" fmla="*/ 6268491 w 12192000"/>
              <a:gd name="connsiteY2051" fmla="*/ 6010535 h 6858000"/>
              <a:gd name="connsiteX2052" fmla="*/ 3406544 w 12192000"/>
              <a:gd name="connsiteY2052" fmla="*/ 6010535 h 6858000"/>
              <a:gd name="connsiteX2053" fmla="*/ 3418369 w 12192000"/>
              <a:gd name="connsiteY2053" fmla="*/ 6015736 h 6858000"/>
              <a:gd name="connsiteX2054" fmla="*/ 3422145 w 12192000"/>
              <a:gd name="connsiteY2054" fmla="*/ 6031957 h 6858000"/>
              <a:gd name="connsiteX2055" fmla="*/ 3390198 w 12192000"/>
              <a:gd name="connsiteY2055" fmla="*/ 6031957 h 6858000"/>
              <a:gd name="connsiteX2056" fmla="*/ 3406544 w 12192000"/>
              <a:gd name="connsiteY2056" fmla="*/ 6010535 h 6858000"/>
              <a:gd name="connsiteX2057" fmla="*/ 6468488 w 12192000"/>
              <a:gd name="connsiteY2057" fmla="*/ 6004591 h 6858000"/>
              <a:gd name="connsiteX2058" fmla="*/ 6466506 w 12192000"/>
              <a:gd name="connsiteY2058" fmla="*/ 6006077 h 6858000"/>
              <a:gd name="connsiteX2059" fmla="*/ 6466878 w 12192000"/>
              <a:gd name="connsiteY2059" fmla="*/ 6007563 h 6858000"/>
              <a:gd name="connsiteX2060" fmla="*/ 6489662 w 12192000"/>
              <a:gd name="connsiteY2060" fmla="*/ 6067618 h 6858000"/>
              <a:gd name="connsiteX2061" fmla="*/ 6488176 w 12192000"/>
              <a:gd name="connsiteY2061" fmla="*/ 6071952 h 6858000"/>
              <a:gd name="connsiteX2062" fmla="*/ 6483223 w 12192000"/>
              <a:gd name="connsiteY2062" fmla="*/ 6080063 h 6858000"/>
              <a:gd name="connsiteX2063" fmla="*/ 6475298 w 12192000"/>
              <a:gd name="connsiteY2063" fmla="*/ 6081982 h 6858000"/>
              <a:gd name="connsiteX2064" fmla="*/ 6473812 w 12192000"/>
              <a:gd name="connsiteY2064" fmla="*/ 6081982 h 6858000"/>
              <a:gd name="connsiteX2065" fmla="*/ 6472141 w 12192000"/>
              <a:gd name="connsiteY2065" fmla="*/ 6082477 h 6858000"/>
              <a:gd name="connsiteX2066" fmla="*/ 6471707 w 12192000"/>
              <a:gd name="connsiteY2066" fmla="*/ 6084459 h 6858000"/>
              <a:gd name="connsiteX2067" fmla="*/ 6471707 w 12192000"/>
              <a:gd name="connsiteY2067" fmla="*/ 6088173 h 6858000"/>
              <a:gd name="connsiteX2068" fmla="*/ 6472141 w 12192000"/>
              <a:gd name="connsiteY2068" fmla="*/ 6090155 h 6858000"/>
              <a:gd name="connsiteX2069" fmla="*/ 6473812 w 12192000"/>
              <a:gd name="connsiteY2069" fmla="*/ 6090650 h 6858000"/>
              <a:gd name="connsiteX2070" fmla="*/ 6476660 w 12192000"/>
              <a:gd name="connsiteY2070" fmla="*/ 6090650 h 6858000"/>
              <a:gd name="connsiteX2071" fmla="*/ 6485142 w 12192000"/>
              <a:gd name="connsiteY2071" fmla="*/ 6089288 h 6858000"/>
              <a:gd name="connsiteX2072" fmla="*/ 6491767 w 12192000"/>
              <a:gd name="connsiteY2072" fmla="*/ 6084087 h 6858000"/>
              <a:gd name="connsiteX2073" fmla="*/ 6497339 w 12192000"/>
              <a:gd name="connsiteY2073" fmla="*/ 6072695 h 6858000"/>
              <a:gd name="connsiteX2074" fmla="*/ 6520618 w 12192000"/>
              <a:gd name="connsiteY2074" fmla="*/ 6007563 h 6858000"/>
              <a:gd name="connsiteX2075" fmla="*/ 6520989 w 12192000"/>
              <a:gd name="connsiteY2075" fmla="*/ 6006077 h 6858000"/>
              <a:gd name="connsiteX2076" fmla="*/ 6519008 w 12192000"/>
              <a:gd name="connsiteY2076" fmla="*/ 6004591 h 6858000"/>
              <a:gd name="connsiteX2077" fmla="*/ 6513808 w 12192000"/>
              <a:gd name="connsiteY2077" fmla="*/ 6004591 h 6858000"/>
              <a:gd name="connsiteX2078" fmla="*/ 6512074 w 12192000"/>
              <a:gd name="connsiteY2078" fmla="*/ 6005087 h 6858000"/>
              <a:gd name="connsiteX2079" fmla="*/ 6510960 w 12192000"/>
              <a:gd name="connsiteY2079" fmla="*/ 6007192 h 6858000"/>
              <a:gd name="connsiteX2080" fmla="*/ 6494491 w 12192000"/>
              <a:gd name="connsiteY2080" fmla="*/ 6054988 h 6858000"/>
              <a:gd name="connsiteX2081" fmla="*/ 6476784 w 12192000"/>
              <a:gd name="connsiteY2081" fmla="*/ 6007192 h 6858000"/>
              <a:gd name="connsiteX2082" fmla="*/ 6475731 w 12192000"/>
              <a:gd name="connsiteY2082" fmla="*/ 6005087 h 6858000"/>
              <a:gd name="connsiteX2083" fmla="*/ 6473936 w 12192000"/>
              <a:gd name="connsiteY2083" fmla="*/ 6004591 h 6858000"/>
              <a:gd name="connsiteX2084" fmla="*/ 3614093 w 12192000"/>
              <a:gd name="connsiteY2084" fmla="*/ 6004591 h 6858000"/>
              <a:gd name="connsiteX2085" fmla="*/ 3612050 w 12192000"/>
              <a:gd name="connsiteY2085" fmla="*/ 6005087 h 6858000"/>
              <a:gd name="connsiteX2086" fmla="*/ 3611494 w 12192000"/>
              <a:gd name="connsiteY2086" fmla="*/ 6007068 h 6858000"/>
              <a:gd name="connsiteX2087" fmla="*/ 3611494 w 12192000"/>
              <a:gd name="connsiteY2087" fmla="*/ 6066999 h 6858000"/>
              <a:gd name="connsiteX2088" fmla="*/ 3612050 w 12192000"/>
              <a:gd name="connsiteY2088" fmla="*/ 6068980 h 6858000"/>
              <a:gd name="connsiteX2089" fmla="*/ 3614093 w 12192000"/>
              <a:gd name="connsiteY2089" fmla="*/ 6069476 h 6858000"/>
              <a:gd name="connsiteX2090" fmla="*/ 3618676 w 12192000"/>
              <a:gd name="connsiteY2090" fmla="*/ 6069476 h 6858000"/>
              <a:gd name="connsiteX2091" fmla="*/ 3620719 w 12192000"/>
              <a:gd name="connsiteY2091" fmla="*/ 6068980 h 6858000"/>
              <a:gd name="connsiteX2092" fmla="*/ 3621275 w 12192000"/>
              <a:gd name="connsiteY2092" fmla="*/ 6066999 h 6858000"/>
              <a:gd name="connsiteX2093" fmla="*/ 3621275 w 12192000"/>
              <a:gd name="connsiteY2093" fmla="*/ 6007068 h 6858000"/>
              <a:gd name="connsiteX2094" fmla="*/ 3620719 w 12192000"/>
              <a:gd name="connsiteY2094" fmla="*/ 6005087 h 6858000"/>
              <a:gd name="connsiteX2095" fmla="*/ 3618676 w 12192000"/>
              <a:gd name="connsiteY2095" fmla="*/ 6004591 h 6858000"/>
              <a:gd name="connsiteX2096" fmla="*/ 3452168 w 12192000"/>
              <a:gd name="connsiteY2096" fmla="*/ 6004591 h 6858000"/>
              <a:gd name="connsiteX2097" fmla="*/ 3450126 w 12192000"/>
              <a:gd name="connsiteY2097" fmla="*/ 6005087 h 6858000"/>
              <a:gd name="connsiteX2098" fmla="*/ 3449569 w 12192000"/>
              <a:gd name="connsiteY2098" fmla="*/ 6007068 h 6858000"/>
              <a:gd name="connsiteX2099" fmla="*/ 3449569 w 12192000"/>
              <a:gd name="connsiteY2099" fmla="*/ 6066999 h 6858000"/>
              <a:gd name="connsiteX2100" fmla="*/ 3450126 w 12192000"/>
              <a:gd name="connsiteY2100" fmla="*/ 6068980 h 6858000"/>
              <a:gd name="connsiteX2101" fmla="*/ 3452168 w 12192000"/>
              <a:gd name="connsiteY2101" fmla="*/ 6069476 h 6858000"/>
              <a:gd name="connsiteX2102" fmla="*/ 3456750 w 12192000"/>
              <a:gd name="connsiteY2102" fmla="*/ 6069476 h 6858000"/>
              <a:gd name="connsiteX2103" fmla="*/ 3458793 w 12192000"/>
              <a:gd name="connsiteY2103" fmla="*/ 6068980 h 6858000"/>
              <a:gd name="connsiteX2104" fmla="*/ 3459350 w 12192000"/>
              <a:gd name="connsiteY2104" fmla="*/ 6066999 h 6858000"/>
              <a:gd name="connsiteX2105" fmla="*/ 3459350 w 12192000"/>
              <a:gd name="connsiteY2105" fmla="*/ 6035424 h 6858000"/>
              <a:gd name="connsiteX2106" fmla="*/ 3463685 w 12192000"/>
              <a:gd name="connsiteY2106" fmla="*/ 6020131 h 6858000"/>
              <a:gd name="connsiteX2107" fmla="*/ 3475323 w 12192000"/>
              <a:gd name="connsiteY2107" fmla="*/ 6014002 h 6858000"/>
              <a:gd name="connsiteX2108" fmla="*/ 3478544 w 12192000"/>
              <a:gd name="connsiteY2108" fmla="*/ 6014002 h 6858000"/>
              <a:gd name="connsiteX2109" fmla="*/ 3480276 w 12192000"/>
              <a:gd name="connsiteY2109" fmla="*/ 6013507 h 6858000"/>
              <a:gd name="connsiteX2110" fmla="*/ 3480649 w 12192000"/>
              <a:gd name="connsiteY2110" fmla="*/ 6011526 h 6858000"/>
              <a:gd name="connsiteX2111" fmla="*/ 3480649 w 12192000"/>
              <a:gd name="connsiteY2111" fmla="*/ 6007068 h 6858000"/>
              <a:gd name="connsiteX2112" fmla="*/ 3480276 w 12192000"/>
              <a:gd name="connsiteY2112" fmla="*/ 6005087 h 6858000"/>
              <a:gd name="connsiteX2113" fmla="*/ 3478544 w 12192000"/>
              <a:gd name="connsiteY2113" fmla="*/ 6004591 h 6858000"/>
              <a:gd name="connsiteX2114" fmla="*/ 3476934 w 12192000"/>
              <a:gd name="connsiteY2114" fmla="*/ 6004591 h 6858000"/>
              <a:gd name="connsiteX2115" fmla="*/ 3466223 w 12192000"/>
              <a:gd name="connsiteY2115" fmla="*/ 6007873 h 6858000"/>
              <a:gd name="connsiteX2116" fmla="*/ 3459103 w 12192000"/>
              <a:gd name="connsiteY2116" fmla="*/ 6016479 h 6858000"/>
              <a:gd name="connsiteX2117" fmla="*/ 3459103 w 12192000"/>
              <a:gd name="connsiteY2117" fmla="*/ 6007068 h 6858000"/>
              <a:gd name="connsiteX2118" fmla="*/ 3458545 w 12192000"/>
              <a:gd name="connsiteY2118" fmla="*/ 6005087 h 6858000"/>
              <a:gd name="connsiteX2119" fmla="*/ 3456503 w 12192000"/>
              <a:gd name="connsiteY2119" fmla="*/ 6004591 h 6858000"/>
              <a:gd name="connsiteX2120" fmla="*/ 3242618 w 12192000"/>
              <a:gd name="connsiteY2120" fmla="*/ 6004591 h 6858000"/>
              <a:gd name="connsiteX2121" fmla="*/ 3240575 w 12192000"/>
              <a:gd name="connsiteY2121" fmla="*/ 6005087 h 6858000"/>
              <a:gd name="connsiteX2122" fmla="*/ 3240019 w 12192000"/>
              <a:gd name="connsiteY2122" fmla="*/ 6007068 h 6858000"/>
              <a:gd name="connsiteX2123" fmla="*/ 3240019 w 12192000"/>
              <a:gd name="connsiteY2123" fmla="*/ 6066999 h 6858000"/>
              <a:gd name="connsiteX2124" fmla="*/ 3240575 w 12192000"/>
              <a:gd name="connsiteY2124" fmla="*/ 6068980 h 6858000"/>
              <a:gd name="connsiteX2125" fmla="*/ 3242618 w 12192000"/>
              <a:gd name="connsiteY2125" fmla="*/ 6069476 h 6858000"/>
              <a:gd name="connsiteX2126" fmla="*/ 3247200 w 12192000"/>
              <a:gd name="connsiteY2126" fmla="*/ 6069476 h 6858000"/>
              <a:gd name="connsiteX2127" fmla="*/ 3249243 w 12192000"/>
              <a:gd name="connsiteY2127" fmla="*/ 6068980 h 6858000"/>
              <a:gd name="connsiteX2128" fmla="*/ 3249800 w 12192000"/>
              <a:gd name="connsiteY2128" fmla="*/ 6066999 h 6858000"/>
              <a:gd name="connsiteX2129" fmla="*/ 3249800 w 12192000"/>
              <a:gd name="connsiteY2129" fmla="*/ 6035424 h 6858000"/>
              <a:gd name="connsiteX2130" fmla="*/ 3254135 w 12192000"/>
              <a:gd name="connsiteY2130" fmla="*/ 6020131 h 6858000"/>
              <a:gd name="connsiteX2131" fmla="*/ 3265773 w 12192000"/>
              <a:gd name="connsiteY2131" fmla="*/ 6014002 h 6858000"/>
              <a:gd name="connsiteX2132" fmla="*/ 3268993 w 12192000"/>
              <a:gd name="connsiteY2132" fmla="*/ 6014002 h 6858000"/>
              <a:gd name="connsiteX2133" fmla="*/ 3270727 w 12192000"/>
              <a:gd name="connsiteY2133" fmla="*/ 6013507 h 6858000"/>
              <a:gd name="connsiteX2134" fmla="*/ 3271099 w 12192000"/>
              <a:gd name="connsiteY2134" fmla="*/ 6011526 h 6858000"/>
              <a:gd name="connsiteX2135" fmla="*/ 3271099 w 12192000"/>
              <a:gd name="connsiteY2135" fmla="*/ 6007068 h 6858000"/>
              <a:gd name="connsiteX2136" fmla="*/ 3270727 w 12192000"/>
              <a:gd name="connsiteY2136" fmla="*/ 6005087 h 6858000"/>
              <a:gd name="connsiteX2137" fmla="*/ 3268993 w 12192000"/>
              <a:gd name="connsiteY2137" fmla="*/ 6004591 h 6858000"/>
              <a:gd name="connsiteX2138" fmla="*/ 3267383 w 12192000"/>
              <a:gd name="connsiteY2138" fmla="*/ 6004591 h 6858000"/>
              <a:gd name="connsiteX2139" fmla="*/ 3256673 w 12192000"/>
              <a:gd name="connsiteY2139" fmla="*/ 6007873 h 6858000"/>
              <a:gd name="connsiteX2140" fmla="*/ 3249553 w 12192000"/>
              <a:gd name="connsiteY2140" fmla="*/ 6016479 h 6858000"/>
              <a:gd name="connsiteX2141" fmla="*/ 3249553 w 12192000"/>
              <a:gd name="connsiteY2141" fmla="*/ 6007068 h 6858000"/>
              <a:gd name="connsiteX2142" fmla="*/ 3248996 w 12192000"/>
              <a:gd name="connsiteY2142" fmla="*/ 6005087 h 6858000"/>
              <a:gd name="connsiteX2143" fmla="*/ 3246952 w 12192000"/>
              <a:gd name="connsiteY2143" fmla="*/ 6004591 h 6858000"/>
              <a:gd name="connsiteX2144" fmla="*/ 6537153 w 12192000"/>
              <a:gd name="connsiteY2144" fmla="*/ 6003477 h 6858000"/>
              <a:gd name="connsiteX2145" fmla="*/ 6531581 w 12192000"/>
              <a:gd name="connsiteY2145" fmla="*/ 6005396 h 6858000"/>
              <a:gd name="connsiteX2146" fmla="*/ 6529476 w 12192000"/>
              <a:gd name="connsiteY2146" fmla="*/ 6010535 h 6858000"/>
              <a:gd name="connsiteX2147" fmla="*/ 6529476 w 12192000"/>
              <a:gd name="connsiteY2147" fmla="*/ 6013012 h 6858000"/>
              <a:gd name="connsiteX2148" fmla="*/ 6531581 w 12192000"/>
              <a:gd name="connsiteY2148" fmla="*/ 6018088 h 6858000"/>
              <a:gd name="connsiteX2149" fmla="*/ 6537153 w 12192000"/>
              <a:gd name="connsiteY2149" fmla="*/ 6020070 h 6858000"/>
              <a:gd name="connsiteX2150" fmla="*/ 6542787 w 12192000"/>
              <a:gd name="connsiteY2150" fmla="*/ 6018088 h 6858000"/>
              <a:gd name="connsiteX2151" fmla="*/ 6544831 w 12192000"/>
              <a:gd name="connsiteY2151" fmla="*/ 6013012 h 6858000"/>
              <a:gd name="connsiteX2152" fmla="*/ 6544831 w 12192000"/>
              <a:gd name="connsiteY2152" fmla="*/ 6010535 h 6858000"/>
              <a:gd name="connsiteX2153" fmla="*/ 6542787 w 12192000"/>
              <a:gd name="connsiteY2153" fmla="*/ 6005396 h 6858000"/>
              <a:gd name="connsiteX2154" fmla="*/ 6537153 w 12192000"/>
              <a:gd name="connsiteY2154" fmla="*/ 6003477 h 6858000"/>
              <a:gd name="connsiteX2155" fmla="*/ 3865705 w 12192000"/>
              <a:gd name="connsiteY2155" fmla="*/ 6003477 h 6858000"/>
              <a:gd name="connsiteX2156" fmla="*/ 3860134 w 12192000"/>
              <a:gd name="connsiteY2156" fmla="*/ 6005396 h 6858000"/>
              <a:gd name="connsiteX2157" fmla="*/ 3858029 w 12192000"/>
              <a:gd name="connsiteY2157" fmla="*/ 6010535 h 6858000"/>
              <a:gd name="connsiteX2158" fmla="*/ 3858029 w 12192000"/>
              <a:gd name="connsiteY2158" fmla="*/ 6013012 h 6858000"/>
              <a:gd name="connsiteX2159" fmla="*/ 3860134 w 12192000"/>
              <a:gd name="connsiteY2159" fmla="*/ 6018088 h 6858000"/>
              <a:gd name="connsiteX2160" fmla="*/ 3865705 w 12192000"/>
              <a:gd name="connsiteY2160" fmla="*/ 6020070 h 6858000"/>
              <a:gd name="connsiteX2161" fmla="*/ 3871339 w 12192000"/>
              <a:gd name="connsiteY2161" fmla="*/ 6018088 h 6858000"/>
              <a:gd name="connsiteX2162" fmla="*/ 3873384 w 12192000"/>
              <a:gd name="connsiteY2162" fmla="*/ 6013012 h 6858000"/>
              <a:gd name="connsiteX2163" fmla="*/ 3873384 w 12192000"/>
              <a:gd name="connsiteY2163" fmla="*/ 6010535 h 6858000"/>
              <a:gd name="connsiteX2164" fmla="*/ 3871339 w 12192000"/>
              <a:gd name="connsiteY2164" fmla="*/ 6005396 h 6858000"/>
              <a:gd name="connsiteX2165" fmla="*/ 3865705 w 12192000"/>
              <a:gd name="connsiteY2165" fmla="*/ 6003477 h 6858000"/>
              <a:gd name="connsiteX2166" fmla="*/ 6268491 w 12192000"/>
              <a:gd name="connsiteY2166" fmla="*/ 6002858 h 6858000"/>
              <a:gd name="connsiteX2167" fmla="*/ 6249113 w 12192000"/>
              <a:gd name="connsiteY2167" fmla="*/ 6010907 h 6858000"/>
              <a:gd name="connsiteX2168" fmla="*/ 6242364 w 12192000"/>
              <a:gd name="connsiteY2168" fmla="*/ 6033814 h 6858000"/>
              <a:gd name="connsiteX2169" fmla="*/ 6242364 w 12192000"/>
              <a:gd name="connsiteY2169" fmla="*/ 6043101 h 6858000"/>
              <a:gd name="connsiteX2170" fmla="*/ 6249175 w 12192000"/>
              <a:gd name="connsiteY2170" fmla="*/ 6063904 h 6858000"/>
              <a:gd name="connsiteX2171" fmla="*/ 6268367 w 12192000"/>
              <a:gd name="connsiteY2171" fmla="*/ 6071209 h 6858000"/>
              <a:gd name="connsiteX2172" fmla="*/ 6279883 w 12192000"/>
              <a:gd name="connsiteY2172" fmla="*/ 6069228 h 6858000"/>
              <a:gd name="connsiteX2173" fmla="*/ 6288303 w 12192000"/>
              <a:gd name="connsiteY2173" fmla="*/ 6063780 h 6858000"/>
              <a:gd name="connsiteX2174" fmla="*/ 6291399 w 12192000"/>
              <a:gd name="connsiteY2174" fmla="*/ 6059074 h 6858000"/>
              <a:gd name="connsiteX2175" fmla="*/ 6292761 w 12192000"/>
              <a:gd name="connsiteY2175" fmla="*/ 6054617 h 6858000"/>
              <a:gd name="connsiteX2176" fmla="*/ 6292266 w 12192000"/>
              <a:gd name="connsiteY2176" fmla="*/ 6052945 h 6858000"/>
              <a:gd name="connsiteX2177" fmla="*/ 6290037 w 12192000"/>
              <a:gd name="connsiteY2177" fmla="*/ 6052636 h 6858000"/>
              <a:gd name="connsiteX2178" fmla="*/ 6285579 w 12192000"/>
              <a:gd name="connsiteY2178" fmla="*/ 6052636 h 6858000"/>
              <a:gd name="connsiteX2179" fmla="*/ 6283846 w 12192000"/>
              <a:gd name="connsiteY2179" fmla="*/ 6052945 h 6858000"/>
              <a:gd name="connsiteX2180" fmla="*/ 6282731 w 12192000"/>
              <a:gd name="connsiteY2180" fmla="*/ 6054741 h 6858000"/>
              <a:gd name="connsiteX2181" fmla="*/ 6268739 w 12192000"/>
              <a:gd name="connsiteY2181" fmla="*/ 6062789 h 6858000"/>
              <a:gd name="connsiteX2182" fmla="*/ 6252146 w 12192000"/>
              <a:gd name="connsiteY2182" fmla="*/ 6042358 h 6858000"/>
              <a:gd name="connsiteX2183" fmla="*/ 6252146 w 12192000"/>
              <a:gd name="connsiteY2183" fmla="*/ 6040005 h 6858000"/>
              <a:gd name="connsiteX2184" fmla="*/ 6291399 w 12192000"/>
              <a:gd name="connsiteY2184" fmla="*/ 6040005 h 6858000"/>
              <a:gd name="connsiteX2185" fmla="*/ 6293442 w 12192000"/>
              <a:gd name="connsiteY2185" fmla="*/ 6039510 h 6858000"/>
              <a:gd name="connsiteX2186" fmla="*/ 6293999 w 12192000"/>
              <a:gd name="connsiteY2186" fmla="*/ 6037529 h 6858000"/>
              <a:gd name="connsiteX2187" fmla="*/ 6293999 w 12192000"/>
              <a:gd name="connsiteY2187" fmla="*/ 6031214 h 6858000"/>
              <a:gd name="connsiteX2188" fmla="*/ 6268491 w 12192000"/>
              <a:gd name="connsiteY2188" fmla="*/ 6002858 h 6858000"/>
              <a:gd name="connsiteX2189" fmla="*/ 3778638 w 12192000"/>
              <a:gd name="connsiteY2189" fmla="*/ 6002858 h 6858000"/>
              <a:gd name="connsiteX2190" fmla="*/ 3758888 w 12192000"/>
              <a:gd name="connsiteY2190" fmla="*/ 6010287 h 6858000"/>
              <a:gd name="connsiteX2191" fmla="*/ 3751892 w 12192000"/>
              <a:gd name="connsiteY2191" fmla="*/ 6031090 h 6858000"/>
              <a:gd name="connsiteX2192" fmla="*/ 3751892 w 12192000"/>
              <a:gd name="connsiteY2192" fmla="*/ 6044215 h 6858000"/>
              <a:gd name="connsiteX2193" fmla="*/ 3758888 w 12192000"/>
              <a:gd name="connsiteY2193" fmla="*/ 6064089 h 6858000"/>
              <a:gd name="connsiteX2194" fmla="*/ 3778638 w 12192000"/>
              <a:gd name="connsiteY2194" fmla="*/ 6071209 h 6858000"/>
              <a:gd name="connsiteX2195" fmla="*/ 3798387 w 12192000"/>
              <a:gd name="connsiteY2195" fmla="*/ 6063780 h 6858000"/>
              <a:gd name="connsiteX2196" fmla="*/ 3805384 w 12192000"/>
              <a:gd name="connsiteY2196" fmla="*/ 6042977 h 6858000"/>
              <a:gd name="connsiteX2197" fmla="*/ 3805384 w 12192000"/>
              <a:gd name="connsiteY2197" fmla="*/ 6029852 h 6858000"/>
              <a:gd name="connsiteX2198" fmla="*/ 3798387 w 12192000"/>
              <a:gd name="connsiteY2198" fmla="*/ 6009916 h 6858000"/>
              <a:gd name="connsiteX2199" fmla="*/ 3778638 w 12192000"/>
              <a:gd name="connsiteY2199" fmla="*/ 6002858 h 6858000"/>
              <a:gd name="connsiteX2200" fmla="*/ 3665576 w 12192000"/>
              <a:gd name="connsiteY2200" fmla="*/ 6002858 h 6858000"/>
              <a:gd name="connsiteX2201" fmla="*/ 3645826 w 12192000"/>
              <a:gd name="connsiteY2201" fmla="*/ 6010287 h 6858000"/>
              <a:gd name="connsiteX2202" fmla="*/ 3638830 w 12192000"/>
              <a:gd name="connsiteY2202" fmla="*/ 6031090 h 6858000"/>
              <a:gd name="connsiteX2203" fmla="*/ 3638830 w 12192000"/>
              <a:gd name="connsiteY2203" fmla="*/ 6088173 h 6858000"/>
              <a:gd name="connsiteX2204" fmla="*/ 3639387 w 12192000"/>
              <a:gd name="connsiteY2204" fmla="*/ 6090155 h 6858000"/>
              <a:gd name="connsiteX2205" fmla="*/ 3641431 w 12192000"/>
              <a:gd name="connsiteY2205" fmla="*/ 6090650 h 6858000"/>
              <a:gd name="connsiteX2206" fmla="*/ 3646011 w 12192000"/>
              <a:gd name="connsiteY2206" fmla="*/ 6090650 h 6858000"/>
              <a:gd name="connsiteX2207" fmla="*/ 3648054 w 12192000"/>
              <a:gd name="connsiteY2207" fmla="*/ 6090155 h 6858000"/>
              <a:gd name="connsiteX2208" fmla="*/ 3648612 w 12192000"/>
              <a:gd name="connsiteY2208" fmla="*/ 6088173 h 6858000"/>
              <a:gd name="connsiteX2209" fmla="*/ 3648612 w 12192000"/>
              <a:gd name="connsiteY2209" fmla="*/ 6063532 h 6858000"/>
              <a:gd name="connsiteX2210" fmla="*/ 3666814 w 12192000"/>
              <a:gd name="connsiteY2210" fmla="*/ 6071209 h 6858000"/>
              <a:gd name="connsiteX2211" fmla="*/ 3692199 w 12192000"/>
              <a:gd name="connsiteY2211" fmla="*/ 6042358 h 6858000"/>
              <a:gd name="connsiteX2212" fmla="*/ 3692199 w 12192000"/>
              <a:gd name="connsiteY2212" fmla="*/ 6029233 h 6858000"/>
              <a:gd name="connsiteX2213" fmla="*/ 3685203 w 12192000"/>
              <a:gd name="connsiteY2213" fmla="*/ 6009792 h 6858000"/>
              <a:gd name="connsiteX2214" fmla="*/ 3665576 w 12192000"/>
              <a:gd name="connsiteY2214" fmla="*/ 6002858 h 6858000"/>
              <a:gd name="connsiteX2215" fmla="*/ 3508470 w 12192000"/>
              <a:gd name="connsiteY2215" fmla="*/ 6002858 h 6858000"/>
              <a:gd name="connsiteX2216" fmla="*/ 3491568 w 12192000"/>
              <a:gd name="connsiteY2216" fmla="*/ 6007873 h 6858000"/>
              <a:gd name="connsiteX2217" fmla="*/ 3485315 w 12192000"/>
              <a:gd name="connsiteY2217" fmla="*/ 6021432 h 6858000"/>
              <a:gd name="connsiteX2218" fmla="*/ 3485315 w 12192000"/>
              <a:gd name="connsiteY2218" fmla="*/ 6022051 h 6858000"/>
              <a:gd name="connsiteX2219" fmla="*/ 3500174 w 12192000"/>
              <a:gd name="connsiteY2219" fmla="*/ 6038891 h 6858000"/>
              <a:gd name="connsiteX2220" fmla="*/ 3511195 w 12192000"/>
              <a:gd name="connsiteY2220" fmla="*/ 6041739 h 6858000"/>
              <a:gd name="connsiteX2221" fmla="*/ 3519924 w 12192000"/>
              <a:gd name="connsiteY2221" fmla="*/ 6046011 h 6858000"/>
              <a:gd name="connsiteX2222" fmla="*/ 3522463 w 12192000"/>
              <a:gd name="connsiteY2222" fmla="*/ 6053378 h 6858000"/>
              <a:gd name="connsiteX2223" fmla="*/ 3508347 w 12192000"/>
              <a:gd name="connsiteY2223" fmla="*/ 6063408 h 6858000"/>
              <a:gd name="connsiteX2224" fmla="*/ 3497760 w 12192000"/>
              <a:gd name="connsiteY2224" fmla="*/ 6061179 h 6858000"/>
              <a:gd name="connsiteX2225" fmla="*/ 3492992 w 12192000"/>
              <a:gd name="connsiteY2225" fmla="*/ 6053998 h 6858000"/>
              <a:gd name="connsiteX2226" fmla="*/ 3492188 w 12192000"/>
              <a:gd name="connsiteY2226" fmla="*/ 6052264 h 6858000"/>
              <a:gd name="connsiteX2227" fmla="*/ 3490145 w 12192000"/>
              <a:gd name="connsiteY2227" fmla="*/ 6051893 h 6858000"/>
              <a:gd name="connsiteX2228" fmla="*/ 3486554 w 12192000"/>
              <a:gd name="connsiteY2228" fmla="*/ 6051893 h 6858000"/>
              <a:gd name="connsiteX2229" fmla="*/ 3484386 w 12192000"/>
              <a:gd name="connsiteY2229" fmla="*/ 6052388 h 6858000"/>
              <a:gd name="connsiteX2230" fmla="*/ 3483829 w 12192000"/>
              <a:gd name="connsiteY2230" fmla="*/ 6054245 h 6858000"/>
              <a:gd name="connsiteX2231" fmla="*/ 3488658 w 12192000"/>
              <a:gd name="connsiteY2231" fmla="*/ 6065142 h 6858000"/>
              <a:gd name="connsiteX2232" fmla="*/ 3508595 w 12192000"/>
              <a:gd name="connsiteY2232" fmla="*/ 6071209 h 6858000"/>
              <a:gd name="connsiteX2233" fmla="*/ 3532246 w 12192000"/>
              <a:gd name="connsiteY2233" fmla="*/ 6052636 h 6858000"/>
              <a:gd name="connsiteX2234" fmla="*/ 3532246 w 12192000"/>
              <a:gd name="connsiteY2234" fmla="*/ 6052016 h 6858000"/>
              <a:gd name="connsiteX2235" fmla="*/ 3517386 w 12192000"/>
              <a:gd name="connsiteY2235" fmla="*/ 6033938 h 6858000"/>
              <a:gd name="connsiteX2236" fmla="*/ 3507233 w 12192000"/>
              <a:gd name="connsiteY2236" fmla="*/ 6031338 h 6858000"/>
              <a:gd name="connsiteX2237" fmla="*/ 3497326 w 12192000"/>
              <a:gd name="connsiteY2237" fmla="*/ 6027251 h 6858000"/>
              <a:gd name="connsiteX2238" fmla="*/ 3494602 w 12192000"/>
              <a:gd name="connsiteY2238" fmla="*/ 6020936 h 6858000"/>
              <a:gd name="connsiteX2239" fmla="*/ 3498069 w 12192000"/>
              <a:gd name="connsiteY2239" fmla="*/ 6013259 h 6858000"/>
              <a:gd name="connsiteX2240" fmla="*/ 3507604 w 12192000"/>
              <a:gd name="connsiteY2240" fmla="*/ 6010535 h 6858000"/>
              <a:gd name="connsiteX2241" fmla="*/ 3522586 w 12192000"/>
              <a:gd name="connsiteY2241" fmla="*/ 6019822 h 6858000"/>
              <a:gd name="connsiteX2242" fmla="*/ 3523330 w 12192000"/>
              <a:gd name="connsiteY2242" fmla="*/ 6021494 h 6858000"/>
              <a:gd name="connsiteX2243" fmla="*/ 3525434 w 12192000"/>
              <a:gd name="connsiteY2243" fmla="*/ 6021927 h 6858000"/>
              <a:gd name="connsiteX2244" fmla="*/ 3529025 w 12192000"/>
              <a:gd name="connsiteY2244" fmla="*/ 6021927 h 6858000"/>
              <a:gd name="connsiteX2245" fmla="*/ 3531193 w 12192000"/>
              <a:gd name="connsiteY2245" fmla="*/ 6021432 h 6858000"/>
              <a:gd name="connsiteX2246" fmla="*/ 3531749 w 12192000"/>
              <a:gd name="connsiteY2246" fmla="*/ 6019574 h 6858000"/>
              <a:gd name="connsiteX2247" fmla="*/ 3527293 w 12192000"/>
              <a:gd name="connsiteY2247" fmla="*/ 6009049 h 6858000"/>
              <a:gd name="connsiteX2248" fmla="*/ 3508470 w 12192000"/>
              <a:gd name="connsiteY2248" fmla="*/ 6002858 h 6858000"/>
              <a:gd name="connsiteX2249" fmla="*/ 3406544 w 12192000"/>
              <a:gd name="connsiteY2249" fmla="*/ 6002858 h 6858000"/>
              <a:gd name="connsiteX2250" fmla="*/ 3387165 w 12192000"/>
              <a:gd name="connsiteY2250" fmla="*/ 6010907 h 6858000"/>
              <a:gd name="connsiteX2251" fmla="*/ 3380417 w 12192000"/>
              <a:gd name="connsiteY2251" fmla="*/ 6033814 h 6858000"/>
              <a:gd name="connsiteX2252" fmla="*/ 3380417 w 12192000"/>
              <a:gd name="connsiteY2252" fmla="*/ 6043101 h 6858000"/>
              <a:gd name="connsiteX2253" fmla="*/ 3387228 w 12192000"/>
              <a:gd name="connsiteY2253" fmla="*/ 6063904 h 6858000"/>
              <a:gd name="connsiteX2254" fmla="*/ 3406420 w 12192000"/>
              <a:gd name="connsiteY2254" fmla="*/ 6071209 h 6858000"/>
              <a:gd name="connsiteX2255" fmla="*/ 3417935 w 12192000"/>
              <a:gd name="connsiteY2255" fmla="*/ 6069228 h 6858000"/>
              <a:gd name="connsiteX2256" fmla="*/ 3426356 w 12192000"/>
              <a:gd name="connsiteY2256" fmla="*/ 6063780 h 6858000"/>
              <a:gd name="connsiteX2257" fmla="*/ 3429452 w 12192000"/>
              <a:gd name="connsiteY2257" fmla="*/ 6059074 h 6858000"/>
              <a:gd name="connsiteX2258" fmla="*/ 3430814 w 12192000"/>
              <a:gd name="connsiteY2258" fmla="*/ 6054617 h 6858000"/>
              <a:gd name="connsiteX2259" fmla="*/ 3430318 w 12192000"/>
              <a:gd name="connsiteY2259" fmla="*/ 6052945 h 6858000"/>
              <a:gd name="connsiteX2260" fmla="*/ 3428089 w 12192000"/>
              <a:gd name="connsiteY2260" fmla="*/ 6052636 h 6858000"/>
              <a:gd name="connsiteX2261" fmla="*/ 3423631 w 12192000"/>
              <a:gd name="connsiteY2261" fmla="*/ 6052636 h 6858000"/>
              <a:gd name="connsiteX2262" fmla="*/ 3421899 w 12192000"/>
              <a:gd name="connsiteY2262" fmla="*/ 6052945 h 6858000"/>
              <a:gd name="connsiteX2263" fmla="*/ 3420783 w 12192000"/>
              <a:gd name="connsiteY2263" fmla="*/ 6054741 h 6858000"/>
              <a:gd name="connsiteX2264" fmla="*/ 3406791 w 12192000"/>
              <a:gd name="connsiteY2264" fmla="*/ 6062789 h 6858000"/>
              <a:gd name="connsiteX2265" fmla="*/ 3390198 w 12192000"/>
              <a:gd name="connsiteY2265" fmla="*/ 6042358 h 6858000"/>
              <a:gd name="connsiteX2266" fmla="*/ 3390198 w 12192000"/>
              <a:gd name="connsiteY2266" fmla="*/ 6040005 h 6858000"/>
              <a:gd name="connsiteX2267" fmla="*/ 3429452 w 12192000"/>
              <a:gd name="connsiteY2267" fmla="*/ 6040005 h 6858000"/>
              <a:gd name="connsiteX2268" fmla="*/ 3431494 w 12192000"/>
              <a:gd name="connsiteY2268" fmla="*/ 6039510 h 6858000"/>
              <a:gd name="connsiteX2269" fmla="*/ 3432052 w 12192000"/>
              <a:gd name="connsiteY2269" fmla="*/ 6037529 h 6858000"/>
              <a:gd name="connsiteX2270" fmla="*/ 3432052 w 12192000"/>
              <a:gd name="connsiteY2270" fmla="*/ 6031214 h 6858000"/>
              <a:gd name="connsiteX2271" fmla="*/ 3406544 w 12192000"/>
              <a:gd name="connsiteY2271" fmla="*/ 6002858 h 6858000"/>
              <a:gd name="connsiteX2272" fmla="*/ 3344822 w 12192000"/>
              <a:gd name="connsiteY2272" fmla="*/ 6002858 h 6858000"/>
              <a:gd name="connsiteX2273" fmla="*/ 3325752 w 12192000"/>
              <a:gd name="connsiteY2273" fmla="*/ 6011402 h 6858000"/>
              <a:gd name="connsiteX2274" fmla="*/ 3325752 w 12192000"/>
              <a:gd name="connsiteY2274" fmla="*/ 6007068 h 6858000"/>
              <a:gd name="connsiteX2275" fmla="*/ 3325196 w 12192000"/>
              <a:gd name="connsiteY2275" fmla="*/ 6005087 h 6858000"/>
              <a:gd name="connsiteX2276" fmla="*/ 3323153 w 12192000"/>
              <a:gd name="connsiteY2276" fmla="*/ 6004591 h 6858000"/>
              <a:gd name="connsiteX2277" fmla="*/ 3318819 w 12192000"/>
              <a:gd name="connsiteY2277" fmla="*/ 6004591 h 6858000"/>
              <a:gd name="connsiteX2278" fmla="*/ 3316775 w 12192000"/>
              <a:gd name="connsiteY2278" fmla="*/ 6005087 h 6858000"/>
              <a:gd name="connsiteX2279" fmla="*/ 3316218 w 12192000"/>
              <a:gd name="connsiteY2279" fmla="*/ 6007068 h 6858000"/>
              <a:gd name="connsiteX2280" fmla="*/ 3316218 w 12192000"/>
              <a:gd name="connsiteY2280" fmla="*/ 6066999 h 6858000"/>
              <a:gd name="connsiteX2281" fmla="*/ 3316775 w 12192000"/>
              <a:gd name="connsiteY2281" fmla="*/ 6068980 h 6858000"/>
              <a:gd name="connsiteX2282" fmla="*/ 3318819 w 12192000"/>
              <a:gd name="connsiteY2282" fmla="*/ 6069476 h 6858000"/>
              <a:gd name="connsiteX2283" fmla="*/ 3323401 w 12192000"/>
              <a:gd name="connsiteY2283" fmla="*/ 6069476 h 6858000"/>
              <a:gd name="connsiteX2284" fmla="*/ 3325443 w 12192000"/>
              <a:gd name="connsiteY2284" fmla="*/ 6068980 h 6858000"/>
              <a:gd name="connsiteX2285" fmla="*/ 3326000 w 12192000"/>
              <a:gd name="connsiteY2285" fmla="*/ 6066999 h 6858000"/>
              <a:gd name="connsiteX2286" fmla="*/ 3326000 w 12192000"/>
              <a:gd name="connsiteY2286" fmla="*/ 6028985 h 6858000"/>
              <a:gd name="connsiteX2287" fmla="*/ 3330458 w 12192000"/>
              <a:gd name="connsiteY2287" fmla="*/ 6016293 h 6858000"/>
              <a:gd name="connsiteX2288" fmla="*/ 3342221 w 12192000"/>
              <a:gd name="connsiteY2288" fmla="*/ 6011526 h 6858000"/>
              <a:gd name="connsiteX2289" fmla="*/ 3352932 w 12192000"/>
              <a:gd name="connsiteY2289" fmla="*/ 6015178 h 6858000"/>
              <a:gd name="connsiteX2290" fmla="*/ 3356338 w 12192000"/>
              <a:gd name="connsiteY2290" fmla="*/ 6026756 h 6858000"/>
              <a:gd name="connsiteX2291" fmla="*/ 3356338 w 12192000"/>
              <a:gd name="connsiteY2291" fmla="*/ 6066999 h 6858000"/>
              <a:gd name="connsiteX2292" fmla="*/ 3356895 w 12192000"/>
              <a:gd name="connsiteY2292" fmla="*/ 6068980 h 6858000"/>
              <a:gd name="connsiteX2293" fmla="*/ 3358937 w 12192000"/>
              <a:gd name="connsiteY2293" fmla="*/ 6069476 h 6858000"/>
              <a:gd name="connsiteX2294" fmla="*/ 3363519 w 12192000"/>
              <a:gd name="connsiteY2294" fmla="*/ 6069476 h 6858000"/>
              <a:gd name="connsiteX2295" fmla="*/ 3365563 w 12192000"/>
              <a:gd name="connsiteY2295" fmla="*/ 6068980 h 6858000"/>
              <a:gd name="connsiteX2296" fmla="*/ 3366119 w 12192000"/>
              <a:gd name="connsiteY2296" fmla="*/ 6066999 h 6858000"/>
              <a:gd name="connsiteX2297" fmla="*/ 3366119 w 12192000"/>
              <a:gd name="connsiteY2297" fmla="*/ 6024651 h 6858000"/>
              <a:gd name="connsiteX2298" fmla="*/ 3360609 w 12192000"/>
              <a:gd name="connsiteY2298" fmla="*/ 6008430 h 6858000"/>
              <a:gd name="connsiteX2299" fmla="*/ 3344822 w 12192000"/>
              <a:gd name="connsiteY2299" fmla="*/ 6002858 h 6858000"/>
              <a:gd name="connsiteX2300" fmla="*/ 3196871 w 12192000"/>
              <a:gd name="connsiteY2300" fmla="*/ 6002858 h 6858000"/>
              <a:gd name="connsiteX2301" fmla="*/ 3184797 w 12192000"/>
              <a:gd name="connsiteY2301" fmla="*/ 6004715 h 6858000"/>
              <a:gd name="connsiteX2302" fmla="*/ 3176687 w 12192000"/>
              <a:gd name="connsiteY2302" fmla="*/ 6010287 h 6858000"/>
              <a:gd name="connsiteX2303" fmla="*/ 3174210 w 12192000"/>
              <a:gd name="connsiteY2303" fmla="*/ 6014002 h 6858000"/>
              <a:gd name="connsiteX2304" fmla="*/ 3173220 w 12192000"/>
              <a:gd name="connsiteY2304" fmla="*/ 6017841 h 6858000"/>
              <a:gd name="connsiteX2305" fmla="*/ 3173776 w 12192000"/>
              <a:gd name="connsiteY2305" fmla="*/ 6019698 h 6858000"/>
              <a:gd name="connsiteX2306" fmla="*/ 3175944 w 12192000"/>
              <a:gd name="connsiteY2306" fmla="*/ 6020193 h 6858000"/>
              <a:gd name="connsiteX2307" fmla="*/ 3180402 w 12192000"/>
              <a:gd name="connsiteY2307" fmla="*/ 6020193 h 6858000"/>
              <a:gd name="connsiteX2308" fmla="*/ 3182321 w 12192000"/>
              <a:gd name="connsiteY2308" fmla="*/ 6019760 h 6858000"/>
              <a:gd name="connsiteX2309" fmla="*/ 3183249 w 12192000"/>
              <a:gd name="connsiteY2309" fmla="*/ 6018088 h 6858000"/>
              <a:gd name="connsiteX2310" fmla="*/ 3188078 w 12192000"/>
              <a:gd name="connsiteY2310" fmla="*/ 6012331 h 6858000"/>
              <a:gd name="connsiteX2311" fmla="*/ 3196871 w 12192000"/>
              <a:gd name="connsiteY2311" fmla="*/ 6010659 h 6858000"/>
              <a:gd name="connsiteX2312" fmla="*/ 3207210 w 12192000"/>
              <a:gd name="connsiteY2312" fmla="*/ 6013693 h 6858000"/>
              <a:gd name="connsiteX2313" fmla="*/ 3210366 w 12192000"/>
              <a:gd name="connsiteY2313" fmla="*/ 6023537 h 6858000"/>
              <a:gd name="connsiteX2314" fmla="*/ 3210366 w 12192000"/>
              <a:gd name="connsiteY2314" fmla="*/ 6030842 h 6858000"/>
              <a:gd name="connsiteX2315" fmla="*/ 3202689 w 12192000"/>
              <a:gd name="connsiteY2315" fmla="*/ 6030099 h 6858000"/>
              <a:gd name="connsiteX2316" fmla="*/ 3196374 w 12192000"/>
              <a:gd name="connsiteY2316" fmla="*/ 6029852 h 6858000"/>
              <a:gd name="connsiteX2317" fmla="*/ 3176624 w 12192000"/>
              <a:gd name="connsiteY2317" fmla="*/ 6034929 h 6858000"/>
              <a:gd name="connsiteX2318" fmla="*/ 3170248 w 12192000"/>
              <a:gd name="connsiteY2318" fmla="*/ 6051026 h 6858000"/>
              <a:gd name="connsiteX2319" fmla="*/ 3176315 w 12192000"/>
              <a:gd name="connsiteY2319" fmla="*/ 6066009 h 6858000"/>
              <a:gd name="connsiteX2320" fmla="*/ 3194888 w 12192000"/>
              <a:gd name="connsiteY2320" fmla="*/ 6070714 h 6858000"/>
              <a:gd name="connsiteX2321" fmla="*/ 3196746 w 12192000"/>
              <a:gd name="connsiteY2321" fmla="*/ 6070714 h 6858000"/>
              <a:gd name="connsiteX2322" fmla="*/ 3214515 w 12192000"/>
              <a:gd name="connsiteY2322" fmla="*/ 6065266 h 6858000"/>
              <a:gd name="connsiteX2323" fmla="*/ 3220149 w 12192000"/>
              <a:gd name="connsiteY2323" fmla="*/ 6048673 h 6858000"/>
              <a:gd name="connsiteX2324" fmla="*/ 3220149 w 12192000"/>
              <a:gd name="connsiteY2324" fmla="*/ 6023289 h 6858000"/>
              <a:gd name="connsiteX2325" fmla="*/ 3214700 w 12192000"/>
              <a:gd name="connsiteY2325" fmla="*/ 6007625 h 6858000"/>
              <a:gd name="connsiteX2326" fmla="*/ 3196871 w 12192000"/>
              <a:gd name="connsiteY2326" fmla="*/ 6002858 h 6858000"/>
              <a:gd name="connsiteX2327" fmla="*/ 9930895 w 12192000"/>
              <a:gd name="connsiteY2327" fmla="*/ 5998256 h 6858000"/>
              <a:gd name="connsiteX2328" fmla="*/ 9925322 w 12192000"/>
              <a:gd name="connsiteY2328" fmla="*/ 6000175 h 6858000"/>
              <a:gd name="connsiteX2329" fmla="*/ 9923217 w 12192000"/>
              <a:gd name="connsiteY2329" fmla="*/ 6005314 h 6858000"/>
              <a:gd name="connsiteX2330" fmla="*/ 9923217 w 12192000"/>
              <a:gd name="connsiteY2330" fmla="*/ 6007790 h 6858000"/>
              <a:gd name="connsiteX2331" fmla="*/ 9925322 w 12192000"/>
              <a:gd name="connsiteY2331" fmla="*/ 6012867 h 6858000"/>
              <a:gd name="connsiteX2332" fmla="*/ 9930895 w 12192000"/>
              <a:gd name="connsiteY2332" fmla="*/ 6014848 h 6858000"/>
              <a:gd name="connsiteX2333" fmla="*/ 9936529 w 12192000"/>
              <a:gd name="connsiteY2333" fmla="*/ 6012867 h 6858000"/>
              <a:gd name="connsiteX2334" fmla="*/ 9938572 w 12192000"/>
              <a:gd name="connsiteY2334" fmla="*/ 6007790 h 6858000"/>
              <a:gd name="connsiteX2335" fmla="*/ 9938572 w 12192000"/>
              <a:gd name="connsiteY2335" fmla="*/ 6005314 h 6858000"/>
              <a:gd name="connsiteX2336" fmla="*/ 9936529 w 12192000"/>
              <a:gd name="connsiteY2336" fmla="*/ 6000175 h 6858000"/>
              <a:gd name="connsiteX2337" fmla="*/ 9930895 w 12192000"/>
              <a:gd name="connsiteY2337" fmla="*/ 5998256 h 6858000"/>
              <a:gd name="connsiteX2338" fmla="*/ 3117194 w 12192000"/>
              <a:gd name="connsiteY2338" fmla="*/ 5989732 h 6858000"/>
              <a:gd name="connsiteX2339" fmla="*/ 3134652 w 12192000"/>
              <a:gd name="connsiteY2339" fmla="*/ 5989732 h 6858000"/>
              <a:gd name="connsiteX2340" fmla="*/ 3148274 w 12192000"/>
              <a:gd name="connsiteY2340" fmla="*/ 5993695 h 6858000"/>
              <a:gd name="connsiteX2341" fmla="*/ 3152235 w 12192000"/>
              <a:gd name="connsiteY2341" fmla="*/ 6007563 h 6858000"/>
              <a:gd name="connsiteX2342" fmla="*/ 3152235 w 12192000"/>
              <a:gd name="connsiteY2342" fmla="*/ 6009544 h 6858000"/>
              <a:gd name="connsiteX2343" fmla="*/ 3148211 w 12192000"/>
              <a:gd name="connsiteY2343" fmla="*/ 6022422 h 6858000"/>
              <a:gd name="connsiteX2344" fmla="*/ 3134652 w 12192000"/>
              <a:gd name="connsiteY2344" fmla="*/ 6026261 h 6858000"/>
              <a:gd name="connsiteX2345" fmla="*/ 3117194 w 12192000"/>
              <a:gd name="connsiteY2345" fmla="*/ 6026261 h 6858000"/>
              <a:gd name="connsiteX2346" fmla="*/ 3284928 w 12192000"/>
              <a:gd name="connsiteY2346" fmla="*/ 5986389 h 6858000"/>
              <a:gd name="connsiteX2347" fmla="*/ 3282885 w 12192000"/>
              <a:gd name="connsiteY2347" fmla="*/ 5986884 h 6858000"/>
              <a:gd name="connsiteX2348" fmla="*/ 3282328 w 12192000"/>
              <a:gd name="connsiteY2348" fmla="*/ 5988866 h 6858000"/>
              <a:gd name="connsiteX2349" fmla="*/ 3282328 w 12192000"/>
              <a:gd name="connsiteY2349" fmla="*/ 6004591 h 6858000"/>
              <a:gd name="connsiteX2350" fmla="*/ 3274279 w 12192000"/>
              <a:gd name="connsiteY2350" fmla="*/ 6004591 h 6858000"/>
              <a:gd name="connsiteX2351" fmla="*/ 3272608 w 12192000"/>
              <a:gd name="connsiteY2351" fmla="*/ 6005087 h 6858000"/>
              <a:gd name="connsiteX2352" fmla="*/ 3272175 w 12192000"/>
              <a:gd name="connsiteY2352" fmla="*/ 6007068 h 6858000"/>
              <a:gd name="connsiteX2353" fmla="*/ 3272175 w 12192000"/>
              <a:gd name="connsiteY2353" fmla="*/ 6010287 h 6858000"/>
              <a:gd name="connsiteX2354" fmla="*/ 3272608 w 12192000"/>
              <a:gd name="connsiteY2354" fmla="*/ 6012269 h 6858000"/>
              <a:gd name="connsiteX2355" fmla="*/ 3274279 w 12192000"/>
              <a:gd name="connsiteY2355" fmla="*/ 6012764 h 6858000"/>
              <a:gd name="connsiteX2356" fmla="*/ 3282328 w 12192000"/>
              <a:gd name="connsiteY2356" fmla="*/ 6012764 h 6858000"/>
              <a:gd name="connsiteX2357" fmla="*/ 3282328 w 12192000"/>
              <a:gd name="connsiteY2357" fmla="*/ 6053007 h 6858000"/>
              <a:gd name="connsiteX2358" fmla="*/ 3286228 w 12192000"/>
              <a:gd name="connsiteY2358" fmla="*/ 6065513 h 6858000"/>
              <a:gd name="connsiteX2359" fmla="*/ 3298425 w 12192000"/>
              <a:gd name="connsiteY2359" fmla="*/ 6069476 h 6858000"/>
              <a:gd name="connsiteX2360" fmla="*/ 3305112 w 12192000"/>
              <a:gd name="connsiteY2360" fmla="*/ 6069476 h 6858000"/>
              <a:gd name="connsiteX2361" fmla="*/ 3306845 w 12192000"/>
              <a:gd name="connsiteY2361" fmla="*/ 6068980 h 6858000"/>
              <a:gd name="connsiteX2362" fmla="*/ 3307218 w 12192000"/>
              <a:gd name="connsiteY2362" fmla="*/ 6066999 h 6858000"/>
              <a:gd name="connsiteX2363" fmla="*/ 3307218 w 12192000"/>
              <a:gd name="connsiteY2363" fmla="*/ 6063285 h 6858000"/>
              <a:gd name="connsiteX2364" fmla="*/ 3306845 w 12192000"/>
              <a:gd name="connsiteY2364" fmla="*/ 6061303 h 6858000"/>
              <a:gd name="connsiteX2365" fmla="*/ 3305112 w 12192000"/>
              <a:gd name="connsiteY2365" fmla="*/ 6060808 h 6858000"/>
              <a:gd name="connsiteX2366" fmla="*/ 3299292 w 12192000"/>
              <a:gd name="connsiteY2366" fmla="*/ 6060808 h 6858000"/>
              <a:gd name="connsiteX2367" fmla="*/ 3293782 w 12192000"/>
              <a:gd name="connsiteY2367" fmla="*/ 6058579 h 6858000"/>
              <a:gd name="connsiteX2368" fmla="*/ 3292110 w 12192000"/>
              <a:gd name="connsiteY2368" fmla="*/ 6051397 h 6858000"/>
              <a:gd name="connsiteX2369" fmla="*/ 3292110 w 12192000"/>
              <a:gd name="connsiteY2369" fmla="*/ 6012764 h 6858000"/>
              <a:gd name="connsiteX2370" fmla="*/ 3304865 w 12192000"/>
              <a:gd name="connsiteY2370" fmla="*/ 6012764 h 6858000"/>
              <a:gd name="connsiteX2371" fmla="*/ 3306599 w 12192000"/>
              <a:gd name="connsiteY2371" fmla="*/ 6012269 h 6858000"/>
              <a:gd name="connsiteX2372" fmla="*/ 3306969 w 12192000"/>
              <a:gd name="connsiteY2372" fmla="*/ 6010287 h 6858000"/>
              <a:gd name="connsiteX2373" fmla="*/ 3306969 w 12192000"/>
              <a:gd name="connsiteY2373" fmla="*/ 6007068 h 6858000"/>
              <a:gd name="connsiteX2374" fmla="*/ 3306599 w 12192000"/>
              <a:gd name="connsiteY2374" fmla="*/ 6005087 h 6858000"/>
              <a:gd name="connsiteX2375" fmla="*/ 3304865 w 12192000"/>
              <a:gd name="connsiteY2375" fmla="*/ 6004591 h 6858000"/>
              <a:gd name="connsiteX2376" fmla="*/ 3292110 w 12192000"/>
              <a:gd name="connsiteY2376" fmla="*/ 6004591 h 6858000"/>
              <a:gd name="connsiteX2377" fmla="*/ 3292110 w 12192000"/>
              <a:gd name="connsiteY2377" fmla="*/ 5988866 h 6858000"/>
              <a:gd name="connsiteX2378" fmla="*/ 3291553 w 12192000"/>
              <a:gd name="connsiteY2378" fmla="*/ 5986884 h 6858000"/>
              <a:gd name="connsiteX2379" fmla="*/ 3289511 w 12192000"/>
              <a:gd name="connsiteY2379" fmla="*/ 5986389 h 6858000"/>
              <a:gd name="connsiteX2380" fmla="*/ 6408128 w 12192000"/>
              <a:gd name="connsiteY2380" fmla="*/ 5981312 h 6858000"/>
              <a:gd name="connsiteX2381" fmla="*/ 6406085 w 12192000"/>
              <a:gd name="connsiteY2381" fmla="*/ 5981808 h 6858000"/>
              <a:gd name="connsiteX2382" fmla="*/ 6405527 w 12192000"/>
              <a:gd name="connsiteY2382" fmla="*/ 5983789 h 6858000"/>
              <a:gd name="connsiteX2383" fmla="*/ 6405527 w 12192000"/>
              <a:gd name="connsiteY2383" fmla="*/ 6045454 h 6858000"/>
              <a:gd name="connsiteX2384" fmla="*/ 6412524 w 12192000"/>
              <a:gd name="connsiteY2384" fmla="*/ 6064461 h 6858000"/>
              <a:gd name="connsiteX2385" fmla="*/ 6432274 w 12192000"/>
              <a:gd name="connsiteY2385" fmla="*/ 6071209 h 6858000"/>
              <a:gd name="connsiteX2386" fmla="*/ 6451900 w 12192000"/>
              <a:gd name="connsiteY2386" fmla="*/ 6063966 h 6858000"/>
              <a:gd name="connsiteX2387" fmla="*/ 6458896 w 12192000"/>
              <a:gd name="connsiteY2387" fmla="*/ 6043596 h 6858000"/>
              <a:gd name="connsiteX2388" fmla="*/ 6458896 w 12192000"/>
              <a:gd name="connsiteY2388" fmla="*/ 6029852 h 6858000"/>
              <a:gd name="connsiteX2389" fmla="*/ 6452333 w 12192000"/>
              <a:gd name="connsiteY2389" fmla="*/ 6009854 h 6858000"/>
              <a:gd name="connsiteX2390" fmla="*/ 6433636 w 12192000"/>
              <a:gd name="connsiteY2390" fmla="*/ 6002858 h 6858000"/>
              <a:gd name="connsiteX2391" fmla="*/ 6415310 w 12192000"/>
              <a:gd name="connsiteY2391" fmla="*/ 6010535 h 6858000"/>
              <a:gd name="connsiteX2392" fmla="*/ 6415310 w 12192000"/>
              <a:gd name="connsiteY2392" fmla="*/ 5983789 h 6858000"/>
              <a:gd name="connsiteX2393" fmla="*/ 6414752 w 12192000"/>
              <a:gd name="connsiteY2393" fmla="*/ 5981808 h 6858000"/>
              <a:gd name="connsiteX2394" fmla="*/ 6412709 w 12192000"/>
              <a:gd name="connsiteY2394" fmla="*/ 5981312 h 6858000"/>
              <a:gd name="connsiteX2395" fmla="*/ 6355226 w 12192000"/>
              <a:gd name="connsiteY2395" fmla="*/ 5981312 h 6858000"/>
              <a:gd name="connsiteX2396" fmla="*/ 6353183 w 12192000"/>
              <a:gd name="connsiteY2396" fmla="*/ 5981808 h 6858000"/>
              <a:gd name="connsiteX2397" fmla="*/ 6352626 w 12192000"/>
              <a:gd name="connsiteY2397" fmla="*/ 5983789 h 6858000"/>
              <a:gd name="connsiteX2398" fmla="*/ 6352626 w 12192000"/>
              <a:gd name="connsiteY2398" fmla="*/ 6010535 h 6858000"/>
              <a:gd name="connsiteX2399" fmla="*/ 6334423 w 12192000"/>
              <a:gd name="connsiteY2399" fmla="*/ 6002858 h 6858000"/>
              <a:gd name="connsiteX2400" fmla="*/ 6315788 w 12192000"/>
              <a:gd name="connsiteY2400" fmla="*/ 6010349 h 6858000"/>
              <a:gd name="connsiteX2401" fmla="*/ 6309039 w 12192000"/>
              <a:gd name="connsiteY2401" fmla="*/ 6031090 h 6858000"/>
              <a:gd name="connsiteX2402" fmla="*/ 6309039 w 12192000"/>
              <a:gd name="connsiteY2402" fmla="*/ 6044835 h 6858000"/>
              <a:gd name="connsiteX2403" fmla="*/ 6316035 w 12192000"/>
              <a:gd name="connsiteY2403" fmla="*/ 6064275 h 6858000"/>
              <a:gd name="connsiteX2404" fmla="*/ 6335662 w 12192000"/>
              <a:gd name="connsiteY2404" fmla="*/ 6071209 h 6858000"/>
              <a:gd name="connsiteX2405" fmla="*/ 6355412 w 12192000"/>
              <a:gd name="connsiteY2405" fmla="*/ 6063780 h 6858000"/>
              <a:gd name="connsiteX2406" fmla="*/ 6362408 w 12192000"/>
              <a:gd name="connsiteY2406" fmla="*/ 6042977 h 6858000"/>
              <a:gd name="connsiteX2407" fmla="*/ 6362408 w 12192000"/>
              <a:gd name="connsiteY2407" fmla="*/ 5983789 h 6858000"/>
              <a:gd name="connsiteX2408" fmla="*/ 6361851 w 12192000"/>
              <a:gd name="connsiteY2408" fmla="*/ 5981808 h 6858000"/>
              <a:gd name="connsiteX2409" fmla="*/ 6359807 w 12192000"/>
              <a:gd name="connsiteY2409" fmla="*/ 5981312 h 6858000"/>
              <a:gd name="connsiteX2410" fmla="*/ 6191158 w 12192000"/>
              <a:gd name="connsiteY2410" fmla="*/ 5981312 h 6858000"/>
              <a:gd name="connsiteX2411" fmla="*/ 6189115 w 12192000"/>
              <a:gd name="connsiteY2411" fmla="*/ 5981808 h 6858000"/>
              <a:gd name="connsiteX2412" fmla="*/ 6188557 w 12192000"/>
              <a:gd name="connsiteY2412" fmla="*/ 5983789 h 6858000"/>
              <a:gd name="connsiteX2413" fmla="*/ 6188557 w 12192000"/>
              <a:gd name="connsiteY2413" fmla="*/ 6066999 h 6858000"/>
              <a:gd name="connsiteX2414" fmla="*/ 6189115 w 12192000"/>
              <a:gd name="connsiteY2414" fmla="*/ 6068980 h 6858000"/>
              <a:gd name="connsiteX2415" fmla="*/ 6191158 w 12192000"/>
              <a:gd name="connsiteY2415" fmla="*/ 6069476 h 6858000"/>
              <a:gd name="connsiteX2416" fmla="*/ 6234620 w 12192000"/>
              <a:gd name="connsiteY2416" fmla="*/ 6069476 h 6858000"/>
              <a:gd name="connsiteX2417" fmla="*/ 6236663 w 12192000"/>
              <a:gd name="connsiteY2417" fmla="*/ 6068980 h 6858000"/>
              <a:gd name="connsiteX2418" fmla="*/ 6237221 w 12192000"/>
              <a:gd name="connsiteY2418" fmla="*/ 6066999 h 6858000"/>
              <a:gd name="connsiteX2419" fmla="*/ 6237221 w 12192000"/>
              <a:gd name="connsiteY2419" fmla="*/ 6063532 h 6858000"/>
              <a:gd name="connsiteX2420" fmla="*/ 6236663 w 12192000"/>
              <a:gd name="connsiteY2420" fmla="*/ 6061551 h 6858000"/>
              <a:gd name="connsiteX2421" fmla="*/ 6234620 w 12192000"/>
              <a:gd name="connsiteY2421" fmla="*/ 6061056 h 6858000"/>
              <a:gd name="connsiteX2422" fmla="*/ 6198463 w 12192000"/>
              <a:gd name="connsiteY2422" fmla="*/ 6061056 h 6858000"/>
              <a:gd name="connsiteX2423" fmla="*/ 6198463 w 12192000"/>
              <a:gd name="connsiteY2423" fmla="*/ 5983789 h 6858000"/>
              <a:gd name="connsiteX2424" fmla="*/ 6197906 w 12192000"/>
              <a:gd name="connsiteY2424" fmla="*/ 5981808 h 6858000"/>
              <a:gd name="connsiteX2425" fmla="*/ 6195863 w 12192000"/>
              <a:gd name="connsiteY2425" fmla="*/ 5981312 h 6858000"/>
              <a:gd name="connsiteX2426" fmla="*/ 3844941 w 12192000"/>
              <a:gd name="connsiteY2426" fmla="*/ 5981312 h 6858000"/>
              <a:gd name="connsiteX2427" fmla="*/ 3830888 w 12192000"/>
              <a:gd name="connsiteY2427" fmla="*/ 5985956 h 6858000"/>
              <a:gd name="connsiteX2428" fmla="*/ 3825872 w 12192000"/>
              <a:gd name="connsiteY2428" fmla="*/ 5999019 h 6858000"/>
              <a:gd name="connsiteX2429" fmla="*/ 3825872 w 12192000"/>
              <a:gd name="connsiteY2429" fmla="*/ 6004591 h 6858000"/>
              <a:gd name="connsiteX2430" fmla="*/ 3817947 w 12192000"/>
              <a:gd name="connsiteY2430" fmla="*/ 6004591 h 6858000"/>
              <a:gd name="connsiteX2431" fmla="*/ 3816276 w 12192000"/>
              <a:gd name="connsiteY2431" fmla="*/ 6005087 h 6858000"/>
              <a:gd name="connsiteX2432" fmla="*/ 3815843 w 12192000"/>
              <a:gd name="connsiteY2432" fmla="*/ 6007068 h 6858000"/>
              <a:gd name="connsiteX2433" fmla="*/ 3815843 w 12192000"/>
              <a:gd name="connsiteY2433" fmla="*/ 6010287 h 6858000"/>
              <a:gd name="connsiteX2434" fmla="*/ 3816276 w 12192000"/>
              <a:gd name="connsiteY2434" fmla="*/ 6012269 h 6858000"/>
              <a:gd name="connsiteX2435" fmla="*/ 3817947 w 12192000"/>
              <a:gd name="connsiteY2435" fmla="*/ 6012764 h 6858000"/>
              <a:gd name="connsiteX2436" fmla="*/ 3825872 w 12192000"/>
              <a:gd name="connsiteY2436" fmla="*/ 6012764 h 6858000"/>
              <a:gd name="connsiteX2437" fmla="*/ 3825872 w 12192000"/>
              <a:gd name="connsiteY2437" fmla="*/ 6066999 h 6858000"/>
              <a:gd name="connsiteX2438" fmla="*/ 3826430 w 12192000"/>
              <a:gd name="connsiteY2438" fmla="*/ 6068980 h 6858000"/>
              <a:gd name="connsiteX2439" fmla="*/ 3828473 w 12192000"/>
              <a:gd name="connsiteY2439" fmla="*/ 6069476 h 6858000"/>
              <a:gd name="connsiteX2440" fmla="*/ 3833054 w 12192000"/>
              <a:gd name="connsiteY2440" fmla="*/ 6069476 h 6858000"/>
              <a:gd name="connsiteX2441" fmla="*/ 3835097 w 12192000"/>
              <a:gd name="connsiteY2441" fmla="*/ 6068980 h 6858000"/>
              <a:gd name="connsiteX2442" fmla="*/ 3835654 w 12192000"/>
              <a:gd name="connsiteY2442" fmla="*/ 6066999 h 6858000"/>
              <a:gd name="connsiteX2443" fmla="*/ 3835654 w 12192000"/>
              <a:gd name="connsiteY2443" fmla="*/ 6012764 h 6858000"/>
              <a:gd name="connsiteX2444" fmla="*/ 3846923 w 12192000"/>
              <a:gd name="connsiteY2444" fmla="*/ 6012764 h 6858000"/>
              <a:gd name="connsiteX2445" fmla="*/ 3848656 w 12192000"/>
              <a:gd name="connsiteY2445" fmla="*/ 6012269 h 6858000"/>
              <a:gd name="connsiteX2446" fmla="*/ 3849028 w 12192000"/>
              <a:gd name="connsiteY2446" fmla="*/ 6010287 h 6858000"/>
              <a:gd name="connsiteX2447" fmla="*/ 3849028 w 12192000"/>
              <a:gd name="connsiteY2447" fmla="*/ 6007068 h 6858000"/>
              <a:gd name="connsiteX2448" fmla="*/ 3848656 w 12192000"/>
              <a:gd name="connsiteY2448" fmla="*/ 6005087 h 6858000"/>
              <a:gd name="connsiteX2449" fmla="*/ 3846923 w 12192000"/>
              <a:gd name="connsiteY2449" fmla="*/ 6004591 h 6858000"/>
              <a:gd name="connsiteX2450" fmla="*/ 3835654 w 12192000"/>
              <a:gd name="connsiteY2450" fmla="*/ 6004591 h 6858000"/>
              <a:gd name="connsiteX2451" fmla="*/ 3835654 w 12192000"/>
              <a:gd name="connsiteY2451" fmla="*/ 5999515 h 6858000"/>
              <a:gd name="connsiteX2452" fmla="*/ 3837945 w 12192000"/>
              <a:gd name="connsiteY2452" fmla="*/ 5991837 h 6858000"/>
              <a:gd name="connsiteX2453" fmla="*/ 3845808 w 12192000"/>
              <a:gd name="connsiteY2453" fmla="*/ 5989609 h 6858000"/>
              <a:gd name="connsiteX2454" fmla="*/ 3849399 w 12192000"/>
              <a:gd name="connsiteY2454" fmla="*/ 5989609 h 6858000"/>
              <a:gd name="connsiteX2455" fmla="*/ 3851132 w 12192000"/>
              <a:gd name="connsiteY2455" fmla="*/ 5989113 h 6858000"/>
              <a:gd name="connsiteX2456" fmla="*/ 3851505 w 12192000"/>
              <a:gd name="connsiteY2456" fmla="*/ 5987132 h 6858000"/>
              <a:gd name="connsiteX2457" fmla="*/ 3851505 w 12192000"/>
              <a:gd name="connsiteY2457" fmla="*/ 5983789 h 6858000"/>
              <a:gd name="connsiteX2458" fmla="*/ 3851132 w 12192000"/>
              <a:gd name="connsiteY2458" fmla="*/ 5981808 h 6858000"/>
              <a:gd name="connsiteX2459" fmla="*/ 3849399 w 12192000"/>
              <a:gd name="connsiteY2459" fmla="*/ 5981312 h 6858000"/>
              <a:gd name="connsiteX2460" fmla="*/ 3547419 w 12192000"/>
              <a:gd name="connsiteY2460" fmla="*/ 5981312 h 6858000"/>
              <a:gd name="connsiteX2461" fmla="*/ 3545376 w 12192000"/>
              <a:gd name="connsiteY2461" fmla="*/ 5981808 h 6858000"/>
              <a:gd name="connsiteX2462" fmla="*/ 3544818 w 12192000"/>
              <a:gd name="connsiteY2462" fmla="*/ 5983789 h 6858000"/>
              <a:gd name="connsiteX2463" fmla="*/ 3544818 w 12192000"/>
              <a:gd name="connsiteY2463" fmla="*/ 6066999 h 6858000"/>
              <a:gd name="connsiteX2464" fmla="*/ 3545376 w 12192000"/>
              <a:gd name="connsiteY2464" fmla="*/ 6068980 h 6858000"/>
              <a:gd name="connsiteX2465" fmla="*/ 3547419 w 12192000"/>
              <a:gd name="connsiteY2465" fmla="*/ 6069476 h 6858000"/>
              <a:gd name="connsiteX2466" fmla="*/ 3552000 w 12192000"/>
              <a:gd name="connsiteY2466" fmla="*/ 6069476 h 6858000"/>
              <a:gd name="connsiteX2467" fmla="*/ 3554043 w 12192000"/>
              <a:gd name="connsiteY2467" fmla="*/ 6068980 h 6858000"/>
              <a:gd name="connsiteX2468" fmla="*/ 3554601 w 12192000"/>
              <a:gd name="connsiteY2468" fmla="*/ 6066999 h 6858000"/>
              <a:gd name="connsiteX2469" fmla="*/ 3554601 w 12192000"/>
              <a:gd name="connsiteY2469" fmla="*/ 6028985 h 6858000"/>
              <a:gd name="connsiteX2470" fmla="*/ 3559058 w 12192000"/>
              <a:gd name="connsiteY2470" fmla="*/ 6016293 h 6858000"/>
              <a:gd name="connsiteX2471" fmla="*/ 3570821 w 12192000"/>
              <a:gd name="connsiteY2471" fmla="*/ 6011526 h 6858000"/>
              <a:gd name="connsiteX2472" fmla="*/ 3581532 w 12192000"/>
              <a:gd name="connsiteY2472" fmla="*/ 6015178 h 6858000"/>
              <a:gd name="connsiteX2473" fmla="*/ 3584937 w 12192000"/>
              <a:gd name="connsiteY2473" fmla="*/ 6026756 h 6858000"/>
              <a:gd name="connsiteX2474" fmla="*/ 3584937 w 12192000"/>
              <a:gd name="connsiteY2474" fmla="*/ 6066999 h 6858000"/>
              <a:gd name="connsiteX2475" fmla="*/ 3585495 w 12192000"/>
              <a:gd name="connsiteY2475" fmla="*/ 6068980 h 6858000"/>
              <a:gd name="connsiteX2476" fmla="*/ 3587537 w 12192000"/>
              <a:gd name="connsiteY2476" fmla="*/ 6069476 h 6858000"/>
              <a:gd name="connsiteX2477" fmla="*/ 3592119 w 12192000"/>
              <a:gd name="connsiteY2477" fmla="*/ 6069476 h 6858000"/>
              <a:gd name="connsiteX2478" fmla="*/ 3594163 w 12192000"/>
              <a:gd name="connsiteY2478" fmla="*/ 6068980 h 6858000"/>
              <a:gd name="connsiteX2479" fmla="*/ 3594720 w 12192000"/>
              <a:gd name="connsiteY2479" fmla="*/ 6066999 h 6858000"/>
              <a:gd name="connsiteX2480" fmla="*/ 3594720 w 12192000"/>
              <a:gd name="connsiteY2480" fmla="*/ 6024651 h 6858000"/>
              <a:gd name="connsiteX2481" fmla="*/ 3589210 w 12192000"/>
              <a:gd name="connsiteY2481" fmla="*/ 6008430 h 6858000"/>
              <a:gd name="connsiteX2482" fmla="*/ 3573421 w 12192000"/>
              <a:gd name="connsiteY2482" fmla="*/ 6002858 h 6858000"/>
              <a:gd name="connsiteX2483" fmla="*/ 3554601 w 12192000"/>
              <a:gd name="connsiteY2483" fmla="*/ 6011154 h 6858000"/>
              <a:gd name="connsiteX2484" fmla="*/ 3554601 w 12192000"/>
              <a:gd name="connsiteY2484" fmla="*/ 5983789 h 6858000"/>
              <a:gd name="connsiteX2485" fmla="*/ 3554043 w 12192000"/>
              <a:gd name="connsiteY2485" fmla="*/ 5981808 h 6858000"/>
              <a:gd name="connsiteX2486" fmla="*/ 3552000 w 12192000"/>
              <a:gd name="connsiteY2486" fmla="*/ 5981312 h 6858000"/>
              <a:gd name="connsiteX2487" fmla="*/ 3110135 w 12192000"/>
              <a:gd name="connsiteY2487" fmla="*/ 5981312 h 6858000"/>
              <a:gd name="connsiteX2488" fmla="*/ 3108093 w 12192000"/>
              <a:gd name="connsiteY2488" fmla="*/ 5981808 h 6858000"/>
              <a:gd name="connsiteX2489" fmla="*/ 3107536 w 12192000"/>
              <a:gd name="connsiteY2489" fmla="*/ 5983789 h 6858000"/>
              <a:gd name="connsiteX2490" fmla="*/ 3107536 w 12192000"/>
              <a:gd name="connsiteY2490" fmla="*/ 6066999 h 6858000"/>
              <a:gd name="connsiteX2491" fmla="*/ 3108093 w 12192000"/>
              <a:gd name="connsiteY2491" fmla="*/ 6068980 h 6858000"/>
              <a:gd name="connsiteX2492" fmla="*/ 3110135 w 12192000"/>
              <a:gd name="connsiteY2492" fmla="*/ 6069476 h 6858000"/>
              <a:gd name="connsiteX2493" fmla="*/ 3114593 w 12192000"/>
              <a:gd name="connsiteY2493" fmla="*/ 6069476 h 6858000"/>
              <a:gd name="connsiteX2494" fmla="*/ 3116636 w 12192000"/>
              <a:gd name="connsiteY2494" fmla="*/ 6068980 h 6858000"/>
              <a:gd name="connsiteX2495" fmla="*/ 3117194 w 12192000"/>
              <a:gd name="connsiteY2495" fmla="*/ 6066999 h 6858000"/>
              <a:gd name="connsiteX2496" fmla="*/ 3117194 w 12192000"/>
              <a:gd name="connsiteY2496" fmla="*/ 6034681 h 6858000"/>
              <a:gd name="connsiteX2497" fmla="*/ 3134282 w 12192000"/>
              <a:gd name="connsiteY2497" fmla="*/ 6034681 h 6858000"/>
              <a:gd name="connsiteX2498" fmla="*/ 3162513 w 12192000"/>
              <a:gd name="connsiteY2498" fmla="*/ 6009544 h 6858000"/>
              <a:gd name="connsiteX2499" fmla="*/ 3162513 w 12192000"/>
              <a:gd name="connsiteY2499" fmla="*/ 6007068 h 6858000"/>
              <a:gd name="connsiteX2500" fmla="*/ 3155765 w 12192000"/>
              <a:gd name="connsiteY2500" fmla="*/ 5987504 h 6858000"/>
              <a:gd name="connsiteX2501" fmla="*/ 3134282 w 12192000"/>
              <a:gd name="connsiteY2501" fmla="*/ 5981312 h 6858000"/>
              <a:gd name="connsiteX2502" fmla="*/ 3616447 w 12192000"/>
              <a:gd name="connsiteY2502" fmla="*/ 5980074 h 6858000"/>
              <a:gd name="connsiteX2503" fmla="*/ 3611926 w 12192000"/>
              <a:gd name="connsiteY2503" fmla="*/ 5981560 h 6858000"/>
              <a:gd name="connsiteX2504" fmla="*/ 3610255 w 12192000"/>
              <a:gd name="connsiteY2504" fmla="*/ 5985522 h 6858000"/>
              <a:gd name="connsiteX2505" fmla="*/ 3610255 w 12192000"/>
              <a:gd name="connsiteY2505" fmla="*/ 5987504 h 6858000"/>
              <a:gd name="connsiteX2506" fmla="*/ 3611926 w 12192000"/>
              <a:gd name="connsiteY2506" fmla="*/ 5991590 h 6858000"/>
              <a:gd name="connsiteX2507" fmla="*/ 3616447 w 12192000"/>
              <a:gd name="connsiteY2507" fmla="*/ 5993076 h 6858000"/>
              <a:gd name="connsiteX2508" fmla="*/ 3621151 w 12192000"/>
              <a:gd name="connsiteY2508" fmla="*/ 5991590 h 6858000"/>
              <a:gd name="connsiteX2509" fmla="*/ 3622885 w 12192000"/>
              <a:gd name="connsiteY2509" fmla="*/ 5987504 h 6858000"/>
              <a:gd name="connsiteX2510" fmla="*/ 3622885 w 12192000"/>
              <a:gd name="connsiteY2510" fmla="*/ 5985522 h 6858000"/>
              <a:gd name="connsiteX2511" fmla="*/ 3621151 w 12192000"/>
              <a:gd name="connsiteY2511" fmla="*/ 5981560 h 6858000"/>
              <a:gd name="connsiteX2512" fmla="*/ 3616447 w 12192000"/>
              <a:gd name="connsiteY2512" fmla="*/ 5980074 h 6858000"/>
              <a:gd name="connsiteX2513" fmla="*/ 9777152 w 12192000"/>
              <a:gd name="connsiteY2513" fmla="*/ 5954917 h 6858000"/>
              <a:gd name="connsiteX2514" fmla="*/ 9794116 w 12192000"/>
              <a:gd name="connsiteY2514" fmla="*/ 5975472 h 6858000"/>
              <a:gd name="connsiteX2515" fmla="*/ 9794116 w 12192000"/>
              <a:gd name="connsiteY2515" fmla="*/ 5985873 h 6858000"/>
              <a:gd name="connsiteX2516" fmla="*/ 9777152 w 12192000"/>
              <a:gd name="connsiteY2516" fmla="*/ 6006428 h 6858000"/>
              <a:gd name="connsiteX2517" fmla="*/ 9760188 w 12192000"/>
              <a:gd name="connsiteY2517" fmla="*/ 5985873 h 6858000"/>
              <a:gd name="connsiteX2518" fmla="*/ 9760188 w 12192000"/>
              <a:gd name="connsiteY2518" fmla="*/ 5975472 h 6858000"/>
              <a:gd name="connsiteX2519" fmla="*/ 9777152 w 12192000"/>
              <a:gd name="connsiteY2519" fmla="*/ 5954917 h 6858000"/>
              <a:gd name="connsiteX2520" fmla="*/ 9519977 w 12192000"/>
              <a:gd name="connsiteY2520" fmla="*/ 5954917 h 6858000"/>
              <a:gd name="connsiteX2521" fmla="*/ 9536941 w 12192000"/>
              <a:gd name="connsiteY2521" fmla="*/ 5975472 h 6858000"/>
              <a:gd name="connsiteX2522" fmla="*/ 9536941 w 12192000"/>
              <a:gd name="connsiteY2522" fmla="*/ 5985873 h 6858000"/>
              <a:gd name="connsiteX2523" fmla="*/ 9519977 w 12192000"/>
              <a:gd name="connsiteY2523" fmla="*/ 6006428 h 6858000"/>
              <a:gd name="connsiteX2524" fmla="*/ 9503013 w 12192000"/>
              <a:gd name="connsiteY2524" fmla="*/ 5985873 h 6858000"/>
              <a:gd name="connsiteX2525" fmla="*/ 9503013 w 12192000"/>
              <a:gd name="connsiteY2525" fmla="*/ 5975472 h 6858000"/>
              <a:gd name="connsiteX2526" fmla="*/ 9519977 w 12192000"/>
              <a:gd name="connsiteY2526" fmla="*/ 5954917 h 6858000"/>
              <a:gd name="connsiteX2527" fmla="*/ 9454540 w 12192000"/>
              <a:gd name="connsiteY2527" fmla="*/ 5954917 h 6858000"/>
              <a:gd name="connsiteX2528" fmla="*/ 9471380 w 12192000"/>
              <a:gd name="connsiteY2528" fmla="*/ 5975472 h 6858000"/>
              <a:gd name="connsiteX2529" fmla="*/ 9471380 w 12192000"/>
              <a:gd name="connsiteY2529" fmla="*/ 5985873 h 6858000"/>
              <a:gd name="connsiteX2530" fmla="*/ 9454416 w 12192000"/>
              <a:gd name="connsiteY2530" fmla="*/ 6006428 h 6858000"/>
              <a:gd name="connsiteX2531" fmla="*/ 9441848 w 12192000"/>
              <a:gd name="connsiteY2531" fmla="*/ 6001166 h 6858000"/>
              <a:gd name="connsiteX2532" fmla="*/ 9437576 w 12192000"/>
              <a:gd name="connsiteY2532" fmla="*/ 5985873 h 6858000"/>
              <a:gd name="connsiteX2533" fmla="*/ 9437576 w 12192000"/>
              <a:gd name="connsiteY2533" fmla="*/ 5975472 h 6858000"/>
              <a:gd name="connsiteX2534" fmla="*/ 9454540 w 12192000"/>
              <a:gd name="connsiteY2534" fmla="*/ 5954917 h 6858000"/>
              <a:gd name="connsiteX2535" fmla="*/ 9387865 w 12192000"/>
              <a:gd name="connsiteY2535" fmla="*/ 5954917 h 6858000"/>
              <a:gd name="connsiteX2536" fmla="*/ 9404705 w 12192000"/>
              <a:gd name="connsiteY2536" fmla="*/ 5975472 h 6858000"/>
              <a:gd name="connsiteX2537" fmla="*/ 9404705 w 12192000"/>
              <a:gd name="connsiteY2537" fmla="*/ 5985873 h 6858000"/>
              <a:gd name="connsiteX2538" fmla="*/ 9387741 w 12192000"/>
              <a:gd name="connsiteY2538" fmla="*/ 6006428 h 6858000"/>
              <a:gd name="connsiteX2539" fmla="*/ 9375173 w 12192000"/>
              <a:gd name="connsiteY2539" fmla="*/ 6001166 h 6858000"/>
              <a:gd name="connsiteX2540" fmla="*/ 9370901 w 12192000"/>
              <a:gd name="connsiteY2540" fmla="*/ 5985873 h 6858000"/>
              <a:gd name="connsiteX2541" fmla="*/ 9370901 w 12192000"/>
              <a:gd name="connsiteY2541" fmla="*/ 5975472 h 6858000"/>
              <a:gd name="connsiteX2542" fmla="*/ 9387865 w 12192000"/>
              <a:gd name="connsiteY2542" fmla="*/ 5954917 h 6858000"/>
              <a:gd name="connsiteX2543" fmla="*/ 9717382 w 12192000"/>
              <a:gd name="connsiteY2543" fmla="*/ 5948230 h 6858000"/>
              <a:gd name="connsiteX2544" fmla="*/ 9715339 w 12192000"/>
              <a:gd name="connsiteY2544" fmla="*/ 5948726 h 6858000"/>
              <a:gd name="connsiteX2545" fmla="*/ 9714782 w 12192000"/>
              <a:gd name="connsiteY2545" fmla="*/ 5950707 h 6858000"/>
              <a:gd name="connsiteX2546" fmla="*/ 9714782 w 12192000"/>
              <a:gd name="connsiteY2546" fmla="*/ 6010638 h 6858000"/>
              <a:gd name="connsiteX2547" fmla="*/ 9715339 w 12192000"/>
              <a:gd name="connsiteY2547" fmla="*/ 6012619 h 6858000"/>
              <a:gd name="connsiteX2548" fmla="*/ 9717382 w 12192000"/>
              <a:gd name="connsiteY2548" fmla="*/ 6013115 h 6858000"/>
              <a:gd name="connsiteX2549" fmla="*/ 9721964 w 12192000"/>
              <a:gd name="connsiteY2549" fmla="*/ 6013115 h 6858000"/>
              <a:gd name="connsiteX2550" fmla="*/ 9724007 w 12192000"/>
              <a:gd name="connsiteY2550" fmla="*/ 6012619 h 6858000"/>
              <a:gd name="connsiteX2551" fmla="*/ 9724564 w 12192000"/>
              <a:gd name="connsiteY2551" fmla="*/ 6010638 h 6858000"/>
              <a:gd name="connsiteX2552" fmla="*/ 9724564 w 12192000"/>
              <a:gd name="connsiteY2552" fmla="*/ 5979063 h 6858000"/>
              <a:gd name="connsiteX2553" fmla="*/ 9728898 w 12192000"/>
              <a:gd name="connsiteY2553" fmla="*/ 5963770 h 6858000"/>
              <a:gd name="connsiteX2554" fmla="*/ 9740537 w 12192000"/>
              <a:gd name="connsiteY2554" fmla="*/ 5957641 h 6858000"/>
              <a:gd name="connsiteX2555" fmla="*/ 9743757 w 12192000"/>
              <a:gd name="connsiteY2555" fmla="*/ 5957641 h 6858000"/>
              <a:gd name="connsiteX2556" fmla="*/ 9745491 w 12192000"/>
              <a:gd name="connsiteY2556" fmla="*/ 5957146 h 6858000"/>
              <a:gd name="connsiteX2557" fmla="*/ 9745862 w 12192000"/>
              <a:gd name="connsiteY2557" fmla="*/ 5955165 h 6858000"/>
              <a:gd name="connsiteX2558" fmla="*/ 9745862 w 12192000"/>
              <a:gd name="connsiteY2558" fmla="*/ 5950707 h 6858000"/>
              <a:gd name="connsiteX2559" fmla="*/ 9745491 w 12192000"/>
              <a:gd name="connsiteY2559" fmla="*/ 5948726 h 6858000"/>
              <a:gd name="connsiteX2560" fmla="*/ 9743757 w 12192000"/>
              <a:gd name="connsiteY2560" fmla="*/ 5948230 h 6858000"/>
              <a:gd name="connsiteX2561" fmla="*/ 9742147 w 12192000"/>
              <a:gd name="connsiteY2561" fmla="*/ 5948230 h 6858000"/>
              <a:gd name="connsiteX2562" fmla="*/ 9731436 w 12192000"/>
              <a:gd name="connsiteY2562" fmla="*/ 5951512 h 6858000"/>
              <a:gd name="connsiteX2563" fmla="*/ 9724316 w 12192000"/>
              <a:gd name="connsiteY2563" fmla="*/ 5960118 h 6858000"/>
              <a:gd name="connsiteX2564" fmla="*/ 9724316 w 12192000"/>
              <a:gd name="connsiteY2564" fmla="*/ 5950707 h 6858000"/>
              <a:gd name="connsiteX2565" fmla="*/ 9723759 w 12192000"/>
              <a:gd name="connsiteY2565" fmla="*/ 5948726 h 6858000"/>
              <a:gd name="connsiteX2566" fmla="*/ 9721716 w 12192000"/>
              <a:gd name="connsiteY2566" fmla="*/ 5948230 h 6858000"/>
              <a:gd name="connsiteX2567" fmla="*/ 9564982 w 12192000"/>
              <a:gd name="connsiteY2567" fmla="*/ 5948230 h 6858000"/>
              <a:gd name="connsiteX2568" fmla="*/ 9562939 w 12192000"/>
              <a:gd name="connsiteY2568" fmla="*/ 5948726 h 6858000"/>
              <a:gd name="connsiteX2569" fmla="*/ 9562382 w 12192000"/>
              <a:gd name="connsiteY2569" fmla="*/ 5950707 h 6858000"/>
              <a:gd name="connsiteX2570" fmla="*/ 9562382 w 12192000"/>
              <a:gd name="connsiteY2570" fmla="*/ 6010638 h 6858000"/>
              <a:gd name="connsiteX2571" fmla="*/ 9562939 w 12192000"/>
              <a:gd name="connsiteY2571" fmla="*/ 6012619 h 6858000"/>
              <a:gd name="connsiteX2572" fmla="*/ 9564982 w 12192000"/>
              <a:gd name="connsiteY2572" fmla="*/ 6013115 h 6858000"/>
              <a:gd name="connsiteX2573" fmla="*/ 9569564 w 12192000"/>
              <a:gd name="connsiteY2573" fmla="*/ 6013115 h 6858000"/>
              <a:gd name="connsiteX2574" fmla="*/ 9571607 w 12192000"/>
              <a:gd name="connsiteY2574" fmla="*/ 6012619 h 6858000"/>
              <a:gd name="connsiteX2575" fmla="*/ 9572164 w 12192000"/>
              <a:gd name="connsiteY2575" fmla="*/ 6010638 h 6858000"/>
              <a:gd name="connsiteX2576" fmla="*/ 9572164 w 12192000"/>
              <a:gd name="connsiteY2576" fmla="*/ 5979063 h 6858000"/>
              <a:gd name="connsiteX2577" fmla="*/ 9576498 w 12192000"/>
              <a:gd name="connsiteY2577" fmla="*/ 5963770 h 6858000"/>
              <a:gd name="connsiteX2578" fmla="*/ 9588137 w 12192000"/>
              <a:gd name="connsiteY2578" fmla="*/ 5957641 h 6858000"/>
              <a:gd name="connsiteX2579" fmla="*/ 9591357 w 12192000"/>
              <a:gd name="connsiteY2579" fmla="*/ 5957641 h 6858000"/>
              <a:gd name="connsiteX2580" fmla="*/ 9593091 w 12192000"/>
              <a:gd name="connsiteY2580" fmla="*/ 5957146 h 6858000"/>
              <a:gd name="connsiteX2581" fmla="*/ 9593462 w 12192000"/>
              <a:gd name="connsiteY2581" fmla="*/ 5955165 h 6858000"/>
              <a:gd name="connsiteX2582" fmla="*/ 9593462 w 12192000"/>
              <a:gd name="connsiteY2582" fmla="*/ 5950707 h 6858000"/>
              <a:gd name="connsiteX2583" fmla="*/ 9593091 w 12192000"/>
              <a:gd name="connsiteY2583" fmla="*/ 5948726 h 6858000"/>
              <a:gd name="connsiteX2584" fmla="*/ 9591357 w 12192000"/>
              <a:gd name="connsiteY2584" fmla="*/ 5948230 h 6858000"/>
              <a:gd name="connsiteX2585" fmla="*/ 9589747 w 12192000"/>
              <a:gd name="connsiteY2585" fmla="*/ 5948230 h 6858000"/>
              <a:gd name="connsiteX2586" fmla="*/ 9579036 w 12192000"/>
              <a:gd name="connsiteY2586" fmla="*/ 5951512 h 6858000"/>
              <a:gd name="connsiteX2587" fmla="*/ 9571916 w 12192000"/>
              <a:gd name="connsiteY2587" fmla="*/ 5960118 h 6858000"/>
              <a:gd name="connsiteX2588" fmla="*/ 9571916 w 12192000"/>
              <a:gd name="connsiteY2588" fmla="*/ 5950707 h 6858000"/>
              <a:gd name="connsiteX2589" fmla="*/ 9571359 w 12192000"/>
              <a:gd name="connsiteY2589" fmla="*/ 5948726 h 6858000"/>
              <a:gd name="connsiteX2590" fmla="*/ 9569316 w 12192000"/>
              <a:gd name="connsiteY2590" fmla="*/ 5948230 h 6858000"/>
              <a:gd name="connsiteX2591" fmla="*/ 9297663 w 12192000"/>
              <a:gd name="connsiteY2591" fmla="*/ 5948230 h 6858000"/>
              <a:gd name="connsiteX2592" fmla="*/ 9295620 w 12192000"/>
              <a:gd name="connsiteY2592" fmla="*/ 5948726 h 6858000"/>
              <a:gd name="connsiteX2593" fmla="*/ 9295063 w 12192000"/>
              <a:gd name="connsiteY2593" fmla="*/ 5950707 h 6858000"/>
              <a:gd name="connsiteX2594" fmla="*/ 9295063 w 12192000"/>
              <a:gd name="connsiteY2594" fmla="*/ 5993055 h 6858000"/>
              <a:gd name="connsiteX2595" fmla="*/ 9300387 w 12192000"/>
              <a:gd name="connsiteY2595" fmla="*/ 6009214 h 6858000"/>
              <a:gd name="connsiteX2596" fmla="*/ 9315742 w 12192000"/>
              <a:gd name="connsiteY2596" fmla="*/ 6014848 h 6858000"/>
              <a:gd name="connsiteX2597" fmla="*/ 9334191 w 12192000"/>
              <a:gd name="connsiteY2597" fmla="*/ 6006428 h 6858000"/>
              <a:gd name="connsiteX2598" fmla="*/ 9334191 w 12192000"/>
              <a:gd name="connsiteY2598" fmla="*/ 6010638 h 6858000"/>
              <a:gd name="connsiteX2599" fmla="*/ 9334749 w 12192000"/>
              <a:gd name="connsiteY2599" fmla="*/ 6012619 h 6858000"/>
              <a:gd name="connsiteX2600" fmla="*/ 9336792 w 12192000"/>
              <a:gd name="connsiteY2600" fmla="*/ 6013115 h 6858000"/>
              <a:gd name="connsiteX2601" fmla="*/ 9341126 w 12192000"/>
              <a:gd name="connsiteY2601" fmla="*/ 6013115 h 6858000"/>
              <a:gd name="connsiteX2602" fmla="*/ 9343169 w 12192000"/>
              <a:gd name="connsiteY2602" fmla="*/ 6012619 h 6858000"/>
              <a:gd name="connsiteX2603" fmla="*/ 9343726 w 12192000"/>
              <a:gd name="connsiteY2603" fmla="*/ 6010638 h 6858000"/>
              <a:gd name="connsiteX2604" fmla="*/ 9343726 w 12192000"/>
              <a:gd name="connsiteY2604" fmla="*/ 5950707 h 6858000"/>
              <a:gd name="connsiteX2605" fmla="*/ 9343169 w 12192000"/>
              <a:gd name="connsiteY2605" fmla="*/ 5948726 h 6858000"/>
              <a:gd name="connsiteX2606" fmla="*/ 9341126 w 12192000"/>
              <a:gd name="connsiteY2606" fmla="*/ 5948230 h 6858000"/>
              <a:gd name="connsiteX2607" fmla="*/ 9336544 w 12192000"/>
              <a:gd name="connsiteY2607" fmla="*/ 5948230 h 6858000"/>
              <a:gd name="connsiteX2608" fmla="*/ 9334501 w 12192000"/>
              <a:gd name="connsiteY2608" fmla="*/ 5948726 h 6858000"/>
              <a:gd name="connsiteX2609" fmla="*/ 9333944 w 12192000"/>
              <a:gd name="connsiteY2609" fmla="*/ 5950707 h 6858000"/>
              <a:gd name="connsiteX2610" fmla="*/ 9333944 w 12192000"/>
              <a:gd name="connsiteY2610" fmla="*/ 5988721 h 6858000"/>
              <a:gd name="connsiteX2611" fmla="*/ 9329672 w 12192000"/>
              <a:gd name="connsiteY2611" fmla="*/ 6001413 h 6858000"/>
              <a:gd name="connsiteX2612" fmla="*/ 9318342 w 12192000"/>
              <a:gd name="connsiteY2612" fmla="*/ 6006181 h 6858000"/>
              <a:gd name="connsiteX2613" fmla="*/ 9308126 w 12192000"/>
              <a:gd name="connsiteY2613" fmla="*/ 6002528 h 6858000"/>
              <a:gd name="connsiteX2614" fmla="*/ 9304845 w 12192000"/>
              <a:gd name="connsiteY2614" fmla="*/ 5990950 h 6858000"/>
              <a:gd name="connsiteX2615" fmla="*/ 9304845 w 12192000"/>
              <a:gd name="connsiteY2615" fmla="*/ 5950707 h 6858000"/>
              <a:gd name="connsiteX2616" fmla="*/ 9304288 w 12192000"/>
              <a:gd name="connsiteY2616" fmla="*/ 5948726 h 6858000"/>
              <a:gd name="connsiteX2617" fmla="*/ 9302245 w 12192000"/>
              <a:gd name="connsiteY2617" fmla="*/ 5948230 h 6858000"/>
              <a:gd name="connsiteX2618" fmla="*/ 9069682 w 12192000"/>
              <a:gd name="connsiteY2618" fmla="*/ 5948230 h 6858000"/>
              <a:gd name="connsiteX2619" fmla="*/ 9067639 w 12192000"/>
              <a:gd name="connsiteY2619" fmla="*/ 5948726 h 6858000"/>
              <a:gd name="connsiteX2620" fmla="*/ 9067082 w 12192000"/>
              <a:gd name="connsiteY2620" fmla="*/ 5950707 h 6858000"/>
              <a:gd name="connsiteX2621" fmla="*/ 9067082 w 12192000"/>
              <a:gd name="connsiteY2621" fmla="*/ 6010638 h 6858000"/>
              <a:gd name="connsiteX2622" fmla="*/ 9067639 w 12192000"/>
              <a:gd name="connsiteY2622" fmla="*/ 6012619 h 6858000"/>
              <a:gd name="connsiteX2623" fmla="*/ 9069682 w 12192000"/>
              <a:gd name="connsiteY2623" fmla="*/ 6013115 h 6858000"/>
              <a:gd name="connsiteX2624" fmla="*/ 9074264 w 12192000"/>
              <a:gd name="connsiteY2624" fmla="*/ 6013115 h 6858000"/>
              <a:gd name="connsiteX2625" fmla="*/ 9076307 w 12192000"/>
              <a:gd name="connsiteY2625" fmla="*/ 6012619 h 6858000"/>
              <a:gd name="connsiteX2626" fmla="*/ 9076864 w 12192000"/>
              <a:gd name="connsiteY2626" fmla="*/ 6010638 h 6858000"/>
              <a:gd name="connsiteX2627" fmla="*/ 9076864 w 12192000"/>
              <a:gd name="connsiteY2627" fmla="*/ 5950707 h 6858000"/>
              <a:gd name="connsiteX2628" fmla="*/ 9076307 w 12192000"/>
              <a:gd name="connsiteY2628" fmla="*/ 5948726 h 6858000"/>
              <a:gd name="connsiteX2629" fmla="*/ 9074264 w 12192000"/>
              <a:gd name="connsiteY2629" fmla="*/ 5948230 h 6858000"/>
              <a:gd name="connsiteX2630" fmla="*/ 9930895 w 12192000"/>
              <a:gd name="connsiteY2630" fmla="*/ 5947116 h 6858000"/>
              <a:gd name="connsiteX2631" fmla="*/ 9925322 w 12192000"/>
              <a:gd name="connsiteY2631" fmla="*/ 5949035 h 6858000"/>
              <a:gd name="connsiteX2632" fmla="*/ 9923217 w 12192000"/>
              <a:gd name="connsiteY2632" fmla="*/ 5954174 h 6858000"/>
              <a:gd name="connsiteX2633" fmla="*/ 9923217 w 12192000"/>
              <a:gd name="connsiteY2633" fmla="*/ 5956651 h 6858000"/>
              <a:gd name="connsiteX2634" fmla="*/ 9925322 w 12192000"/>
              <a:gd name="connsiteY2634" fmla="*/ 5961727 h 6858000"/>
              <a:gd name="connsiteX2635" fmla="*/ 9930895 w 12192000"/>
              <a:gd name="connsiteY2635" fmla="*/ 5963709 h 6858000"/>
              <a:gd name="connsiteX2636" fmla="*/ 9936529 w 12192000"/>
              <a:gd name="connsiteY2636" fmla="*/ 5961727 h 6858000"/>
              <a:gd name="connsiteX2637" fmla="*/ 9938572 w 12192000"/>
              <a:gd name="connsiteY2637" fmla="*/ 5956651 h 6858000"/>
              <a:gd name="connsiteX2638" fmla="*/ 9938572 w 12192000"/>
              <a:gd name="connsiteY2638" fmla="*/ 5954174 h 6858000"/>
              <a:gd name="connsiteX2639" fmla="*/ 9936529 w 12192000"/>
              <a:gd name="connsiteY2639" fmla="*/ 5949035 h 6858000"/>
              <a:gd name="connsiteX2640" fmla="*/ 9930895 w 12192000"/>
              <a:gd name="connsiteY2640" fmla="*/ 5947116 h 6858000"/>
              <a:gd name="connsiteX2641" fmla="*/ 9847541 w 12192000"/>
              <a:gd name="connsiteY2641" fmla="*/ 5946497 h 6858000"/>
              <a:gd name="connsiteX2642" fmla="*/ 9829091 w 12192000"/>
              <a:gd name="connsiteY2642" fmla="*/ 5955041 h 6858000"/>
              <a:gd name="connsiteX2643" fmla="*/ 9829091 w 12192000"/>
              <a:gd name="connsiteY2643" fmla="*/ 5950707 h 6858000"/>
              <a:gd name="connsiteX2644" fmla="*/ 9828534 w 12192000"/>
              <a:gd name="connsiteY2644" fmla="*/ 5948726 h 6858000"/>
              <a:gd name="connsiteX2645" fmla="*/ 9826491 w 12192000"/>
              <a:gd name="connsiteY2645" fmla="*/ 5948230 h 6858000"/>
              <a:gd name="connsiteX2646" fmla="*/ 9822157 w 12192000"/>
              <a:gd name="connsiteY2646" fmla="*/ 5948230 h 6858000"/>
              <a:gd name="connsiteX2647" fmla="*/ 9820114 w 12192000"/>
              <a:gd name="connsiteY2647" fmla="*/ 5948726 h 6858000"/>
              <a:gd name="connsiteX2648" fmla="*/ 9819557 w 12192000"/>
              <a:gd name="connsiteY2648" fmla="*/ 5950707 h 6858000"/>
              <a:gd name="connsiteX2649" fmla="*/ 9819557 w 12192000"/>
              <a:gd name="connsiteY2649" fmla="*/ 6010638 h 6858000"/>
              <a:gd name="connsiteX2650" fmla="*/ 9820114 w 12192000"/>
              <a:gd name="connsiteY2650" fmla="*/ 6012619 h 6858000"/>
              <a:gd name="connsiteX2651" fmla="*/ 9822157 w 12192000"/>
              <a:gd name="connsiteY2651" fmla="*/ 6013115 h 6858000"/>
              <a:gd name="connsiteX2652" fmla="*/ 9826739 w 12192000"/>
              <a:gd name="connsiteY2652" fmla="*/ 6013115 h 6858000"/>
              <a:gd name="connsiteX2653" fmla="*/ 9828782 w 12192000"/>
              <a:gd name="connsiteY2653" fmla="*/ 6012619 h 6858000"/>
              <a:gd name="connsiteX2654" fmla="*/ 9829339 w 12192000"/>
              <a:gd name="connsiteY2654" fmla="*/ 6010638 h 6858000"/>
              <a:gd name="connsiteX2655" fmla="*/ 9829339 w 12192000"/>
              <a:gd name="connsiteY2655" fmla="*/ 5972624 h 6858000"/>
              <a:gd name="connsiteX2656" fmla="*/ 9833611 w 12192000"/>
              <a:gd name="connsiteY2656" fmla="*/ 5959870 h 6858000"/>
              <a:gd name="connsiteX2657" fmla="*/ 9844941 w 12192000"/>
              <a:gd name="connsiteY2657" fmla="*/ 5955165 h 6858000"/>
              <a:gd name="connsiteX2658" fmla="*/ 9855095 w 12192000"/>
              <a:gd name="connsiteY2658" fmla="*/ 5958817 h 6858000"/>
              <a:gd name="connsiteX2659" fmla="*/ 9858314 w 12192000"/>
              <a:gd name="connsiteY2659" fmla="*/ 5970395 h 6858000"/>
              <a:gd name="connsiteX2660" fmla="*/ 9858314 w 12192000"/>
              <a:gd name="connsiteY2660" fmla="*/ 6010638 h 6858000"/>
              <a:gd name="connsiteX2661" fmla="*/ 9858871 w 12192000"/>
              <a:gd name="connsiteY2661" fmla="*/ 6012619 h 6858000"/>
              <a:gd name="connsiteX2662" fmla="*/ 9860914 w 12192000"/>
              <a:gd name="connsiteY2662" fmla="*/ 6013115 h 6858000"/>
              <a:gd name="connsiteX2663" fmla="*/ 9865496 w 12192000"/>
              <a:gd name="connsiteY2663" fmla="*/ 6013115 h 6858000"/>
              <a:gd name="connsiteX2664" fmla="*/ 9867539 w 12192000"/>
              <a:gd name="connsiteY2664" fmla="*/ 6012619 h 6858000"/>
              <a:gd name="connsiteX2665" fmla="*/ 9868096 w 12192000"/>
              <a:gd name="connsiteY2665" fmla="*/ 6010638 h 6858000"/>
              <a:gd name="connsiteX2666" fmla="*/ 9868096 w 12192000"/>
              <a:gd name="connsiteY2666" fmla="*/ 5972624 h 6858000"/>
              <a:gd name="connsiteX2667" fmla="*/ 9872368 w 12192000"/>
              <a:gd name="connsiteY2667" fmla="*/ 5959870 h 6858000"/>
              <a:gd name="connsiteX2668" fmla="*/ 9883698 w 12192000"/>
              <a:gd name="connsiteY2668" fmla="*/ 5955165 h 6858000"/>
              <a:gd name="connsiteX2669" fmla="*/ 9893852 w 12192000"/>
              <a:gd name="connsiteY2669" fmla="*/ 5958817 h 6858000"/>
              <a:gd name="connsiteX2670" fmla="*/ 9897071 w 12192000"/>
              <a:gd name="connsiteY2670" fmla="*/ 5970395 h 6858000"/>
              <a:gd name="connsiteX2671" fmla="*/ 9897071 w 12192000"/>
              <a:gd name="connsiteY2671" fmla="*/ 6010638 h 6858000"/>
              <a:gd name="connsiteX2672" fmla="*/ 9897629 w 12192000"/>
              <a:gd name="connsiteY2672" fmla="*/ 6012619 h 6858000"/>
              <a:gd name="connsiteX2673" fmla="*/ 9899672 w 12192000"/>
              <a:gd name="connsiteY2673" fmla="*/ 6013115 h 6858000"/>
              <a:gd name="connsiteX2674" fmla="*/ 9904253 w 12192000"/>
              <a:gd name="connsiteY2674" fmla="*/ 6013115 h 6858000"/>
              <a:gd name="connsiteX2675" fmla="*/ 9906296 w 12192000"/>
              <a:gd name="connsiteY2675" fmla="*/ 6012619 h 6858000"/>
              <a:gd name="connsiteX2676" fmla="*/ 9906853 w 12192000"/>
              <a:gd name="connsiteY2676" fmla="*/ 6010638 h 6858000"/>
              <a:gd name="connsiteX2677" fmla="*/ 9906853 w 12192000"/>
              <a:gd name="connsiteY2677" fmla="*/ 5968290 h 6858000"/>
              <a:gd name="connsiteX2678" fmla="*/ 9901529 w 12192000"/>
              <a:gd name="connsiteY2678" fmla="*/ 5952069 h 6858000"/>
              <a:gd name="connsiteX2679" fmla="*/ 9886299 w 12192000"/>
              <a:gd name="connsiteY2679" fmla="*/ 5946497 h 6858000"/>
              <a:gd name="connsiteX2680" fmla="*/ 9874659 w 12192000"/>
              <a:gd name="connsiteY2680" fmla="*/ 5948850 h 6858000"/>
              <a:gd name="connsiteX2681" fmla="*/ 9865867 w 12192000"/>
              <a:gd name="connsiteY2681" fmla="*/ 5956651 h 6858000"/>
              <a:gd name="connsiteX2682" fmla="*/ 9847541 w 12192000"/>
              <a:gd name="connsiteY2682" fmla="*/ 5946497 h 6858000"/>
              <a:gd name="connsiteX2683" fmla="*/ 9777152 w 12192000"/>
              <a:gd name="connsiteY2683" fmla="*/ 5946497 h 6858000"/>
              <a:gd name="connsiteX2684" fmla="*/ 9757401 w 12192000"/>
              <a:gd name="connsiteY2684" fmla="*/ 5953926 h 6858000"/>
              <a:gd name="connsiteX2685" fmla="*/ 9750405 w 12192000"/>
              <a:gd name="connsiteY2685" fmla="*/ 5974729 h 6858000"/>
              <a:gd name="connsiteX2686" fmla="*/ 9750405 w 12192000"/>
              <a:gd name="connsiteY2686" fmla="*/ 5987854 h 6858000"/>
              <a:gd name="connsiteX2687" fmla="*/ 9757401 w 12192000"/>
              <a:gd name="connsiteY2687" fmla="*/ 6007728 h 6858000"/>
              <a:gd name="connsiteX2688" fmla="*/ 9777152 w 12192000"/>
              <a:gd name="connsiteY2688" fmla="*/ 6014848 h 6858000"/>
              <a:gd name="connsiteX2689" fmla="*/ 9796902 w 12192000"/>
              <a:gd name="connsiteY2689" fmla="*/ 6007419 h 6858000"/>
              <a:gd name="connsiteX2690" fmla="*/ 9803898 w 12192000"/>
              <a:gd name="connsiteY2690" fmla="*/ 5986616 h 6858000"/>
              <a:gd name="connsiteX2691" fmla="*/ 9803898 w 12192000"/>
              <a:gd name="connsiteY2691" fmla="*/ 5973491 h 6858000"/>
              <a:gd name="connsiteX2692" fmla="*/ 9796902 w 12192000"/>
              <a:gd name="connsiteY2692" fmla="*/ 5953555 h 6858000"/>
              <a:gd name="connsiteX2693" fmla="*/ 9777152 w 12192000"/>
              <a:gd name="connsiteY2693" fmla="*/ 5946497 h 6858000"/>
              <a:gd name="connsiteX2694" fmla="*/ 9519977 w 12192000"/>
              <a:gd name="connsiteY2694" fmla="*/ 5946497 h 6858000"/>
              <a:gd name="connsiteX2695" fmla="*/ 9500227 w 12192000"/>
              <a:gd name="connsiteY2695" fmla="*/ 5953926 h 6858000"/>
              <a:gd name="connsiteX2696" fmla="*/ 9493230 w 12192000"/>
              <a:gd name="connsiteY2696" fmla="*/ 5974729 h 6858000"/>
              <a:gd name="connsiteX2697" fmla="*/ 9493230 w 12192000"/>
              <a:gd name="connsiteY2697" fmla="*/ 5987854 h 6858000"/>
              <a:gd name="connsiteX2698" fmla="*/ 9500227 w 12192000"/>
              <a:gd name="connsiteY2698" fmla="*/ 6007728 h 6858000"/>
              <a:gd name="connsiteX2699" fmla="*/ 9519977 w 12192000"/>
              <a:gd name="connsiteY2699" fmla="*/ 6014848 h 6858000"/>
              <a:gd name="connsiteX2700" fmla="*/ 9539727 w 12192000"/>
              <a:gd name="connsiteY2700" fmla="*/ 6007419 h 6858000"/>
              <a:gd name="connsiteX2701" fmla="*/ 9546723 w 12192000"/>
              <a:gd name="connsiteY2701" fmla="*/ 5986616 h 6858000"/>
              <a:gd name="connsiteX2702" fmla="*/ 9546723 w 12192000"/>
              <a:gd name="connsiteY2702" fmla="*/ 5973491 h 6858000"/>
              <a:gd name="connsiteX2703" fmla="*/ 9539727 w 12192000"/>
              <a:gd name="connsiteY2703" fmla="*/ 5953555 h 6858000"/>
              <a:gd name="connsiteX2704" fmla="*/ 9519977 w 12192000"/>
              <a:gd name="connsiteY2704" fmla="*/ 5946497 h 6858000"/>
              <a:gd name="connsiteX2705" fmla="*/ 9454540 w 12192000"/>
              <a:gd name="connsiteY2705" fmla="*/ 5946497 h 6858000"/>
              <a:gd name="connsiteX2706" fmla="*/ 9434790 w 12192000"/>
              <a:gd name="connsiteY2706" fmla="*/ 5953926 h 6858000"/>
              <a:gd name="connsiteX2707" fmla="*/ 9427794 w 12192000"/>
              <a:gd name="connsiteY2707" fmla="*/ 5974729 h 6858000"/>
              <a:gd name="connsiteX2708" fmla="*/ 9427794 w 12192000"/>
              <a:gd name="connsiteY2708" fmla="*/ 6031812 h 6858000"/>
              <a:gd name="connsiteX2709" fmla="*/ 9428351 w 12192000"/>
              <a:gd name="connsiteY2709" fmla="*/ 6033794 h 6858000"/>
              <a:gd name="connsiteX2710" fmla="*/ 9430394 w 12192000"/>
              <a:gd name="connsiteY2710" fmla="*/ 6034289 h 6858000"/>
              <a:gd name="connsiteX2711" fmla="*/ 9434975 w 12192000"/>
              <a:gd name="connsiteY2711" fmla="*/ 6034289 h 6858000"/>
              <a:gd name="connsiteX2712" fmla="*/ 9437019 w 12192000"/>
              <a:gd name="connsiteY2712" fmla="*/ 6033794 h 6858000"/>
              <a:gd name="connsiteX2713" fmla="*/ 9437576 w 12192000"/>
              <a:gd name="connsiteY2713" fmla="*/ 6031812 h 6858000"/>
              <a:gd name="connsiteX2714" fmla="*/ 9437576 w 12192000"/>
              <a:gd name="connsiteY2714" fmla="*/ 6007171 h 6858000"/>
              <a:gd name="connsiteX2715" fmla="*/ 9455778 w 12192000"/>
              <a:gd name="connsiteY2715" fmla="*/ 6014848 h 6858000"/>
              <a:gd name="connsiteX2716" fmla="*/ 9481162 w 12192000"/>
              <a:gd name="connsiteY2716" fmla="*/ 5985997 h 6858000"/>
              <a:gd name="connsiteX2717" fmla="*/ 9481162 w 12192000"/>
              <a:gd name="connsiteY2717" fmla="*/ 5972872 h 6858000"/>
              <a:gd name="connsiteX2718" fmla="*/ 9474166 w 12192000"/>
              <a:gd name="connsiteY2718" fmla="*/ 5953431 h 6858000"/>
              <a:gd name="connsiteX2719" fmla="*/ 9454540 w 12192000"/>
              <a:gd name="connsiteY2719" fmla="*/ 5946497 h 6858000"/>
              <a:gd name="connsiteX2720" fmla="*/ 9387865 w 12192000"/>
              <a:gd name="connsiteY2720" fmla="*/ 5946497 h 6858000"/>
              <a:gd name="connsiteX2721" fmla="*/ 9368115 w 12192000"/>
              <a:gd name="connsiteY2721" fmla="*/ 5953926 h 6858000"/>
              <a:gd name="connsiteX2722" fmla="*/ 9361119 w 12192000"/>
              <a:gd name="connsiteY2722" fmla="*/ 5974729 h 6858000"/>
              <a:gd name="connsiteX2723" fmla="*/ 9361119 w 12192000"/>
              <a:gd name="connsiteY2723" fmla="*/ 6031812 h 6858000"/>
              <a:gd name="connsiteX2724" fmla="*/ 9361676 w 12192000"/>
              <a:gd name="connsiteY2724" fmla="*/ 6033794 h 6858000"/>
              <a:gd name="connsiteX2725" fmla="*/ 9363719 w 12192000"/>
              <a:gd name="connsiteY2725" fmla="*/ 6034289 h 6858000"/>
              <a:gd name="connsiteX2726" fmla="*/ 9368301 w 12192000"/>
              <a:gd name="connsiteY2726" fmla="*/ 6034289 h 6858000"/>
              <a:gd name="connsiteX2727" fmla="*/ 9370344 w 12192000"/>
              <a:gd name="connsiteY2727" fmla="*/ 6033794 h 6858000"/>
              <a:gd name="connsiteX2728" fmla="*/ 9370901 w 12192000"/>
              <a:gd name="connsiteY2728" fmla="*/ 6031812 h 6858000"/>
              <a:gd name="connsiteX2729" fmla="*/ 9370901 w 12192000"/>
              <a:gd name="connsiteY2729" fmla="*/ 6007171 h 6858000"/>
              <a:gd name="connsiteX2730" fmla="*/ 9389103 w 12192000"/>
              <a:gd name="connsiteY2730" fmla="*/ 6014848 h 6858000"/>
              <a:gd name="connsiteX2731" fmla="*/ 9414487 w 12192000"/>
              <a:gd name="connsiteY2731" fmla="*/ 5985997 h 6858000"/>
              <a:gd name="connsiteX2732" fmla="*/ 9414487 w 12192000"/>
              <a:gd name="connsiteY2732" fmla="*/ 5972872 h 6858000"/>
              <a:gd name="connsiteX2733" fmla="*/ 9407491 w 12192000"/>
              <a:gd name="connsiteY2733" fmla="*/ 5953431 h 6858000"/>
              <a:gd name="connsiteX2734" fmla="*/ 9387865 w 12192000"/>
              <a:gd name="connsiteY2734" fmla="*/ 5946497 h 6858000"/>
              <a:gd name="connsiteX2735" fmla="*/ 9259335 w 12192000"/>
              <a:gd name="connsiteY2735" fmla="*/ 5946497 h 6858000"/>
              <a:gd name="connsiteX2736" fmla="*/ 9242432 w 12192000"/>
              <a:gd name="connsiteY2736" fmla="*/ 5951512 h 6858000"/>
              <a:gd name="connsiteX2737" fmla="*/ 9236179 w 12192000"/>
              <a:gd name="connsiteY2737" fmla="*/ 5965071 h 6858000"/>
              <a:gd name="connsiteX2738" fmla="*/ 9236179 w 12192000"/>
              <a:gd name="connsiteY2738" fmla="*/ 5965690 h 6858000"/>
              <a:gd name="connsiteX2739" fmla="*/ 9251038 w 12192000"/>
              <a:gd name="connsiteY2739" fmla="*/ 5982530 h 6858000"/>
              <a:gd name="connsiteX2740" fmla="*/ 9262059 w 12192000"/>
              <a:gd name="connsiteY2740" fmla="*/ 5985378 h 6858000"/>
              <a:gd name="connsiteX2741" fmla="*/ 9270788 w 12192000"/>
              <a:gd name="connsiteY2741" fmla="*/ 5989650 h 6858000"/>
              <a:gd name="connsiteX2742" fmla="*/ 9273327 w 12192000"/>
              <a:gd name="connsiteY2742" fmla="*/ 5997017 h 6858000"/>
              <a:gd name="connsiteX2743" fmla="*/ 9259211 w 12192000"/>
              <a:gd name="connsiteY2743" fmla="*/ 6007047 h 6858000"/>
              <a:gd name="connsiteX2744" fmla="*/ 9248624 w 12192000"/>
              <a:gd name="connsiteY2744" fmla="*/ 6004818 h 6858000"/>
              <a:gd name="connsiteX2745" fmla="*/ 9243856 w 12192000"/>
              <a:gd name="connsiteY2745" fmla="*/ 5997637 h 6858000"/>
              <a:gd name="connsiteX2746" fmla="*/ 9243052 w 12192000"/>
              <a:gd name="connsiteY2746" fmla="*/ 5995903 h 6858000"/>
              <a:gd name="connsiteX2747" fmla="*/ 9241008 w 12192000"/>
              <a:gd name="connsiteY2747" fmla="*/ 5995532 h 6858000"/>
              <a:gd name="connsiteX2748" fmla="*/ 9237417 w 12192000"/>
              <a:gd name="connsiteY2748" fmla="*/ 5995532 h 6858000"/>
              <a:gd name="connsiteX2749" fmla="*/ 9235251 w 12192000"/>
              <a:gd name="connsiteY2749" fmla="*/ 5996027 h 6858000"/>
              <a:gd name="connsiteX2750" fmla="*/ 9234693 w 12192000"/>
              <a:gd name="connsiteY2750" fmla="*/ 5997884 h 6858000"/>
              <a:gd name="connsiteX2751" fmla="*/ 9239523 w 12192000"/>
              <a:gd name="connsiteY2751" fmla="*/ 6008781 h 6858000"/>
              <a:gd name="connsiteX2752" fmla="*/ 9259458 w 12192000"/>
              <a:gd name="connsiteY2752" fmla="*/ 6014848 h 6858000"/>
              <a:gd name="connsiteX2753" fmla="*/ 9283109 w 12192000"/>
              <a:gd name="connsiteY2753" fmla="*/ 5996275 h 6858000"/>
              <a:gd name="connsiteX2754" fmla="*/ 9283109 w 12192000"/>
              <a:gd name="connsiteY2754" fmla="*/ 5995655 h 6858000"/>
              <a:gd name="connsiteX2755" fmla="*/ 9268250 w 12192000"/>
              <a:gd name="connsiteY2755" fmla="*/ 5977577 h 6858000"/>
              <a:gd name="connsiteX2756" fmla="*/ 9258096 w 12192000"/>
              <a:gd name="connsiteY2756" fmla="*/ 5974977 h 6858000"/>
              <a:gd name="connsiteX2757" fmla="*/ 9248190 w 12192000"/>
              <a:gd name="connsiteY2757" fmla="*/ 5970890 h 6858000"/>
              <a:gd name="connsiteX2758" fmla="*/ 9245466 w 12192000"/>
              <a:gd name="connsiteY2758" fmla="*/ 5964575 h 6858000"/>
              <a:gd name="connsiteX2759" fmla="*/ 9248933 w 12192000"/>
              <a:gd name="connsiteY2759" fmla="*/ 5956898 h 6858000"/>
              <a:gd name="connsiteX2760" fmla="*/ 9258468 w 12192000"/>
              <a:gd name="connsiteY2760" fmla="*/ 5954174 h 6858000"/>
              <a:gd name="connsiteX2761" fmla="*/ 9273451 w 12192000"/>
              <a:gd name="connsiteY2761" fmla="*/ 5963461 h 6858000"/>
              <a:gd name="connsiteX2762" fmla="*/ 9274193 w 12192000"/>
              <a:gd name="connsiteY2762" fmla="*/ 5965133 h 6858000"/>
              <a:gd name="connsiteX2763" fmla="*/ 9276299 w 12192000"/>
              <a:gd name="connsiteY2763" fmla="*/ 5965566 h 6858000"/>
              <a:gd name="connsiteX2764" fmla="*/ 9279889 w 12192000"/>
              <a:gd name="connsiteY2764" fmla="*/ 5965566 h 6858000"/>
              <a:gd name="connsiteX2765" fmla="*/ 9282056 w 12192000"/>
              <a:gd name="connsiteY2765" fmla="*/ 5965071 h 6858000"/>
              <a:gd name="connsiteX2766" fmla="*/ 9282614 w 12192000"/>
              <a:gd name="connsiteY2766" fmla="*/ 5963213 h 6858000"/>
              <a:gd name="connsiteX2767" fmla="*/ 9278156 w 12192000"/>
              <a:gd name="connsiteY2767" fmla="*/ 5952688 h 6858000"/>
              <a:gd name="connsiteX2768" fmla="*/ 9259335 w 12192000"/>
              <a:gd name="connsiteY2768" fmla="*/ 5946497 h 6858000"/>
              <a:gd name="connsiteX2769" fmla="*/ 9607292 w 12192000"/>
              <a:gd name="connsiteY2769" fmla="*/ 5930028 h 6858000"/>
              <a:gd name="connsiteX2770" fmla="*/ 9605249 w 12192000"/>
              <a:gd name="connsiteY2770" fmla="*/ 5930523 h 6858000"/>
              <a:gd name="connsiteX2771" fmla="*/ 9604692 w 12192000"/>
              <a:gd name="connsiteY2771" fmla="*/ 5932505 h 6858000"/>
              <a:gd name="connsiteX2772" fmla="*/ 9604692 w 12192000"/>
              <a:gd name="connsiteY2772" fmla="*/ 5948230 h 6858000"/>
              <a:gd name="connsiteX2773" fmla="*/ 9596643 w 12192000"/>
              <a:gd name="connsiteY2773" fmla="*/ 5948230 h 6858000"/>
              <a:gd name="connsiteX2774" fmla="*/ 9594972 w 12192000"/>
              <a:gd name="connsiteY2774" fmla="*/ 5948726 h 6858000"/>
              <a:gd name="connsiteX2775" fmla="*/ 9594538 w 12192000"/>
              <a:gd name="connsiteY2775" fmla="*/ 5950707 h 6858000"/>
              <a:gd name="connsiteX2776" fmla="*/ 9594538 w 12192000"/>
              <a:gd name="connsiteY2776" fmla="*/ 5953926 h 6858000"/>
              <a:gd name="connsiteX2777" fmla="*/ 9594972 w 12192000"/>
              <a:gd name="connsiteY2777" fmla="*/ 5955908 h 6858000"/>
              <a:gd name="connsiteX2778" fmla="*/ 9596643 w 12192000"/>
              <a:gd name="connsiteY2778" fmla="*/ 5956403 h 6858000"/>
              <a:gd name="connsiteX2779" fmla="*/ 9604692 w 12192000"/>
              <a:gd name="connsiteY2779" fmla="*/ 5956403 h 6858000"/>
              <a:gd name="connsiteX2780" fmla="*/ 9604692 w 12192000"/>
              <a:gd name="connsiteY2780" fmla="*/ 5996646 h 6858000"/>
              <a:gd name="connsiteX2781" fmla="*/ 9608592 w 12192000"/>
              <a:gd name="connsiteY2781" fmla="*/ 6009152 h 6858000"/>
              <a:gd name="connsiteX2782" fmla="*/ 9620789 w 12192000"/>
              <a:gd name="connsiteY2782" fmla="*/ 6013115 h 6858000"/>
              <a:gd name="connsiteX2783" fmla="*/ 9627476 w 12192000"/>
              <a:gd name="connsiteY2783" fmla="*/ 6013115 h 6858000"/>
              <a:gd name="connsiteX2784" fmla="*/ 9629209 w 12192000"/>
              <a:gd name="connsiteY2784" fmla="*/ 6012619 h 6858000"/>
              <a:gd name="connsiteX2785" fmla="*/ 9629581 w 12192000"/>
              <a:gd name="connsiteY2785" fmla="*/ 6010638 h 6858000"/>
              <a:gd name="connsiteX2786" fmla="*/ 9629581 w 12192000"/>
              <a:gd name="connsiteY2786" fmla="*/ 6006924 h 6858000"/>
              <a:gd name="connsiteX2787" fmla="*/ 9629209 w 12192000"/>
              <a:gd name="connsiteY2787" fmla="*/ 6004942 h 6858000"/>
              <a:gd name="connsiteX2788" fmla="*/ 9627476 w 12192000"/>
              <a:gd name="connsiteY2788" fmla="*/ 6004447 h 6858000"/>
              <a:gd name="connsiteX2789" fmla="*/ 9621656 w 12192000"/>
              <a:gd name="connsiteY2789" fmla="*/ 6004447 h 6858000"/>
              <a:gd name="connsiteX2790" fmla="*/ 9616146 w 12192000"/>
              <a:gd name="connsiteY2790" fmla="*/ 6002218 h 6858000"/>
              <a:gd name="connsiteX2791" fmla="*/ 9614474 w 12192000"/>
              <a:gd name="connsiteY2791" fmla="*/ 5995036 h 6858000"/>
              <a:gd name="connsiteX2792" fmla="*/ 9614474 w 12192000"/>
              <a:gd name="connsiteY2792" fmla="*/ 5956403 h 6858000"/>
              <a:gd name="connsiteX2793" fmla="*/ 9627228 w 12192000"/>
              <a:gd name="connsiteY2793" fmla="*/ 5956403 h 6858000"/>
              <a:gd name="connsiteX2794" fmla="*/ 9628962 w 12192000"/>
              <a:gd name="connsiteY2794" fmla="*/ 5955908 h 6858000"/>
              <a:gd name="connsiteX2795" fmla="*/ 9629333 w 12192000"/>
              <a:gd name="connsiteY2795" fmla="*/ 5953926 h 6858000"/>
              <a:gd name="connsiteX2796" fmla="*/ 9629333 w 12192000"/>
              <a:gd name="connsiteY2796" fmla="*/ 5950707 h 6858000"/>
              <a:gd name="connsiteX2797" fmla="*/ 9628962 w 12192000"/>
              <a:gd name="connsiteY2797" fmla="*/ 5948726 h 6858000"/>
              <a:gd name="connsiteX2798" fmla="*/ 9627228 w 12192000"/>
              <a:gd name="connsiteY2798" fmla="*/ 5948230 h 6858000"/>
              <a:gd name="connsiteX2799" fmla="*/ 9614474 w 12192000"/>
              <a:gd name="connsiteY2799" fmla="*/ 5948230 h 6858000"/>
              <a:gd name="connsiteX2800" fmla="*/ 9614474 w 12192000"/>
              <a:gd name="connsiteY2800" fmla="*/ 5932505 h 6858000"/>
              <a:gd name="connsiteX2801" fmla="*/ 9613917 w 12192000"/>
              <a:gd name="connsiteY2801" fmla="*/ 5930523 h 6858000"/>
              <a:gd name="connsiteX2802" fmla="*/ 9611874 w 12192000"/>
              <a:gd name="connsiteY2802" fmla="*/ 5930028 h 6858000"/>
              <a:gd name="connsiteX2803" fmla="*/ 9102467 w 12192000"/>
              <a:gd name="connsiteY2803" fmla="*/ 5930028 h 6858000"/>
              <a:gd name="connsiteX2804" fmla="*/ 9100424 w 12192000"/>
              <a:gd name="connsiteY2804" fmla="*/ 5930523 h 6858000"/>
              <a:gd name="connsiteX2805" fmla="*/ 9099867 w 12192000"/>
              <a:gd name="connsiteY2805" fmla="*/ 5932505 h 6858000"/>
              <a:gd name="connsiteX2806" fmla="*/ 9099867 w 12192000"/>
              <a:gd name="connsiteY2806" fmla="*/ 5948230 h 6858000"/>
              <a:gd name="connsiteX2807" fmla="*/ 9091818 w 12192000"/>
              <a:gd name="connsiteY2807" fmla="*/ 5948230 h 6858000"/>
              <a:gd name="connsiteX2808" fmla="*/ 9090147 w 12192000"/>
              <a:gd name="connsiteY2808" fmla="*/ 5948726 h 6858000"/>
              <a:gd name="connsiteX2809" fmla="*/ 9089713 w 12192000"/>
              <a:gd name="connsiteY2809" fmla="*/ 5950707 h 6858000"/>
              <a:gd name="connsiteX2810" fmla="*/ 9089713 w 12192000"/>
              <a:gd name="connsiteY2810" fmla="*/ 5953926 h 6858000"/>
              <a:gd name="connsiteX2811" fmla="*/ 9090147 w 12192000"/>
              <a:gd name="connsiteY2811" fmla="*/ 5955908 h 6858000"/>
              <a:gd name="connsiteX2812" fmla="*/ 9091818 w 12192000"/>
              <a:gd name="connsiteY2812" fmla="*/ 5956403 h 6858000"/>
              <a:gd name="connsiteX2813" fmla="*/ 9099867 w 12192000"/>
              <a:gd name="connsiteY2813" fmla="*/ 5956403 h 6858000"/>
              <a:gd name="connsiteX2814" fmla="*/ 9099867 w 12192000"/>
              <a:gd name="connsiteY2814" fmla="*/ 5996646 h 6858000"/>
              <a:gd name="connsiteX2815" fmla="*/ 9103767 w 12192000"/>
              <a:gd name="connsiteY2815" fmla="*/ 6009152 h 6858000"/>
              <a:gd name="connsiteX2816" fmla="*/ 9115964 w 12192000"/>
              <a:gd name="connsiteY2816" fmla="*/ 6013115 h 6858000"/>
              <a:gd name="connsiteX2817" fmla="*/ 9122651 w 12192000"/>
              <a:gd name="connsiteY2817" fmla="*/ 6013115 h 6858000"/>
              <a:gd name="connsiteX2818" fmla="*/ 9124384 w 12192000"/>
              <a:gd name="connsiteY2818" fmla="*/ 6012619 h 6858000"/>
              <a:gd name="connsiteX2819" fmla="*/ 9124756 w 12192000"/>
              <a:gd name="connsiteY2819" fmla="*/ 6010638 h 6858000"/>
              <a:gd name="connsiteX2820" fmla="*/ 9124756 w 12192000"/>
              <a:gd name="connsiteY2820" fmla="*/ 6006924 h 6858000"/>
              <a:gd name="connsiteX2821" fmla="*/ 9124384 w 12192000"/>
              <a:gd name="connsiteY2821" fmla="*/ 6004942 h 6858000"/>
              <a:gd name="connsiteX2822" fmla="*/ 9122651 w 12192000"/>
              <a:gd name="connsiteY2822" fmla="*/ 6004447 h 6858000"/>
              <a:gd name="connsiteX2823" fmla="*/ 9116831 w 12192000"/>
              <a:gd name="connsiteY2823" fmla="*/ 6004447 h 6858000"/>
              <a:gd name="connsiteX2824" fmla="*/ 9111321 w 12192000"/>
              <a:gd name="connsiteY2824" fmla="*/ 6002218 h 6858000"/>
              <a:gd name="connsiteX2825" fmla="*/ 9109649 w 12192000"/>
              <a:gd name="connsiteY2825" fmla="*/ 5995036 h 6858000"/>
              <a:gd name="connsiteX2826" fmla="*/ 9109649 w 12192000"/>
              <a:gd name="connsiteY2826" fmla="*/ 5956403 h 6858000"/>
              <a:gd name="connsiteX2827" fmla="*/ 9122403 w 12192000"/>
              <a:gd name="connsiteY2827" fmla="*/ 5956403 h 6858000"/>
              <a:gd name="connsiteX2828" fmla="*/ 9124137 w 12192000"/>
              <a:gd name="connsiteY2828" fmla="*/ 5955908 h 6858000"/>
              <a:gd name="connsiteX2829" fmla="*/ 9124508 w 12192000"/>
              <a:gd name="connsiteY2829" fmla="*/ 5953926 h 6858000"/>
              <a:gd name="connsiteX2830" fmla="*/ 9124508 w 12192000"/>
              <a:gd name="connsiteY2830" fmla="*/ 5950707 h 6858000"/>
              <a:gd name="connsiteX2831" fmla="*/ 9124137 w 12192000"/>
              <a:gd name="connsiteY2831" fmla="*/ 5948726 h 6858000"/>
              <a:gd name="connsiteX2832" fmla="*/ 9122403 w 12192000"/>
              <a:gd name="connsiteY2832" fmla="*/ 5948230 h 6858000"/>
              <a:gd name="connsiteX2833" fmla="*/ 9109649 w 12192000"/>
              <a:gd name="connsiteY2833" fmla="*/ 5948230 h 6858000"/>
              <a:gd name="connsiteX2834" fmla="*/ 9109649 w 12192000"/>
              <a:gd name="connsiteY2834" fmla="*/ 5932505 h 6858000"/>
              <a:gd name="connsiteX2835" fmla="*/ 9109092 w 12192000"/>
              <a:gd name="connsiteY2835" fmla="*/ 5930523 h 6858000"/>
              <a:gd name="connsiteX2836" fmla="*/ 9107049 w 12192000"/>
              <a:gd name="connsiteY2836" fmla="*/ 5930028 h 6858000"/>
              <a:gd name="connsiteX2837" fmla="*/ 9700580 w 12192000"/>
              <a:gd name="connsiteY2837" fmla="*/ 5924951 h 6858000"/>
              <a:gd name="connsiteX2838" fmla="*/ 9686526 w 12192000"/>
              <a:gd name="connsiteY2838" fmla="*/ 5929595 h 6858000"/>
              <a:gd name="connsiteX2839" fmla="*/ 9681511 w 12192000"/>
              <a:gd name="connsiteY2839" fmla="*/ 5942658 h 6858000"/>
              <a:gd name="connsiteX2840" fmla="*/ 9681511 w 12192000"/>
              <a:gd name="connsiteY2840" fmla="*/ 5948230 h 6858000"/>
              <a:gd name="connsiteX2841" fmla="*/ 9673586 w 12192000"/>
              <a:gd name="connsiteY2841" fmla="*/ 5948230 h 6858000"/>
              <a:gd name="connsiteX2842" fmla="*/ 9671915 w 12192000"/>
              <a:gd name="connsiteY2842" fmla="*/ 5948726 h 6858000"/>
              <a:gd name="connsiteX2843" fmla="*/ 9671481 w 12192000"/>
              <a:gd name="connsiteY2843" fmla="*/ 5950707 h 6858000"/>
              <a:gd name="connsiteX2844" fmla="*/ 9671481 w 12192000"/>
              <a:gd name="connsiteY2844" fmla="*/ 5953926 h 6858000"/>
              <a:gd name="connsiteX2845" fmla="*/ 9671915 w 12192000"/>
              <a:gd name="connsiteY2845" fmla="*/ 5955908 h 6858000"/>
              <a:gd name="connsiteX2846" fmla="*/ 9673586 w 12192000"/>
              <a:gd name="connsiteY2846" fmla="*/ 5956403 h 6858000"/>
              <a:gd name="connsiteX2847" fmla="*/ 9681511 w 12192000"/>
              <a:gd name="connsiteY2847" fmla="*/ 5956403 h 6858000"/>
              <a:gd name="connsiteX2848" fmla="*/ 9681511 w 12192000"/>
              <a:gd name="connsiteY2848" fmla="*/ 6010638 h 6858000"/>
              <a:gd name="connsiteX2849" fmla="*/ 9682068 w 12192000"/>
              <a:gd name="connsiteY2849" fmla="*/ 6012619 h 6858000"/>
              <a:gd name="connsiteX2850" fmla="*/ 9684111 w 12192000"/>
              <a:gd name="connsiteY2850" fmla="*/ 6013115 h 6858000"/>
              <a:gd name="connsiteX2851" fmla="*/ 9688693 w 12192000"/>
              <a:gd name="connsiteY2851" fmla="*/ 6013115 h 6858000"/>
              <a:gd name="connsiteX2852" fmla="*/ 9690736 w 12192000"/>
              <a:gd name="connsiteY2852" fmla="*/ 6012619 h 6858000"/>
              <a:gd name="connsiteX2853" fmla="*/ 9691293 w 12192000"/>
              <a:gd name="connsiteY2853" fmla="*/ 6010638 h 6858000"/>
              <a:gd name="connsiteX2854" fmla="*/ 9691293 w 12192000"/>
              <a:gd name="connsiteY2854" fmla="*/ 5956403 h 6858000"/>
              <a:gd name="connsiteX2855" fmla="*/ 9702561 w 12192000"/>
              <a:gd name="connsiteY2855" fmla="*/ 5956403 h 6858000"/>
              <a:gd name="connsiteX2856" fmla="*/ 9704295 w 12192000"/>
              <a:gd name="connsiteY2856" fmla="*/ 5955908 h 6858000"/>
              <a:gd name="connsiteX2857" fmla="*/ 9704666 w 12192000"/>
              <a:gd name="connsiteY2857" fmla="*/ 5953926 h 6858000"/>
              <a:gd name="connsiteX2858" fmla="*/ 9704666 w 12192000"/>
              <a:gd name="connsiteY2858" fmla="*/ 5950707 h 6858000"/>
              <a:gd name="connsiteX2859" fmla="*/ 9704295 w 12192000"/>
              <a:gd name="connsiteY2859" fmla="*/ 5948726 h 6858000"/>
              <a:gd name="connsiteX2860" fmla="*/ 9702561 w 12192000"/>
              <a:gd name="connsiteY2860" fmla="*/ 5948230 h 6858000"/>
              <a:gd name="connsiteX2861" fmla="*/ 9691293 w 12192000"/>
              <a:gd name="connsiteY2861" fmla="*/ 5948230 h 6858000"/>
              <a:gd name="connsiteX2862" fmla="*/ 9691293 w 12192000"/>
              <a:gd name="connsiteY2862" fmla="*/ 5943154 h 6858000"/>
              <a:gd name="connsiteX2863" fmla="*/ 9693584 w 12192000"/>
              <a:gd name="connsiteY2863" fmla="*/ 5935476 h 6858000"/>
              <a:gd name="connsiteX2864" fmla="*/ 9701447 w 12192000"/>
              <a:gd name="connsiteY2864" fmla="*/ 5933248 h 6858000"/>
              <a:gd name="connsiteX2865" fmla="*/ 9705038 w 12192000"/>
              <a:gd name="connsiteY2865" fmla="*/ 5933248 h 6858000"/>
              <a:gd name="connsiteX2866" fmla="*/ 9706771 w 12192000"/>
              <a:gd name="connsiteY2866" fmla="*/ 5932752 h 6858000"/>
              <a:gd name="connsiteX2867" fmla="*/ 9707143 w 12192000"/>
              <a:gd name="connsiteY2867" fmla="*/ 5930771 h 6858000"/>
              <a:gd name="connsiteX2868" fmla="*/ 9707143 w 12192000"/>
              <a:gd name="connsiteY2868" fmla="*/ 5927428 h 6858000"/>
              <a:gd name="connsiteX2869" fmla="*/ 9706771 w 12192000"/>
              <a:gd name="connsiteY2869" fmla="*/ 5925447 h 6858000"/>
              <a:gd name="connsiteX2870" fmla="*/ 9705038 w 12192000"/>
              <a:gd name="connsiteY2870" fmla="*/ 5924951 h 6858000"/>
              <a:gd name="connsiteX2871" fmla="*/ 9136357 w 12192000"/>
              <a:gd name="connsiteY2871" fmla="*/ 5924951 h 6858000"/>
              <a:gd name="connsiteX2872" fmla="*/ 9134314 w 12192000"/>
              <a:gd name="connsiteY2872" fmla="*/ 5925447 h 6858000"/>
              <a:gd name="connsiteX2873" fmla="*/ 9133757 w 12192000"/>
              <a:gd name="connsiteY2873" fmla="*/ 5927428 h 6858000"/>
              <a:gd name="connsiteX2874" fmla="*/ 9133757 w 12192000"/>
              <a:gd name="connsiteY2874" fmla="*/ 6010638 h 6858000"/>
              <a:gd name="connsiteX2875" fmla="*/ 9134314 w 12192000"/>
              <a:gd name="connsiteY2875" fmla="*/ 6012619 h 6858000"/>
              <a:gd name="connsiteX2876" fmla="*/ 9136357 w 12192000"/>
              <a:gd name="connsiteY2876" fmla="*/ 6013115 h 6858000"/>
              <a:gd name="connsiteX2877" fmla="*/ 9140939 w 12192000"/>
              <a:gd name="connsiteY2877" fmla="*/ 6013115 h 6858000"/>
              <a:gd name="connsiteX2878" fmla="*/ 9142982 w 12192000"/>
              <a:gd name="connsiteY2878" fmla="*/ 6012619 h 6858000"/>
              <a:gd name="connsiteX2879" fmla="*/ 9143539 w 12192000"/>
              <a:gd name="connsiteY2879" fmla="*/ 6010638 h 6858000"/>
              <a:gd name="connsiteX2880" fmla="*/ 9143539 w 12192000"/>
              <a:gd name="connsiteY2880" fmla="*/ 5972624 h 6858000"/>
              <a:gd name="connsiteX2881" fmla="*/ 9147997 w 12192000"/>
              <a:gd name="connsiteY2881" fmla="*/ 5959932 h 6858000"/>
              <a:gd name="connsiteX2882" fmla="*/ 9159760 w 12192000"/>
              <a:gd name="connsiteY2882" fmla="*/ 5955165 h 6858000"/>
              <a:gd name="connsiteX2883" fmla="*/ 9170471 w 12192000"/>
              <a:gd name="connsiteY2883" fmla="*/ 5958817 h 6858000"/>
              <a:gd name="connsiteX2884" fmla="*/ 9173876 w 12192000"/>
              <a:gd name="connsiteY2884" fmla="*/ 5970395 h 6858000"/>
              <a:gd name="connsiteX2885" fmla="*/ 9173876 w 12192000"/>
              <a:gd name="connsiteY2885" fmla="*/ 6010638 h 6858000"/>
              <a:gd name="connsiteX2886" fmla="*/ 9174433 w 12192000"/>
              <a:gd name="connsiteY2886" fmla="*/ 6012619 h 6858000"/>
              <a:gd name="connsiteX2887" fmla="*/ 9176477 w 12192000"/>
              <a:gd name="connsiteY2887" fmla="*/ 6013115 h 6858000"/>
              <a:gd name="connsiteX2888" fmla="*/ 9181058 w 12192000"/>
              <a:gd name="connsiteY2888" fmla="*/ 6013115 h 6858000"/>
              <a:gd name="connsiteX2889" fmla="*/ 9183101 w 12192000"/>
              <a:gd name="connsiteY2889" fmla="*/ 6012619 h 6858000"/>
              <a:gd name="connsiteX2890" fmla="*/ 9183658 w 12192000"/>
              <a:gd name="connsiteY2890" fmla="*/ 6010638 h 6858000"/>
              <a:gd name="connsiteX2891" fmla="*/ 9183658 w 12192000"/>
              <a:gd name="connsiteY2891" fmla="*/ 5968290 h 6858000"/>
              <a:gd name="connsiteX2892" fmla="*/ 9178148 w 12192000"/>
              <a:gd name="connsiteY2892" fmla="*/ 5952069 h 6858000"/>
              <a:gd name="connsiteX2893" fmla="*/ 9162361 w 12192000"/>
              <a:gd name="connsiteY2893" fmla="*/ 5946497 h 6858000"/>
              <a:gd name="connsiteX2894" fmla="*/ 9143539 w 12192000"/>
              <a:gd name="connsiteY2894" fmla="*/ 5954793 h 6858000"/>
              <a:gd name="connsiteX2895" fmla="*/ 9143539 w 12192000"/>
              <a:gd name="connsiteY2895" fmla="*/ 5927428 h 6858000"/>
              <a:gd name="connsiteX2896" fmla="*/ 9142982 w 12192000"/>
              <a:gd name="connsiteY2896" fmla="*/ 5925447 h 6858000"/>
              <a:gd name="connsiteX2897" fmla="*/ 9140939 w 12192000"/>
              <a:gd name="connsiteY2897" fmla="*/ 5924951 h 6858000"/>
              <a:gd name="connsiteX2898" fmla="*/ 8967498 w 12192000"/>
              <a:gd name="connsiteY2898" fmla="*/ 5924951 h 6858000"/>
              <a:gd name="connsiteX2899" fmla="*/ 8965517 w 12192000"/>
              <a:gd name="connsiteY2899" fmla="*/ 5926437 h 6858000"/>
              <a:gd name="connsiteX2900" fmla="*/ 8965579 w 12192000"/>
              <a:gd name="connsiteY2900" fmla="*/ 5926933 h 6858000"/>
              <a:gd name="connsiteX2901" fmla="*/ 8965765 w 12192000"/>
              <a:gd name="connsiteY2901" fmla="*/ 5927799 h 6858000"/>
              <a:gd name="connsiteX2902" fmla="*/ 8983348 w 12192000"/>
              <a:gd name="connsiteY2902" fmla="*/ 6010391 h 6858000"/>
              <a:gd name="connsiteX2903" fmla="*/ 8986567 w 12192000"/>
              <a:gd name="connsiteY2903" fmla="*/ 6013115 h 6858000"/>
              <a:gd name="connsiteX2904" fmla="*/ 8993873 w 12192000"/>
              <a:gd name="connsiteY2904" fmla="*/ 6013115 h 6858000"/>
              <a:gd name="connsiteX2905" fmla="*/ 8995978 w 12192000"/>
              <a:gd name="connsiteY2905" fmla="*/ 6012558 h 6858000"/>
              <a:gd name="connsiteX2906" fmla="*/ 8997092 w 12192000"/>
              <a:gd name="connsiteY2906" fmla="*/ 6010391 h 6858000"/>
              <a:gd name="connsiteX2907" fmla="*/ 9011084 w 12192000"/>
              <a:gd name="connsiteY2907" fmla="*/ 5945135 h 6858000"/>
              <a:gd name="connsiteX2908" fmla="*/ 9024581 w 12192000"/>
              <a:gd name="connsiteY2908" fmla="*/ 6010391 h 6858000"/>
              <a:gd name="connsiteX2909" fmla="*/ 9027801 w 12192000"/>
              <a:gd name="connsiteY2909" fmla="*/ 6013115 h 6858000"/>
              <a:gd name="connsiteX2910" fmla="*/ 9035107 w 12192000"/>
              <a:gd name="connsiteY2910" fmla="*/ 6013115 h 6858000"/>
              <a:gd name="connsiteX2911" fmla="*/ 9037212 w 12192000"/>
              <a:gd name="connsiteY2911" fmla="*/ 6012558 h 6858000"/>
              <a:gd name="connsiteX2912" fmla="*/ 9038326 w 12192000"/>
              <a:gd name="connsiteY2912" fmla="*/ 6010391 h 6858000"/>
              <a:gd name="connsiteX2913" fmla="*/ 9056900 w 12192000"/>
              <a:gd name="connsiteY2913" fmla="*/ 5927799 h 6858000"/>
              <a:gd name="connsiteX2914" fmla="*/ 9057085 w 12192000"/>
              <a:gd name="connsiteY2914" fmla="*/ 5926933 h 6858000"/>
              <a:gd name="connsiteX2915" fmla="*/ 9057147 w 12192000"/>
              <a:gd name="connsiteY2915" fmla="*/ 5926437 h 6858000"/>
              <a:gd name="connsiteX2916" fmla="*/ 9055166 w 12192000"/>
              <a:gd name="connsiteY2916" fmla="*/ 5924951 h 6858000"/>
              <a:gd name="connsiteX2917" fmla="*/ 9050337 w 12192000"/>
              <a:gd name="connsiteY2917" fmla="*/ 5924951 h 6858000"/>
              <a:gd name="connsiteX2918" fmla="*/ 9048108 w 12192000"/>
              <a:gd name="connsiteY2918" fmla="*/ 5925385 h 6858000"/>
              <a:gd name="connsiteX2919" fmla="*/ 9047241 w 12192000"/>
              <a:gd name="connsiteY2919" fmla="*/ 5927180 h 6858000"/>
              <a:gd name="connsiteX2920" fmla="*/ 9031516 w 12192000"/>
              <a:gd name="connsiteY2920" fmla="*/ 6000856 h 6858000"/>
              <a:gd name="connsiteX2921" fmla="*/ 9017400 w 12192000"/>
              <a:gd name="connsiteY2921" fmla="*/ 5930771 h 6858000"/>
              <a:gd name="connsiteX2922" fmla="*/ 9014180 w 12192000"/>
              <a:gd name="connsiteY2922" fmla="*/ 5928047 h 6858000"/>
              <a:gd name="connsiteX2923" fmla="*/ 9008979 w 12192000"/>
              <a:gd name="connsiteY2923" fmla="*/ 5928047 h 6858000"/>
              <a:gd name="connsiteX2924" fmla="*/ 9006874 w 12192000"/>
              <a:gd name="connsiteY2924" fmla="*/ 5928604 h 6858000"/>
              <a:gd name="connsiteX2925" fmla="*/ 9005760 w 12192000"/>
              <a:gd name="connsiteY2925" fmla="*/ 5930771 h 6858000"/>
              <a:gd name="connsiteX2926" fmla="*/ 8990653 w 12192000"/>
              <a:gd name="connsiteY2926" fmla="*/ 6000608 h 6858000"/>
              <a:gd name="connsiteX2927" fmla="*/ 8975547 w 12192000"/>
              <a:gd name="connsiteY2927" fmla="*/ 5927180 h 6858000"/>
              <a:gd name="connsiteX2928" fmla="*/ 8974680 w 12192000"/>
              <a:gd name="connsiteY2928" fmla="*/ 5925385 h 6858000"/>
              <a:gd name="connsiteX2929" fmla="*/ 8972451 w 12192000"/>
              <a:gd name="connsiteY2929" fmla="*/ 5924951 h 6858000"/>
              <a:gd name="connsiteX2930" fmla="*/ 9072035 w 12192000"/>
              <a:gd name="connsiteY2930" fmla="*/ 5923713 h 6858000"/>
              <a:gd name="connsiteX2931" fmla="*/ 9067515 w 12192000"/>
              <a:gd name="connsiteY2931" fmla="*/ 5925199 h 6858000"/>
              <a:gd name="connsiteX2932" fmla="*/ 9065844 w 12192000"/>
              <a:gd name="connsiteY2932" fmla="*/ 5929161 h 6858000"/>
              <a:gd name="connsiteX2933" fmla="*/ 9065844 w 12192000"/>
              <a:gd name="connsiteY2933" fmla="*/ 5931143 h 6858000"/>
              <a:gd name="connsiteX2934" fmla="*/ 9067515 w 12192000"/>
              <a:gd name="connsiteY2934" fmla="*/ 5935229 h 6858000"/>
              <a:gd name="connsiteX2935" fmla="*/ 9072035 w 12192000"/>
              <a:gd name="connsiteY2935" fmla="*/ 5936715 h 6858000"/>
              <a:gd name="connsiteX2936" fmla="*/ 9076740 w 12192000"/>
              <a:gd name="connsiteY2936" fmla="*/ 5935229 h 6858000"/>
              <a:gd name="connsiteX2937" fmla="*/ 9078474 w 12192000"/>
              <a:gd name="connsiteY2937" fmla="*/ 5931143 h 6858000"/>
              <a:gd name="connsiteX2938" fmla="*/ 9078474 w 12192000"/>
              <a:gd name="connsiteY2938" fmla="*/ 5929161 h 6858000"/>
              <a:gd name="connsiteX2939" fmla="*/ 9076740 w 12192000"/>
              <a:gd name="connsiteY2939" fmla="*/ 5925199 h 6858000"/>
              <a:gd name="connsiteX2940" fmla="*/ 9072035 w 12192000"/>
              <a:gd name="connsiteY2940" fmla="*/ 5923713 h 6858000"/>
              <a:gd name="connsiteX2941" fmla="*/ 2439953 w 12192000"/>
              <a:gd name="connsiteY2941" fmla="*/ 2150973 h 6858000"/>
              <a:gd name="connsiteX2942" fmla="*/ 2453296 w 12192000"/>
              <a:gd name="connsiteY2942" fmla="*/ 2151293 h 6858000"/>
              <a:gd name="connsiteX2943" fmla="*/ 2470909 w 12192000"/>
              <a:gd name="connsiteY2943" fmla="*/ 2152788 h 6858000"/>
              <a:gd name="connsiteX2944" fmla="*/ 2470909 w 12192000"/>
              <a:gd name="connsiteY2944" fmla="*/ 2166451 h 6858000"/>
              <a:gd name="connsiteX2945" fmla="*/ 2464504 w 12192000"/>
              <a:gd name="connsiteY2945" fmla="*/ 2191109 h 6858000"/>
              <a:gd name="connsiteX2946" fmla="*/ 2443262 w 12192000"/>
              <a:gd name="connsiteY2946" fmla="*/ 2198368 h 6858000"/>
              <a:gd name="connsiteX2947" fmla="*/ 2438138 w 12192000"/>
              <a:gd name="connsiteY2947" fmla="*/ 2198368 h 6858000"/>
              <a:gd name="connsiteX2948" fmla="*/ 2418390 w 12192000"/>
              <a:gd name="connsiteY2948" fmla="*/ 2193244 h 6858000"/>
              <a:gd name="connsiteX2949" fmla="*/ 2411345 w 12192000"/>
              <a:gd name="connsiteY2949" fmla="*/ 2174991 h 6858000"/>
              <a:gd name="connsiteX2950" fmla="*/ 2418497 w 12192000"/>
              <a:gd name="connsiteY2950" fmla="*/ 2156417 h 6858000"/>
              <a:gd name="connsiteX2951" fmla="*/ 2439953 w 12192000"/>
              <a:gd name="connsiteY2951" fmla="*/ 2150973 h 6858000"/>
              <a:gd name="connsiteX2952" fmla="*/ 2284904 w 12192000"/>
              <a:gd name="connsiteY2952" fmla="*/ 2088655 h 6858000"/>
              <a:gd name="connsiteX2953" fmla="*/ 2307057 w 12192000"/>
              <a:gd name="connsiteY2953" fmla="*/ 2097602 h 6858000"/>
              <a:gd name="connsiteX2954" fmla="*/ 2314102 w 12192000"/>
              <a:gd name="connsiteY2954" fmla="*/ 2125675 h 6858000"/>
              <a:gd name="connsiteX2955" fmla="*/ 2253044 w 12192000"/>
              <a:gd name="connsiteY2955" fmla="*/ 2125675 h 6858000"/>
              <a:gd name="connsiteX2956" fmla="*/ 2261050 w 12192000"/>
              <a:gd name="connsiteY2956" fmla="*/ 2097281 h 6858000"/>
              <a:gd name="connsiteX2957" fmla="*/ 2284854 w 12192000"/>
              <a:gd name="connsiteY2957" fmla="*/ 2088635 h 6858000"/>
              <a:gd name="connsiteX2958" fmla="*/ 2284961 w 12192000"/>
              <a:gd name="connsiteY2958" fmla="*/ 2088635 h 6858000"/>
              <a:gd name="connsiteX2959" fmla="*/ 2284904 w 12192000"/>
              <a:gd name="connsiteY2959" fmla="*/ 2088655 h 6858000"/>
              <a:gd name="connsiteX2960" fmla="*/ 2284534 w 12192000"/>
              <a:gd name="connsiteY2960" fmla="*/ 2059494 h 6858000"/>
              <a:gd name="connsiteX2961" fmla="*/ 2234364 w 12192000"/>
              <a:gd name="connsiteY2961" fmla="*/ 2078815 h 6858000"/>
              <a:gd name="connsiteX2962" fmla="*/ 2216751 w 12192000"/>
              <a:gd name="connsiteY2962" fmla="*/ 2133361 h 6858000"/>
              <a:gd name="connsiteX2963" fmla="*/ 2216751 w 12192000"/>
              <a:gd name="connsiteY2963" fmla="*/ 2157058 h 6858000"/>
              <a:gd name="connsiteX2964" fmla="*/ 2234364 w 12192000"/>
              <a:gd name="connsiteY2964" fmla="*/ 2209043 h 6858000"/>
              <a:gd name="connsiteX2965" fmla="*/ 2284213 w 12192000"/>
              <a:gd name="connsiteY2965" fmla="*/ 2227296 h 6858000"/>
              <a:gd name="connsiteX2966" fmla="*/ 2313888 w 12192000"/>
              <a:gd name="connsiteY2966" fmla="*/ 2222599 h 6858000"/>
              <a:gd name="connsiteX2967" fmla="*/ 2335984 w 12192000"/>
              <a:gd name="connsiteY2967" fmla="*/ 2209043 h 6858000"/>
              <a:gd name="connsiteX2968" fmla="*/ 2344951 w 12192000"/>
              <a:gd name="connsiteY2968" fmla="*/ 2196127 h 6858000"/>
              <a:gd name="connsiteX2969" fmla="*/ 2348794 w 12192000"/>
              <a:gd name="connsiteY2969" fmla="*/ 2182570 h 6858000"/>
              <a:gd name="connsiteX2970" fmla="*/ 2346659 w 12192000"/>
              <a:gd name="connsiteY2970" fmla="*/ 2177126 h 6858000"/>
              <a:gd name="connsiteX2971" fmla="*/ 2339400 w 12192000"/>
              <a:gd name="connsiteY2971" fmla="*/ 2175632 h 6858000"/>
              <a:gd name="connsiteX2972" fmla="*/ 2320506 w 12192000"/>
              <a:gd name="connsiteY2972" fmla="*/ 2175632 h 6858000"/>
              <a:gd name="connsiteX2973" fmla="*/ 2312287 w 12192000"/>
              <a:gd name="connsiteY2973" fmla="*/ 2180755 h 6858000"/>
              <a:gd name="connsiteX2974" fmla="*/ 2285281 w 12192000"/>
              <a:gd name="connsiteY2974" fmla="*/ 2196554 h 6858000"/>
              <a:gd name="connsiteX2975" fmla="*/ 2260516 w 12192000"/>
              <a:gd name="connsiteY2975" fmla="*/ 2186947 h 6858000"/>
              <a:gd name="connsiteX2976" fmla="*/ 2253044 w 12192000"/>
              <a:gd name="connsiteY2976" fmla="*/ 2154603 h 6858000"/>
              <a:gd name="connsiteX2977" fmla="*/ 2253044 w 12192000"/>
              <a:gd name="connsiteY2977" fmla="*/ 2153109 h 6858000"/>
              <a:gd name="connsiteX2978" fmla="*/ 2341215 w 12192000"/>
              <a:gd name="connsiteY2978" fmla="*/ 2153109 h 6858000"/>
              <a:gd name="connsiteX2979" fmla="*/ 2341108 w 12192000"/>
              <a:gd name="connsiteY2979" fmla="*/ 2153215 h 6858000"/>
              <a:gd name="connsiteX2980" fmla="*/ 2349007 w 12192000"/>
              <a:gd name="connsiteY2980" fmla="*/ 2151401 h 6858000"/>
              <a:gd name="connsiteX2981" fmla="*/ 2350822 w 12192000"/>
              <a:gd name="connsiteY2981" fmla="*/ 2144356 h 6858000"/>
              <a:gd name="connsiteX2982" fmla="*/ 2350822 w 12192000"/>
              <a:gd name="connsiteY2982" fmla="*/ 2130052 h 6858000"/>
              <a:gd name="connsiteX2983" fmla="*/ 2333956 w 12192000"/>
              <a:gd name="connsiteY2983" fmla="*/ 2077427 h 6858000"/>
              <a:gd name="connsiteX2984" fmla="*/ 2284534 w 12192000"/>
              <a:gd name="connsiteY2984" fmla="*/ 2059494 h 6858000"/>
              <a:gd name="connsiteX2985" fmla="*/ 2444223 w 12192000"/>
              <a:gd name="connsiteY2985" fmla="*/ 2059280 h 6858000"/>
              <a:gd name="connsiteX2986" fmla="*/ 2411666 w 12192000"/>
              <a:gd name="connsiteY2986" fmla="*/ 2063870 h 6858000"/>
              <a:gd name="connsiteX2987" fmla="*/ 2391598 w 12192000"/>
              <a:gd name="connsiteY2987" fmla="*/ 2076679 h 6858000"/>
              <a:gd name="connsiteX2988" fmla="*/ 2382204 w 12192000"/>
              <a:gd name="connsiteY2988" fmla="*/ 2098882 h 6858000"/>
              <a:gd name="connsiteX2989" fmla="*/ 2384019 w 12192000"/>
              <a:gd name="connsiteY2989" fmla="*/ 2103899 h 6858000"/>
              <a:gd name="connsiteX2990" fmla="*/ 2390744 w 12192000"/>
              <a:gd name="connsiteY2990" fmla="*/ 2105607 h 6858000"/>
              <a:gd name="connsiteX2991" fmla="*/ 2410491 w 12192000"/>
              <a:gd name="connsiteY2991" fmla="*/ 2105607 h 6858000"/>
              <a:gd name="connsiteX2992" fmla="*/ 2417216 w 12192000"/>
              <a:gd name="connsiteY2992" fmla="*/ 2104540 h 6858000"/>
              <a:gd name="connsiteX2993" fmla="*/ 2420312 w 12192000"/>
              <a:gd name="connsiteY2993" fmla="*/ 2099843 h 6858000"/>
              <a:gd name="connsiteX2994" fmla="*/ 2428851 w 12192000"/>
              <a:gd name="connsiteY2994" fmla="*/ 2089916 h 6858000"/>
              <a:gd name="connsiteX2995" fmla="*/ 2444329 w 12192000"/>
              <a:gd name="connsiteY2995" fmla="*/ 2087033 h 6858000"/>
              <a:gd name="connsiteX2996" fmla="*/ 2464504 w 12192000"/>
              <a:gd name="connsiteY2996" fmla="*/ 2093545 h 6858000"/>
              <a:gd name="connsiteX2997" fmla="*/ 2471015 w 12192000"/>
              <a:gd name="connsiteY2997" fmla="*/ 2117135 h 6858000"/>
              <a:gd name="connsiteX2998" fmla="*/ 2471015 w 12192000"/>
              <a:gd name="connsiteY2998" fmla="*/ 2125034 h 6858000"/>
              <a:gd name="connsiteX2999" fmla="*/ 2454150 w 12192000"/>
              <a:gd name="connsiteY2999" fmla="*/ 2123647 h 6858000"/>
              <a:gd name="connsiteX3000" fmla="*/ 2438138 w 12192000"/>
              <a:gd name="connsiteY3000" fmla="*/ 2123220 h 6858000"/>
              <a:gd name="connsiteX3001" fmla="*/ 2438031 w 12192000"/>
              <a:gd name="connsiteY3001" fmla="*/ 2123113 h 6858000"/>
              <a:gd name="connsiteX3002" fmla="*/ 2406862 w 12192000"/>
              <a:gd name="connsiteY3002" fmla="*/ 2127810 h 6858000"/>
              <a:gd name="connsiteX3003" fmla="*/ 2384339 w 12192000"/>
              <a:gd name="connsiteY3003" fmla="*/ 2143821 h 6858000"/>
              <a:gd name="connsiteX3004" fmla="*/ 2376013 w 12192000"/>
              <a:gd name="connsiteY3004" fmla="*/ 2175097 h 6858000"/>
              <a:gd name="connsiteX3005" fmla="*/ 2391384 w 12192000"/>
              <a:gd name="connsiteY3005" fmla="*/ 2213846 h 6858000"/>
              <a:gd name="connsiteX3006" fmla="*/ 2438992 w 12192000"/>
              <a:gd name="connsiteY3006" fmla="*/ 2225801 h 6858000"/>
              <a:gd name="connsiteX3007" fmla="*/ 2447532 w 12192000"/>
              <a:gd name="connsiteY3007" fmla="*/ 2225801 h 6858000"/>
              <a:gd name="connsiteX3008" fmla="*/ 2482971 w 12192000"/>
              <a:gd name="connsiteY3008" fmla="*/ 2218542 h 6858000"/>
              <a:gd name="connsiteX3009" fmla="*/ 2500797 w 12192000"/>
              <a:gd name="connsiteY3009" fmla="*/ 2199222 h 6858000"/>
              <a:gd name="connsiteX3010" fmla="*/ 2505921 w 12192000"/>
              <a:gd name="connsiteY3010" fmla="*/ 2173816 h 6858000"/>
              <a:gd name="connsiteX3011" fmla="*/ 2505921 w 12192000"/>
              <a:gd name="connsiteY3011" fmla="*/ 2114573 h 6858000"/>
              <a:gd name="connsiteX3012" fmla="*/ 2500477 w 12192000"/>
              <a:gd name="connsiteY3012" fmla="*/ 2084365 h 6858000"/>
              <a:gd name="connsiteX3013" fmla="*/ 2481583 w 12192000"/>
              <a:gd name="connsiteY3013" fmla="*/ 2065685 h 6858000"/>
              <a:gd name="connsiteX3014" fmla="*/ 2444223 w 12192000"/>
              <a:gd name="connsiteY3014" fmla="*/ 2059280 h 6858000"/>
              <a:gd name="connsiteX3015" fmla="*/ 2636896 w 12192000"/>
              <a:gd name="connsiteY3015" fmla="*/ 2018931 h 6858000"/>
              <a:gd name="connsiteX3016" fmla="*/ 2629104 w 12192000"/>
              <a:gd name="connsiteY3016" fmla="*/ 2020639 h 6858000"/>
              <a:gd name="connsiteX3017" fmla="*/ 2627182 w 12192000"/>
              <a:gd name="connsiteY3017" fmla="*/ 2027791 h 6858000"/>
              <a:gd name="connsiteX3018" fmla="*/ 2627182 w 12192000"/>
              <a:gd name="connsiteY3018" fmla="*/ 2063657 h 6858000"/>
              <a:gd name="connsiteX3019" fmla="*/ 2611064 w 12192000"/>
              <a:gd name="connsiteY3019" fmla="*/ 2063657 h 6858000"/>
              <a:gd name="connsiteX3020" fmla="*/ 2604979 w 12192000"/>
              <a:gd name="connsiteY3020" fmla="*/ 2065365 h 6858000"/>
              <a:gd name="connsiteX3021" fmla="*/ 2603485 w 12192000"/>
              <a:gd name="connsiteY3021" fmla="*/ 2072196 h 6858000"/>
              <a:gd name="connsiteX3022" fmla="*/ 2603485 w 12192000"/>
              <a:gd name="connsiteY3022" fmla="*/ 2085006 h 6858000"/>
              <a:gd name="connsiteX3023" fmla="*/ 2604979 w 12192000"/>
              <a:gd name="connsiteY3023" fmla="*/ 2091837 h 6858000"/>
              <a:gd name="connsiteX3024" fmla="*/ 2611064 w 12192000"/>
              <a:gd name="connsiteY3024" fmla="*/ 2093545 h 6858000"/>
              <a:gd name="connsiteX3025" fmla="*/ 2627182 w 12192000"/>
              <a:gd name="connsiteY3025" fmla="*/ 2093545 h 6858000"/>
              <a:gd name="connsiteX3026" fmla="*/ 2627182 w 12192000"/>
              <a:gd name="connsiteY3026" fmla="*/ 2175311 h 6858000"/>
              <a:gd name="connsiteX3027" fmla="*/ 2637216 w 12192000"/>
              <a:gd name="connsiteY3027" fmla="*/ 2210110 h 6858000"/>
              <a:gd name="connsiteX3028" fmla="*/ 2674043 w 12192000"/>
              <a:gd name="connsiteY3028" fmla="*/ 2223026 h 6858000"/>
              <a:gd name="connsiteX3029" fmla="*/ 2691015 w 12192000"/>
              <a:gd name="connsiteY3029" fmla="*/ 2223026 h 6858000"/>
              <a:gd name="connsiteX3030" fmla="*/ 2691122 w 12192000"/>
              <a:gd name="connsiteY3030" fmla="*/ 2223133 h 6858000"/>
              <a:gd name="connsiteX3031" fmla="*/ 2697313 w 12192000"/>
              <a:gd name="connsiteY3031" fmla="*/ 2221425 h 6858000"/>
              <a:gd name="connsiteX3032" fmla="*/ 2698701 w 12192000"/>
              <a:gd name="connsiteY3032" fmla="*/ 2214593 h 6858000"/>
              <a:gd name="connsiteX3033" fmla="*/ 2698701 w 12192000"/>
              <a:gd name="connsiteY3033" fmla="*/ 2200289 h 6858000"/>
              <a:gd name="connsiteX3034" fmla="*/ 2697206 w 12192000"/>
              <a:gd name="connsiteY3034" fmla="*/ 2193458 h 6858000"/>
              <a:gd name="connsiteX3035" fmla="*/ 2691122 w 12192000"/>
              <a:gd name="connsiteY3035" fmla="*/ 2191750 h 6858000"/>
              <a:gd name="connsiteX3036" fmla="*/ 2680234 w 12192000"/>
              <a:gd name="connsiteY3036" fmla="*/ 2191750 h 6858000"/>
              <a:gd name="connsiteX3037" fmla="*/ 2667318 w 12192000"/>
              <a:gd name="connsiteY3037" fmla="*/ 2186413 h 6858000"/>
              <a:gd name="connsiteX3038" fmla="*/ 2663475 w 12192000"/>
              <a:gd name="connsiteY3038" fmla="*/ 2169867 h 6858000"/>
              <a:gd name="connsiteX3039" fmla="*/ 2663475 w 12192000"/>
              <a:gd name="connsiteY3039" fmla="*/ 2093545 h 6858000"/>
              <a:gd name="connsiteX3040" fmla="*/ 2691122 w 12192000"/>
              <a:gd name="connsiteY3040" fmla="*/ 2093545 h 6858000"/>
              <a:gd name="connsiteX3041" fmla="*/ 2697206 w 12192000"/>
              <a:gd name="connsiteY3041" fmla="*/ 2091837 h 6858000"/>
              <a:gd name="connsiteX3042" fmla="*/ 2698701 w 12192000"/>
              <a:gd name="connsiteY3042" fmla="*/ 2085006 h 6858000"/>
              <a:gd name="connsiteX3043" fmla="*/ 2698701 w 12192000"/>
              <a:gd name="connsiteY3043" fmla="*/ 2072196 h 6858000"/>
              <a:gd name="connsiteX3044" fmla="*/ 2697206 w 12192000"/>
              <a:gd name="connsiteY3044" fmla="*/ 2065365 h 6858000"/>
              <a:gd name="connsiteX3045" fmla="*/ 2691122 w 12192000"/>
              <a:gd name="connsiteY3045" fmla="*/ 2063657 h 6858000"/>
              <a:gd name="connsiteX3046" fmla="*/ 2663475 w 12192000"/>
              <a:gd name="connsiteY3046" fmla="*/ 2063657 h 6858000"/>
              <a:gd name="connsiteX3047" fmla="*/ 2663475 w 12192000"/>
              <a:gd name="connsiteY3047" fmla="*/ 2027791 h 6858000"/>
              <a:gd name="connsiteX3048" fmla="*/ 2661447 w 12192000"/>
              <a:gd name="connsiteY3048" fmla="*/ 2020639 h 6858000"/>
              <a:gd name="connsiteX3049" fmla="*/ 2653655 w 12192000"/>
              <a:gd name="connsiteY3049" fmla="*/ 2018931 h 6858000"/>
              <a:gd name="connsiteX3050" fmla="*/ 2552035 w 12192000"/>
              <a:gd name="connsiteY3050" fmla="*/ 2006549 h 6858000"/>
              <a:gd name="connsiteX3051" fmla="*/ 2544242 w 12192000"/>
              <a:gd name="connsiteY3051" fmla="*/ 2008257 h 6858000"/>
              <a:gd name="connsiteX3052" fmla="*/ 2542321 w 12192000"/>
              <a:gd name="connsiteY3052" fmla="*/ 2015409 h 6858000"/>
              <a:gd name="connsiteX3053" fmla="*/ 2542321 w 12192000"/>
              <a:gd name="connsiteY3053" fmla="*/ 2214166 h 6858000"/>
              <a:gd name="connsiteX3054" fmla="*/ 2544242 w 12192000"/>
              <a:gd name="connsiteY3054" fmla="*/ 2221318 h 6858000"/>
              <a:gd name="connsiteX3055" fmla="*/ 2552035 w 12192000"/>
              <a:gd name="connsiteY3055" fmla="*/ 2223026 h 6858000"/>
              <a:gd name="connsiteX3056" fmla="*/ 2568794 w 12192000"/>
              <a:gd name="connsiteY3056" fmla="*/ 2223026 h 6858000"/>
              <a:gd name="connsiteX3057" fmla="*/ 2576586 w 12192000"/>
              <a:gd name="connsiteY3057" fmla="*/ 2221318 h 6858000"/>
              <a:gd name="connsiteX3058" fmla="*/ 2578614 w 12192000"/>
              <a:gd name="connsiteY3058" fmla="*/ 2214166 h 6858000"/>
              <a:gd name="connsiteX3059" fmla="*/ 2578614 w 12192000"/>
              <a:gd name="connsiteY3059" fmla="*/ 2015409 h 6858000"/>
              <a:gd name="connsiteX3060" fmla="*/ 2576586 w 12192000"/>
              <a:gd name="connsiteY3060" fmla="*/ 2008257 h 6858000"/>
              <a:gd name="connsiteX3061" fmla="*/ 2568794 w 12192000"/>
              <a:gd name="connsiteY3061" fmla="*/ 2006549 h 6858000"/>
              <a:gd name="connsiteX3062" fmla="*/ 2034752 w 12192000"/>
              <a:gd name="connsiteY3062" fmla="*/ 2006549 h 6858000"/>
              <a:gd name="connsiteX3063" fmla="*/ 2026960 w 12192000"/>
              <a:gd name="connsiteY3063" fmla="*/ 2008257 h 6858000"/>
              <a:gd name="connsiteX3064" fmla="*/ 2024932 w 12192000"/>
              <a:gd name="connsiteY3064" fmla="*/ 2015409 h 6858000"/>
              <a:gd name="connsiteX3065" fmla="*/ 2024932 w 12192000"/>
              <a:gd name="connsiteY3065" fmla="*/ 2214166 h 6858000"/>
              <a:gd name="connsiteX3066" fmla="*/ 2026960 w 12192000"/>
              <a:gd name="connsiteY3066" fmla="*/ 2221318 h 6858000"/>
              <a:gd name="connsiteX3067" fmla="*/ 2034752 w 12192000"/>
              <a:gd name="connsiteY3067" fmla="*/ 2223026 h 6858000"/>
              <a:gd name="connsiteX3068" fmla="*/ 2052259 w 12192000"/>
              <a:gd name="connsiteY3068" fmla="*/ 2223026 h 6858000"/>
              <a:gd name="connsiteX3069" fmla="*/ 2060051 w 12192000"/>
              <a:gd name="connsiteY3069" fmla="*/ 2221318 h 6858000"/>
              <a:gd name="connsiteX3070" fmla="*/ 2062079 w 12192000"/>
              <a:gd name="connsiteY3070" fmla="*/ 2214166 h 6858000"/>
              <a:gd name="connsiteX3071" fmla="*/ 2062079 w 12192000"/>
              <a:gd name="connsiteY3071" fmla="*/ 2125996 h 6858000"/>
              <a:gd name="connsiteX3072" fmla="*/ 2144272 w 12192000"/>
              <a:gd name="connsiteY3072" fmla="*/ 2125996 h 6858000"/>
              <a:gd name="connsiteX3073" fmla="*/ 2144272 w 12192000"/>
              <a:gd name="connsiteY3073" fmla="*/ 2214166 h 6858000"/>
              <a:gd name="connsiteX3074" fmla="*/ 2146193 w 12192000"/>
              <a:gd name="connsiteY3074" fmla="*/ 2221318 h 6858000"/>
              <a:gd name="connsiteX3075" fmla="*/ 2153986 w 12192000"/>
              <a:gd name="connsiteY3075" fmla="*/ 2223026 h 6858000"/>
              <a:gd name="connsiteX3076" fmla="*/ 2171598 w 12192000"/>
              <a:gd name="connsiteY3076" fmla="*/ 2223026 h 6858000"/>
              <a:gd name="connsiteX3077" fmla="*/ 2179391 w 12192000"/>
              <a:gd name="connsiteY3077" fmla="*/ 2221318 h 6858000"/>
              <a:gd name="connsiteX3078" fmla="*/ 2181312 w 12192000"/>
              <a:gd name="connsiteY3078" fmla="*/ 2214166 h 6858000"/>
              <a:gd name="connsiteX3079" fmla="*/ 2181312 w 12192000"/>
              <a:gd name="connsiteY3079" fmla="*/ 2015409 h 6858000"/>
              <a:gd name="connsiteX3080" fmla="*/ 2179391 w 12192000"/>
              <a:gd name="connsiteY3080" fmla="*/ 2008257 h 6858000"/>
              <a:gd name="connsiteX3081" fmla="*/ 2171598 w 12192000"/>
              <a:gd name="connsiteY3081" fmla="*/ 2006549 h 6858000"/>
              <a:gd name="connsiteX3082" fmla="*/ 2153986 w 12192000"/>
              <a:gd name="connsiteY3082" fmla="*/ 2006549 h 6858000"/>
              <a:gd name="connsiteX3083" fmla="*/ 2146193 w 12192000"/>
              <a:gd name="connsiteY3083" fmla="*/ 2008257 h 6858000"/>
              <a:gd name="connsiteX3084" fmla="*/ 2144272 w 12192000"/>
              <a:gd name="connsiteY3084" fmla="*/ 2015409 h 6858000"/>
              <a:gd name="connsiteX3085" fmla="*/ 2144272 w 12192000"/>
              <a:gd name="connsiteY3085" fmla="*/ 2093225 h 6858000"/>
              <a:gd name="connsiteX3086" fmla="*/ 2062186 w 12192000"/>
              <a:gd name="connsiteY3086" fmla="*/ 2093225 h 6858000"/>
              <a:gd name="connsiteX3087" fmla="*/ 2062186 w 12192000"/>
              <a:gd name="connsiteY3087" fmla="*/ 2015409 h 6858000"/>
              <a:gd name="connsiteX3088" fmla="*/ 2060158 w 12192000"/>
              <a:gd name="connsiteY3088" fmla="*/ 2008257 h 6858000"/>
              <a:gd name="connsiteX3089" fmla="*/ 2052365 w 12192000"/>
              <a:gd name="connsiteY3089" fmla="*/ 2006549 h 6858000"/>
              <a:gd name="connsiteX3090" fmla="*/ 2737769 w 12192000"/>
              <a:gd name="connsiteY3090" fmla="*/ 2006442 h 6858000"/>
              <a:gd name="connsiteX3091" fmla="*/ 2729976 w 12192000"/>
              <a:gd name="connsiteY3091" fmla="*/ 2008257 h 6858000"/>
              <a:gd name="connsiteX3092" fmla="*/ 2728055 w 12192000"/>
              <a:gd name="connsiteY3092" fmla="*/ 2015302 h 6858000"/>
              <a:gd name="connsiteX3093" fmla="*/ 2728055 w 12192000"/>
              <a:gd name="connsiteY3093" fmla="*/ 2214059 h 6858000"/>
              <a:gd name="connsiteX3094" fmla="*/ 2729976 w 12192000"/>
              <a:gd name="connsiteY3094" fmla="*/ 2221105 h 6858000"/>
              <a:gd name="connsiteX3095" fmla="*/ 2737769 w 12192000"/>
              <a:gd name="connsiteY3095" fmla="*/ 2222919 h 6858000"/>
              <a:gd name="connsiteX3096" fmla="*/ 2754528 w 12192000"/>
              <a:gd name="connsiteY3096" fmla="*/ 2222919 h 6858000"/>
              <a:gd name="connsiteX3097" fmla="*/ 2762427 w 12192000"/>
              <a:gd name="connsiteY3097" fmla="*/ 2221105 h 6858000"/>
              <a:gd name="connsiteX3098" fmla="*/ 2764241 w 12192000"/>
              <a:gd name="connsiteY3098" fmla="*/ 2214059 h 6858000"/>
              <a:gd name="connsiteX3099" fmla="*/ 2764241 w 12192000"/>
              <a:gd name="connsiteY3099" fmla="*/ 2125035 h 6858000"/>
              <a:gd name="connsiteX3100" fmla="*/ 2772461 w 12192000"/>
              <a:gd name="connsiteY3100" fmla="*/ 2099950 h 6858000"/>
              <a:gd name="connsiteX3101" fmla="*/ 2794984 w 12192000"/>
              <a:gd name="connsiteY3101" fmla="*/ 2090983 h 6858000"/>
              <a:gd name="connsiteX3102" fmla="*/ 2815905 w 12192000"/>
              <a:gd name="connsiteY3102" fmla="*/ 2098455 h 6858000"/>
              <a:gd name="connsiteX3103" fmla="*/ 2821670 w 12192000"/>
              <a:gd name="connsiteY3103" fmla="*/ 2119911 h 6858000"/>
              <a:gd name="connsiteX3104" fmla="*/ 2821670 w 12192000"/>
              <a:gd name="connsiteY3104" fmla="*/ 2214166 h 6858000"/>
              <a:gd name="connsiteX3105" fmla="*/ 2823698 w 12192000"/>
              <a:gd name="connsiteY3105" fmla="*/ 2221211 h 6858000"/>
              <a:gd name="connsiteX3106" fmla="*/ 2831490 w 12192000"/>
              <a:gd name="connsiteY3106" fmla="*/ 2223026 h 6858000"/>
              <a:gd name="connsiteX3107" fmla="*/ 2848249 w 12192000"/>
              <a:gd name="connsiteY3107" fmla="*/ 2223026 h 6858000"/>
              <a:gd name="connsiteX3108" fmla="*/ 2856148 w 12192000"/>
              <a:gd name="connsiteY3108" fmla="*/ 2221211 h 6858000"/>
              <a:gd name="connsiteX3109" fmla="*/ 2857963 w 12192000"/>
              <a:gd name="connsiteY3109" fmla="*/ 2214166 h 6858000"/>
              <a:gd name="connsiteX3110" fmla="*/ 2857963 w 12192000"/>
              <a:gd name="connsiteY3110" fmla="*/ 2114467 h 6858000"/>
              <a:gd name="connsiteX3111" fmla="*/ 2845367 w 12192000"/>
              <a:gd name="connsiteY3111" fmla="*/ 2074225 h 6858000"/>
              <a:gd name="connsiteX3112" fmla="*/ 2806939 w 12192000"/>
              <a:gd name="connsiteY3112" fmla="*/ 2059494 h 6858000"/>
              <a:gd name="connsiteX3113" fmla="*/ 2764348 w 12192000"/>
              <a:gd name="connsiteY3113" fmla="*/ 2076466 h 6858000"/>
              <a:gd name="connsiteX3114" fmla="*/ 2764348 w 12192000"/>
              <a:gd name="connsiteY3114" fmla="*/ 2015409 h 6858000"/>
              <a:gd name="connsiteX3115" fmla="*/ 2764241 w 12192000"/>
              <a:gd name="connsiteY3115" fmla="*/ 2015302 h 6858000"/>
              <a:gd name="connsiteX3116" fmla="*/ 2762427 w 12192000"/>
              <a:gd name="connsiteY3116" fmla="*/ 2008257 h 6858000"/>
              <a:gd name="connsiteX3117" fmla="*/ 2754528 w 12192000"/>
              <a:gd name="connsiteY3117" fmla="*/ 2006442 h 6858000"/>
              <a:gd name="connsiteX3118" fmla="*/ 2753034 w 12192000"/>
              <a:gd name="connsiteY3118" fmla="*/ 1859134 h 6858000"/>
              <a:gd name="connsiteX3119" fmla="*/ 2766377 w 12192000"/>
              <a:gd name="connsiteY3119" fmla="*/ 1859455 h 6858000"/>
              <a:gd name="connsiteX3120" fmla="*/ 2783990 w 12192000"/>
              <a:gd name="connsiteY3120" fmla="*/ 1860949 h 6858000"/>
              <a:gd name="connsiteX3121" fmla="*/ 2783990 w 12192000"/>
              <a:gd name="connsiteY3121" fmla="*/ 1874612 h 6858000"/>
              <a:gd name="connsiteX3122" fmla="*/ 2777585 w 12192000"/>
              <a:gd name="connsiteY3122" fmla="*/ 1899270 h 6858000"/>
              <a:gd name="connsiteX3123" fmla="*/ 2756343 w 12192000"/>
              <a:gd name="connsiteY3123" fmla="*/ 1906529 h 6858000"/>
              <a:gd name="connsiteX3124" fmla="*/ 2751219 w 12192000"/>
              <a:gd name="connsiteY3124" fmla="*/ 1906529 h 6858000"/>
              <a:gd name="connsiteX3125" fmla="*/ 2731471 w 12192000"/>
              <a:gd name="connsiteY3125" fmla="*/ 1901405 h 6858000"/>
              <a:gd name="connsiteX3126" fmla="*/ 2724426 w 12192000"/>
              <a:gd name="connsiteY3126" fmla="*/ 1883152 h 6858000"/>
              <a:gd name="connsiteX3127" fmla="*/ 2731578 w 12192000"/>
              <a:gd name="connsiteY3127" fmla="*/ 1864578 h 6858000"/>
              <a:gd name="connsiteX3128" fmla="*/ 2753034 w 12192000"/>
              <a:gd name="connsiteY3128" fmla="*/ 1859134 h 6858000"/>
              <a:gd name="connsiteX3129" fmla="*/ 3573897 w 12192000"/>
              <a:gd name="connsiteY3129" fmla="*/ 1797970 h 6858000"/>
              <a:gd name="connsiteX3130" fmla="*/ 3598768 w 12192000"/>
              <a:gd name="connsiteY3130" fmla="*/ 1807684 h 6858000"/>
              <a:gd name="connsiteX3131" fmla="*/ 3606667 w 12192000"/>
              <a:gd name="connsiteY3131" fmla="*/ 1838106 h 6858000"/>
              <a:gd name="connsiteX3132" fmla="*/ 3606667 w 12192000"/>
              <a:gd name="connsiteY3132" fmla="*/ 1857000 h 6858000"/>
              <a:gd name="connsiteX3133" fmla="*/ 3573790 w 12192000"/>
              <a:gd name="connsiteY3133" fmla="*/ 1898630 h 6858000"/>
              <a:gd name="connsiteX3134" fmla="*/ 3540699 w 12192000"/>
              <a:gd name="connsiteY3134" fmla="*/ 1857000 h 6858000"/>
              <a:gd name="connsiteX3135" fmla="*/ 3540699 w 12192000"/>
              <a:gd name="connsiteY3135" fmla="*/ 1838106 h 6858000"/>
              <a:gd name="connsiteX3136" fmla="*/ 3540806 w 12192000"/>
              <a:gd name="connsiteY3136" fmla="*/ 1838106 h 6858000"/>
              <a:gd name="connsiteX3137" fmla="*/ 3548812 w 12192000"/>
              <a:gd name="connsiteY3137" fmla="*/ 1807684 h 6858000"/>
              <a:gd name="connsiteX3138" fmla="*/ 3573897 w 12192000"/>
              <a:gd name="connsiteY3138" fmla="*/ 1797970 h 6858000"/>
              <a:gd name="connsiteX3139" fmla="*/ 2918807 w 12192000"/>
              <a:gd name="connsiteY3139" fmla="*/ 1797970 h 6858000"/>
              <a:gd name="connsiteX3140" fmla="*/ 2943679 w 12192000"/>
              <a:gd name="connsiteY3140" fmla="*/ 1807684 h 6858000"/>
              <a:gd name="connsiteX3141" fmla="*/ 2951578 w 12192000"/>
              <a:gd name="connsiteY3141" fmla="*/ 1838106 h 6858000"/>
              <a:gd name="connsiteX3142" fmla="*/ 2951578 w 12192000"/>
              <a:gd name="connsiteY3142" fmla="*/ 1857000 h 6858000"/>
              <a:gd name="connsiteX3143" fmla="*/ 2918701 w 12192000"/>
              <a:gd name="connsiteY3143" fmla="*/ 1898630 h 6858000"/>
              <a:gd name="connsiteX3144" fmla="*/ 2885610 w 12192000"/>
              <a:gd name="connsiteY3144" fmla="*/ 1857000 h 6858000"/>
              <a:gd name="connsiteX3145" fmla="*/ 2885610 w 12192000"/>
              <a:gd name="connsiteY3145" fmla="*/ 1838106 h 6858000"/>
              <a:gd name="connsiteX3146" fmla="*/ 2885717 w 12192000"/>
              <a:gd name="connsiteY3146" fmla="*/ 1838106 h 6858000"/>
              <a:gd name="connsiteX3147" fmla="*/ 2893723 w 12192000"/>
              <a:gd name="connsiteY3147" fmla="*/ 1807684 h 6858000"/>
              <a:gd name="connsiteX3148" fmla="*/ 2918807 w 12192000"/>
              <a:gd name="connsiteY3148" fmla="*/ 1797970 h 6858000"/>
              <a:gd name="connsiteX3149" fmla="*/ 2268145 w 12192000"/>
              <a:gd name="connsiteY3149" fmla="*/ 1796816 h 6858000"/>
              <a:gd name="connsiteX3150" fmla="*/ 2290298 w 12192000"/>
              <a:gd name="connsiteY3150" fmla="*/ 1805763 h 6858000"/>
              <a:gd name="connsiteX3151" fmla="*/ 2297343 w 12192000"/>
              <a:gd name="connsiteY3151" fmla="*/ 1833836 h 6858000"/>
              <a:gd name="connsiteX3152" fmla="*/ 2236286 w 12192000"/>
              <a:gd name="connsiteY3152" fmla="*/ 1833836 h 6858000"/>
              <a:gd name="connsiteX3153" fmla="*/ 2244291 w 12192000"/>
              <a:gd name="connsiteY3153" fmla="*/ 1805442 h 6858000"/>
              <a:gd name="connsiteX3154" fmla="*/ 2268095 w 12192000"/>
              <a:gd name="connsiteY3154" fmla="*/ 1796796 h 6858000"/>
              <a:gd name="connsiteX3155" fmla="*/ 2268202 w 12192000"/>
              <a:gd name="connsiteY3155" fmla="*/ 1796796 h 6858000"/>
              <a:gd name="connsiteX3156" fmla="*/ 2268145 w 12192000"/>
              <a:gd name="connsiteY3156" fmla="*/ 1796816 h 6858000"/>
              <a:gd name="connsiteX3157" fmla="*/ 3276827 w 12192000"/>
              <a:gd name="connsiteY3157" fmla="*/ 1771819 h 6858000"/>
              <a:gd name="connsiteX3158" fmla="*/ 3269035 w 12192000"/>
              <a:gd name="connsiteY3158" fmla="*/ 1773527 h 6858000"/>
              <a:gd name="connsiteX3159" fmla="*/ 3267006 w 12192000"/>
              <a:gd name="connsiteY3159" fmla="*/ 1780678 h 6858000"/>
              <a:gd name="connsiteX3160" fmla="*/ 3267006 w 12192000"/>
              <a:gd name="connsiteY3160" fmla="*/ 1922328 h 6858000"/>
              <a:gd name="connsiteX3161" fmla="*/ 3269035 w 12192000"/>
              <a:gd name="connsiteY3161" fmla="*/ 1929480 h 6858000"/>
              <a:gd name="connsiteX3162" fmla="*/ 3276827 w 12192000"/>
              <a:gd name="connsiteY3162" fmla="*/ 1931188 h 6858000"/>
              <a:gd name="connsiteX3163" fmla="*/ 3293586 w 12192000"/>
              <a:gd name="connsiteY3163" fmla="*/ 1931188 h 6858000"/>
              <a:gd name="connsiteX3164" fmla="*/ 3301378 w 12192000"/>
              <a:gd name="connsiteY3164" fmla="*/ 1929480 h 6858000"/>
              <a:gd name="connsiteX3165" fmla="*/ 3303299 w 12192000"/>
              <a:gd name="connsiteY3165" fmla="*/ 1922328 h 6858000"/>
              <a:gd name="connsiteX3166" fmla="*/ 3303299 w 12192000"/>
              <a:gd name="connsiteY3166" fmla="*/ 1780678 h 6858000"/>
              <a:gd name="connsiteX3167" fmla="*/ 3301378 w 12192000"/>
              <a:gd name="connsiteY3167" fmla="*/ 1773527 h 6858000"/>
              <a:gd name="connsiteX3168" fmla="*/ 3293586 w 12192000"/>
              <a:gd name="connsiteY3168" fmla="*/ 1771819 h 6858000"/>
              <a:gd name="connsiteX3169" fmla="*/ 3033237 w 12192000"/>
              <a:gd name="connsiteY3169" fmla="*/ 1771819 h 6858000"/>
              <a:gd name="connsiteX3170" fmla="*/ 3025445 w 12192000"/>
              <a:gd name="connsiteY3170" fmla="*/ 1773527 h 6858000"/>
              <a:gd name="connsiteX3171" fmla="*/ 3023523 w 12192000"/>
              <a:gd name="connsiteY3171" fmla="*/ 1780678 h 6858000"/>
              <a:gd name="connsiteX3172" fmla="*/ 3023523 w 12192000"/>
              <a:gd name="connsiteY3172" fmla="*/ 1922328 h 6858000"/>
              <a:gd name="connsiteX3173" fmla="*/ 3025445 w 12192000"/>
              <a:gd name="connsiteY3173" fmla="*/ 1929480 h 6858000"/>
              <a:gd name="connsiteX3174" fmla="*/ 3033237 w 12192000"/>
              <a:gd name="connsiteY3174" fmla="*/ 1931188 h 6858000"/>
              <a:gd name="connsiteX3175" fmla="*/ 3049996 w 12192000"/>
              <a:gd name="connsiteY3175" fmla="*/ 1931188 h 6858000"/>
              <a:gd name="connsiteX3176" fmla="*/ 3057788 w 12192000"/>
              <a:gd name="connsiteY3176" fmla="*/ 1929480 h 6858000"/>
              <a:gd name="connsiteX3177" fmla="*/ 3059816 w 12192000"/>
              <a:gd name="connsiteY3177" fmla="*/ 1922328 h 6858000"/>
              <a:gd name="connsiteX3178" fmla="*/ 3059816 w 12192000"/>
              <a:gd name="connsiteY3178" fmla="*/ 1780678 h 6858000"/>
              <a:gd name="connsiteX3179" fmla="*/ 3057788 w 12192000"/>
              <a:gd name="connsiteY3179" fmla="*/ 1773527 h 6858000"/>
              <a:gd name="connsiteX3180" fmla="*/ 3049996 w 12192000"/>
              <a:gd name="connsiteY3180" fmla="*/ 1771819 h 6858000"/>
              <a:gd name="connsiteX3181" fmla="*/ 2376761 w 12192000"/>
              <a:gd name="connsiteY3181" fmla="*/ 1771819 h 6858000"/>
              <a:gd name="connsiteX3182" fmla="*/ 2368969 w 12192000"/>
              <a:gd name="connsiteY3182" fmla="*/ 1773527 h 6858000"/>
              <a:gd name="connsiteX3183" fmla="*/ 2366940 w 12192000"/>
              <a:gd name="connsiteY3183" fmla="*/ 1780678 h 6858000"/>
              <a:gd name="connsiteX3184" fmla="*/ 2366940 w 12192000"/>
              <a:gd name="connsiteY3184" fmla="*/ 1922328 h 6858000"/>
              <a:gd name="connsiteX3185" fmla="*/ 2368969 w 12192000"/>
              <a:gd name="connsiteY3185" fmla="*/ 1929480 h 6858000"/>
              <a:gd name="connsiteX3186" fmla="*/ 2376761 w 12192000"/>
              <a:gd name="connsiteY3186" fmla="*/ 1931188 h 6858000"/>
              <a:gd name="connsiteX3187" fmla="*/ 2393520 w 12192000"/>
              <a:gd name="connsiteY3187" fmla="*/ 1931188 h 6858000"/>
              <a:gd name="connsiteX3188" fmla="*/ 2401312 w 12192000"/>
              <a:gd name="connsiteY3188" fmla="*/ 1929480 h 6858000"/>
              <a:gd name="connsiteX3189" fmla="*/ 2403233 w 12192000"/>
              <a:gd name="connsiteY3189" fmla="*/ 1922328 h 6858000"/>
              <a:gd name="connsiteX3190" fmla="*/ 2403233 w 12192000"/>
              <a:gd name="connsiteY3190" fmla="*/ 1780678 h 6858000"/>
              <a:gd name="connsiteX3191" fmla="*/ 2401312 w 12192000"/>
              <a:gd name="connsiteY3191" fmla="*/ 1773527 h 6858000"/>
              <a:gd name="connsiteX3192" fmla="*/ 2393520 w 12192000"/>
              <a:gd name="connsiteY3192" fmla="*/ 1771819 h 6858000"/>
              <a:gd name="connsiteX3193" fmla="*/ 3573683 w 12192000"/>
              <a:gd name="connsiteY3193" fmla="*/ 1767655 h 6858000"/>
              <a:gd name="connsiteX3194" fmla="*/ 3522659 w 12192000"/>
              <a:gd name="connsiteY3194" fmla="*/ 1785908 h 6858000"/>
              <a:gd name="connsiteX3195" fmla="*/ 3504406 w 12192000"/>
              <a:gd name="connsiteY3195" fmla="*/ 1836718 h 6858000"/>
              <a:gd name="connsiteX3196" fmla="*/ 3504406 w 12192000"/>
              <a:gd name="connsiteY3196" fmla="*/ 1861910 h 6858000"/>
              <a:gd name="connsiteX3197" fmla="*/ 3520524 w 12192000"/>
              <a:gd name="connsiteY3197" fmla="*/ 1911866 h 6858000"/>
              <a:gd name="connsiteX3198" fmla="*/ 3567065 w 12192000"/>
              <a:gd name="connsiteY3198" fmla="*/ 1929372 h 6858000"/>
              <a:gd name="connsiteX3199" fmla="*/ 3606026 w 12192000"/>
              <a:gd name="connsiteY3199" fmla="*/ 1915709 h 6858000"/>
              <a:gd name="connsiteX3200" fmla="*/ 3606026 w 12192000"/>
              <a:gd name="connsiteY3200" fmla="*/ 1930867 h 6858000"/>
              <a:gd name="connsiteX3201" fmla="*/ 3598127 w 12192000"/>
              <a:gd name="connsiteY3201" fmla="*/ 1952749 h 6858000"/>
              <a:gd name="connsiteX3202" fmla="*/ 3587453 w 12192000"/>
              <a:gd name="connsiteY3202" fmla="*/ 1958727 h 6858000"/>
              <a:gd name="connsiteX3203" fmla="*/ 3572295 w 12192000"/>
              <a:gd name="connsiteY3203" fmla="*/ 1960969 h 6858000"/>
              <a:gd name="connsiteX3204" fmla="*/ 3557351 w 12192000"/>
              <a:gd name="connsiteY3204" fmla="*/ 1958834 h 6858000"/>
              <a:gd name="connsiteX3205" fmla="*/ 3547958 w 12192000"/>
              <a:gd name="connsiteY3205" fmla="*/ 1950935 h 6858000"/>
              <a:gd name="connsiteX3206" fmla="*/ 3547851 w 12192000"/>
              <a:gd name="connsiteY3206" fmla="*/ 1950935 h 6858000"/>
              <a:gd name="connsiteX3207" fmla="*/ 3543581 w 12192000"/>
              <a:gd name="connsiteY3207" fmla="*/ 1946238 h 6858000"/>
              <a:gd name="connsiteX3208" fmla="*/ 3538457 w 12192000"/>
              <a:gd name="connsiteY3208" fmla="*/ 1945171 h 6858000"/>
              <a:gd name="connsiteX3209" fmla="*/ 3518389 w 12192000"/>
              <a:gd name="connsiteY3209" fmla="*/ 1945171 h 6858000"/>
              <a:gd name="connsiteX3210" fmla="*/ 3510170 w 12192000"/>
              <a:gd name="connsiteY3210" fmla="*/ 1950935 h 6858000"/>
              <a:gd name="connsiteX3211" fmla="*/ 3526609 w 12192000"/>
              <a:gd name="connsiteY3211" fmla="*/ 1977514 h 6858000"/>
              <a:gd name="connsiteX3212" fmla="*/ 3571548 w 12192000"/>
              <a:gd name="connsiteY3212" fmla="*/ 1987441 h 6858000"/>
              <a:gd name="connsiteX3213" fmla="*/ 3625240 w 12192000"/>
              <a:gd name="connsiteY3213" fmla="*/ 1973351 h 6858000"/>
              <a:gd name="connsiteX3214" fmla="*/ 3642106 w 12192000"/>
              <a:gd name="connsiteY3214" fmla="*/ 1928198 h 6858000"/>
              <a:gd name="connsiteX3215" fmla="*/ 3642106 w 12192000"/>
              <a:gd name="connsiteY3215" fmla="*/ 1830314 h 6858000"/>
              <a:gd name="connsiteX3216" fmla="*/ 3624173 w 12192000"/>
              <a:gd name="connsiteY3216" fmla="*/ 1784094 h 6858000"/>
              <a:gd name="connsiteX3217" fmla="*/ 3573683 w 12192000"/>
              <a:gd name="connsiteY3217" fmla="*/ 1767655 h 6858000"/>
              <a:gd name="connsiteX3218" fmla="*/ 3421893 w 12192000"/>
              <a:gd name="connsiteY3218" fmla="*/ 1767655 h 6858000"/>
              <a:gd name="connsiteX3219" fmla="*/ 3396488 w 12192000"/>
              <a:gd name="connsiteY3219" fmla="*/ 1772779 h 6858000"/>
              <a:gd name="connsiteX3220" fmla="*/ 3378128 w 12192000"/>
              <a:gd name="connsiteY3220" fmla="*/ 1787082 h 6858000"/>
              <a:gd name="connsiteX3221" fmla="*/ 3378128 w 12192000"/>
              <a:gd name="connsiteY3221" fmla="*/ 1780678 h 6858000"/>
              <a:gd name="connsiteX3222" fmla="*/ 3376099 w 12192000"/>
              <a:gd name="connsiteY3222" fmla="*/ 1773526 h 6858000"/>
              <a:gd name="connsiteX3223" fmla="*/ 3368307 w 12192000"/>
              <a:gd name="connsiteY3223" fmla="*/ 1771818 h 6858000"/>
              <a:gd name="connsiteX3224" fmla="*/ 3352189 w 12192000"/>
              <a:gd name="connsiteY3224" fmla="*/ 1771818 h 6858000"/>
              <a:gd name="connsiteX3225" fmla="*/ 3344396 w 12192000"/>
              <a:gd name="connsiteY3225" fmla="*/ 1773526 h 6858000"/>
              <a:gd name="connsiteX3226" fmla="*/ 3342475 w 12192000"/>
              <a:gd name="connsiteY3226" fmla="*/ 1780678 h 6858000"/>
              <a:gd name="connsiteX3227" fmla="*/ 3342475 w 12192000"/>
              <a:gd name="connsiteY3227" fmla="*/ 1922221 h 6858000"/>
              <a:gd name="connsiteX3228" fmla="*/ 3344396 w 12192000"/>
              <a:gd name="connsiteY3228" fmla="*/ 1929372 h 6858000"/>
              <a:gd name="connsiteX3229" fmla="*/ 3352189 w 12192000"/>
              <a:gd name="connsiteY3229" fmla="*/ 1931080 h 6858000"/>
              <a:gd name="connsiteX3230" fmla="*/ 3368948 w 12192000"/>
              <a:gd name="connsiteY3230" fmla="*/ 1931080 h 6858000"/>
              <a:gd name="connsiteX3231" fmla="*/ 3376740 w 12192000"/>
              <a:gd name="connsiteY3231" fmla="*/ 1929372 h 6858000"/>
              <a:gd name="connsiteX3232" fmla="*/ 3378768 w 12192000"/>
              <a:gd name="connsiteY3232" fmla="*/ 1922221 h 6858000"/>
              <a:gd name="connsiteX3233" fmla="*/ 3378768 w 12192000"/>
              <a:gd name="connsiteY3233" fmla="*/ 1833196 h 6858000"/>
              <a:gd name="connsiteX3234" fmla="*/ 3387094 w 12192000"/>
              <a:gd name="connsiteY3234" fmla="*/ 1808111 h 6858000"/>
              <a:gd name="connsiteX3235" fmla="*/ 3410044 w 12192000"/>
              <a:gd name="connsiteY3235" fmla="*/ 1799145 h 6858000"/>
              <a:gd name="connsiteX3236" fmla="*/ 3430539 w 12192000"/>
              <a:gd name="connsiteY3236" fmla="*/ 1806617 h 6858000"/>
              <a:gd name="connsiteX3237" fmla="*/ 3436196 w 12192000"/>
              <a:gd name="connsiteY3237" fmla="*/ 1828072 h 6858000"/>
              <a:gd name="connsiteX3238" fmla="*/ 3436196 w 12192000"/>
              <a:gd name="connsiteY3238" fmla="*/ 1922327 h 6858000"/>
              <a:gd name="connsiteX3239" fmla="*/ 3438225 w 12192000"/>
              <a:gd name="connsiteY3239" fmla="*/ 1929479 h 6858000"/>
              <a:gd name="connsiteX3240" fmla="*/ 3446017 w 12192000"/>
              <a:gd name="connsiteY3240" fmla="*/ 1931187 h 6858000"/>
              <a:gd name="connsiteX3241" fmla="*/ 3462776 w 12192000"/>
              <a:gd name="connsiteY3241" fmla="*/ 1931187 h 6858000"/>
              <a:gd name="connsiteX3242" fmla="*/ 3470568 w 12192000"/>
              <a:gd name="connsiteY3242" fmla="*/ 1929479 h 6858000"/>
              <a:gd name="connsiteX3243" fmla="*/ 3472596 w 12192000"/>
              <a:gd name="connsiteY3243" fmla="*/ 1922327 h 6858000"/>
              <a:gd name="connsiteX3244" fmla="*/ 3472596 w 12192000"/>
              <a:gd name="connsiteY3244" fmla="*/ 1822628 h 6858000"/>
              <a:gd name="connsiteX3245" fmla="*/ 3460107 w 12192000"/>
              <a:gd name="connsiteY3245" fmla="*/ 1782386 h 6858000"/>
              <a:gd name="connsiteX3246" fmla="*/ 3422106 w 12192000"/>
              <a:gd name="connsiteY3246" fmla="*/ 1767655 h 6858000"/>
              <a:gd name="connsiteX3247" fmla="*/ 3178516 w 12192000"/>
              <a:gd name="connsiteY3247" fmla="*/ 1767655 h 6858000"/>
              <a:gd name="connsiteX3248" fmla="*/ 3153111 w 12192000"/>
              <a:gd name="connsiteY3248" fmla="*/ 1772779 h 6858000"/>
              <a:gd name="connsiteX3249" fmla="*/ 3134751 w 12192000"/>
              <a:gd name="connsiteY3249" fmla="*/ 1787082 h 6858000"/>
              <a:gd name="connsiteX3250" fmla="*/ 3134751 w 12192000"/>
              <a:gd name="connsiteY3250" fmla="*/ 1780678 h 6858000"/>
              <a:gd name="connsiteX3251" fmla="*/ 3132829 w 12192000"/>
              <a:gd name="connsiteY3251" fmla="*/ 1773526 h 6858000"/>
              <a:gd name="connsiteX3252" fmla="*/ 3125037 w 12192000"/>
              <a:gd name="connsiteY3252" fmla="*/ 1771818 h 6858000"/>
              <a:gd name="connsiteX3253" fmla="*/ 3108918 w 12192000"/>
              <a:gd name="connsiteY3253" fmla="*/ 1771818 h 6858000"/>
              <a:gd name="connsiteX3254" fmla="*/ 3101126 w 12192000"/>
              <a:gd name="connsiteY3254" fmla="*/ 1773526 h 6858000"/>
              <a:gd name="connsiteX3255" fmla="*/ 3099098 w 12192000"/>
              <a:gd name="connsiteY3255" fmla="*/ 1780678 h 6858000"/>
              <a:gd name="connsiteX3256" fmla="*/ 3099098 w 12192000"/>
              <a:gd name="connsiteY3256" fmla="*/ 1922221 h 6858000"/>
              <a:gd name="connsiteX3257" fmla="*/ 3101126 w 12192000"/>
              <a:gd name="connsiteY3257" fmla="*/ 1929372 h 6858000"/>
              <a:gd name="connsiteX3258" fmla="*/ 3108918 w 12192000"/>
              <a:gd name="connsiteY3258" fmla="*/ 1931080 h 6858000"/>
              <a:gd name="connsiteX3259" fmla="*/ 3125677 w 12192000"/>
              <a:gd name="connsiteY3259" fmla="*/ 1931080 h 6858000"/>
              <a:gd name="connsiteX3260" fmla="*/ 3133470 w 12192000"/>
              <a:gd name="connsiteY3260" fmla="*/ 1929372 h 6858000"/>
              <a:gd name="connsiteX3261" fmla="*/ 3135391 w 12192000"/>
              <a:gd name="connsiteY3261" fmla="*/ 1922221 h 6858000"/>
              <a:gd name="connsiteX3262" fmla="*/ 3135391 w 12192000"/>
              <a:gd name="connsiteY3262" fmla="*/ 1833196 h 6858000"/>
              <a:gd name="connsiteX3263" fmla="*/ 3143717 w 12192000"/>
              <a:gd name="connsiteY3263" fmla="*/ 1808111 h 6858000"/>
              <a:gd name="connsiteX3264" fmla="*/ 3166667 w 12192000"/>
              <a:gd name="connsiteY3264" fmla="*/ 1799145 h 6858000"/>
              <a:gd name="connsiteX3265" fmla="*/ 3187162 w 12192000"/>
              <a:gd name="connsiteY3265" fmla="*/ 1806617 h 6858000"/>
              <a:gd name="connsiteX3266" fmla="*/ 3192819 w 12192000"/>
              <a:gd name="connsiteY3266" fmla="*/ 1828072 h 6858000"/>
              <a:gd name="connsiteX3267" fmla="*/ 3192819 w 12192000"/>
              <a:gd name="connsiteY3267" fmla="*/ 1922327 h 6858000"/>
              <a:gd name="connsiteX3268" fmla="*/ 3194741 w 12192000"/>
              <a:gd name="connsiteY3268" fmla="*/ 1929479 h 6858000"/>
              <a:gd name="connsiteX3269" fmla="*/ 3202533 w 12192000"/>
              <a:gd name="connsiteY3269" fmla="*/ 1931187 h 6858000"/>
              <a:gd name="connsiteX3270" fmla="*/ 3219292 w 12192000"/>
              <a:gd name="connsiteY3270" fmla="*/ 1931187 h 6858000"/>
              <a:gd name="connsiteX3271" fmla="*/ 3227084 w 12192000"/>
              <a:gd name="connsiteY3271" fmla="*/ 1929479 h 6858000"/>
              <a:gd name="connsiteX3272" fmla="*/ 3229112 w 12192000"/>
              <a:gd name="connsiteY3272" fmla="*/ 1922327 h 6858000"/>
              <a:gd name="connsiteX3273" fmla="*/ 3229112 w 12192000"/>
              <a:gd name="connsiteY3273" fmla="*/ 1822628 h 6858000"/>
              <a:gd name="connsiteX3274" fmla="*/ 3216623 w 12192000"/>
              <a:gd name="connsiteY3274" fmla="*/ 1782386 h 6858000"/>
              <a:gd name="connsiteX3275" fmla="*/ 3178622 w 12192000"/>
              <a:gd name="connsiteY3275" fmla="*/ 1767655 h 6858000"/>
              <a:gd name="connsiteX3276" fmla="*/ 2918594 w 12192000"/>
              <a:gd name="connsiteY3276" fmla="*/ 1767655 h 6858000"/>
              <a:gd name="connsiteX3277" fmla="*/ 2867570 w 12192000"/>
              <a:gd name="connsiteY3277" fmla="*/ 1785908 h 6858000"/>
              <a:gd name="connsiteX3278" fmla="*/ 2849317 w 12192000"/>
              <a:gd name="connsiteY3278" fmla="*/ 1836718 h 6858000"/>
              <a:gd name="connsiteX3279" fmla="*/ 2849317 w 12192000"/>
              <a:gd name="connsiteY3279" fmla="*/ 1861910 h 6858000"/>
              <a:gd name="connsiteX3280" fmla="*/ 2865435 w 12192000"/>
              <a:gd name="connsiteY3280" fmla="*/ 1911866 h 6858000"/>
              <a:gd name="connsiteX3281" fmla="*/ 2911976 w 12192000"/>
              <a:gd name="connsiteY3281" fmla="*/ 1929372 h 6858000"/>
              <a:gd name="connsiteX3282" fmla="*/ 2950831 w 12192000"/>
              <a:gd name="connsiteY3282" fmla="*/ 1915709 h 6858000"/>
              <a:gd name="connsiteX3283" fmla="*/ 2950831 w 12192000"/>
              <a:gd name="connsiteY3283" fmla="*/ 1930867 h 6858000"/>
              <a:gd name="connsiteX3284" fmla="*/ 2942932 w 12192000"/>
              <a:gd name="connsiteY3284" fmla="*/ 1952749 h 6858000"/>
              <a:gd name="connsiteX3285" fmla="*/ 2932257 w 12192000"/>
              <a:gd name="connsiteY3285" fmla="*/ 1958727 h 6858000"/>
              <a:gd name="connsiteX3286" fmla="*/ 2917100 w 12192000"/>
              <a:gd name="connsiteY3286" fmla="*/ 1960969 h 6858000"/>
              <a:gd name="connsiteX3287" fmla="*/ 2902262 w 12192000"/>
              <a:gd name="connsiteY3287" fmla="*/ 1958834 h 6858000"/>
              <a:gd name="connsiteX3288" fmla="*/ 2892869 w 12192000"/>
              <a:gd name="connsiteY3288" fmla="*/ 1950935 h 6858000"/>
              <a:gd name="connsiteX3289" fmla="*/ 2892762 w 12192000"/>
              <a:gd name="connsiteY3289" fmla="*/ 1950935 h 6858000"/>
              <a:gd name="connsiteX3290" fmla="*/ 2888492 w 12192000"/>
              <a:gd name="connsiteY3290" fmla="*/ 1946238 h 6858000"/>
              <a:gd name="connsiteX3291" fmla="*/ 2883368 w 12192000"/>
              <a:gd name="connsiteY3291" fmla="*/ 1945171 h 6858000"/>
              <a:gd name="connsiteX3292" fmla="*/ 2863300 w 12192000"/>
              <a:gd name="connsiteY3292" fmla="*/ 1945171 h 6858000"/>
              <a:gd name="connsiteX3293" fmla="*/ 2855081 w 12192000"/>
              <a:gd name="connsiteY3293" fmla="*/ 1950935 h 6858000"/>
              <a:gd name="connsiteX3294" fmla="*/ 2871520 w 12192000"/>
              <a:gd name="connsiteY3294" fmla="*/ 1977514 h 6858000"/>
              <a:gd name="connsiteX3295" fmla="*/ 2916459 w 12192000"/>
              <a:gd name="connsiteY3295" fmla="*/ 1987441 h 6858000"/>
              <a:gd name="connsiteX3296" fmla="*/ 2970151 w 12192000"/>
              <a:gd name="connsiteY3296" fmla="*/ 1973351 h 6858000"/>
              <a:gd name="connsiteX3297" fmla="*/ 2987017 w 12192000"/>
              <a:gd name="connsiteY3297" fmla="*/ 1928198 h 6858000"/>
              <a:gd name="connsiteX3298" fmla="*/ 2987017 w 12192000"/>
              <a:gd name="connsiteY3298" fmla="*/ 1830314 h 6858000"/>
              <a:gd name="connsiteX3299" fmla="*/ 2969084 w 12192000"/>
              <a:gd name="connsiteY3299" fmla="*/ 1784094 h 6858000"/>
              <a:gd name="connsiteX3300" fmla="*/ 2918594 w 12192000"/>
              <a:gd name="connsiteY3300" fmla="*/ 1767655 h 6858000"/>
              <a:gd name="connsiteX3301" fmla="*/ 2520011 w 12192000"/>
              <a:gd name="connsiteY3301" fmla="*/ 1767655 h 6858000"/>
              <a:gd name="connsiteX3302" fmla="*/ 2478061 w 12192000"/>
              <a:gd name="connsiteY3302" fmla="*/ 1786762 h 6858000"/>
              <a:gd name="connsiteX3303" fmla="*/ 2478061 w 12192000"/>
              <a:gd name="connsiteY3303" fmla="*/ 1780678 h 6858000"/>
              <a:gd name="connsiteX3304" fmla="*/ 2476139 w 12192000"/>
              <a:gd name="connsiteY3304" fmla="*/ 1773526 h 6858000"/>
              <a:gd name="connsiteX3305" fmla="*/ 2468347 w 12192000"/>
              <a:gd name="connsiteY3305" fmla="*/ 1771818 h 6858000"/>
              <a:gd name="connsiteX3306" fmla="*/ 2452228 w 12192000"/>
              <a:gd name="connsiteY3306" fmla="*/ 1771818 h 6858000"/>
              <a:gd name="connsiteX3307" fmla="*/ 2444436 w 12192000"/>
              <a:gd name="connsiteY3307" fmla="*/ 1773526 h 6858000"/>
              <a:gd name="connsiteX3308" fmla="*/ 2442408 w 12192000"/>
              <a:gd name="connsiteY3308" fmla="*/ 1780678 h 6858000"/>
              <a:gd name="connsiteX3309" fmla="*/ 2442408 w 12192000"/>
              <a:gd name="connsiteY3309" fmla="*/ 1922114 h 6858000"/>
              <a:gd name="connsiteX3310" fmla="*/ 2444436 w 12192000"/>
              <a:gd name="connsiteY3310" fmla="*/ 1929266 h 6858000"/>
              <a:gd name="connsiteX3311" fmla="*/ 2452228 w 12192000"/>
              <a:gd name="connsiteY3311" fmla="*/ 1930974 h 6858000"/>
              <a:gd name="connsiteX3312" fmla="*/ 2468987 w 12192000"/>
              <a:gd name="connsiteY3312" fmla="*/ 1930974 h 6858000"/>
              <a:gd name="connsiteX3313" fmla="*/ 2476780 w 12192000"/>
              <a:gd name="connsiteY3313" fmla="*/ 1929266 h 6858000"/>
              <a:gd name="connsiteX3314" fmla="*/ 2478701 w 12192000"/>
              <a:gd name="connsiteY3314" fmla="*/ 1922114 h 6858000"/>
              <a:gd name="connsiteX3315" fmla="*/ 2478701 w 12192000"/>
              <a:gd name="connsiteY3315" fmla="*/ 1833089 h 6858000"/>
              <a:gd name="connsiteX3316" fmla="*/ 2486600 w 12192000"/>
              <a:gd name="connsiteY3316" fmla="*/ 1808004 h 6858000"/>
              <a:gd name="connsiteX3317" fmla="*/ 2507842 w 12192000"/>
              <a:gd name="connsiteY3317" fmla="*/ 1799038 h 6858000"/>
              <a:gd name="connsiteX3318" fmla="*/ 2527163 w 12192000"/>
              <a:gd name="connsiteY3318" fmla="*/ 1806510 h 6858000"/>
              <a:gd name="connsiteX3319" fmla="*/ 2532500 w 12192000"/>
              <a:gd name="connsiteY3319" fmla="*/ 1827965 h 6858000"/>
              <a:gd name="connsiteX3320" fmla="*/ 2532500 w 12192000"/>
              <a:gd name="connsiteY3320" fmla="*/ 1922221 h 6858000"/>
              <a:gd name="connsiteX3321" fmla="*/ 2534421 w 12192000"/>
              <a:gd name="connsiteY3321" fmla="*/ 1929372 h 6858000"/>
              <a:gd name="connsiteX3322" fmla="*/ 2542214 w 12192000"/>
              <a:gd name="connsiteY3322" fmla="*/ 1931080 h 6858000"/>
              <a:gd name="connsiteX3323" fmla="*/ 2558973 w 12192000"/>
              <a:gd name="connsiteY3323" fmla="*/ 1931080 h 6858000"/>
              <a:gd name="connsiteX3324" fmla="*/ 2566765 w 12192000"/>
              <a:gd name="connsiteY3324" fmla="*/ 1929372 h 6858000"/>
              <a:gd name="connsiteX3325" fmla="*/ 2568686 w 12192000"/>
              <a:gd name="connsiteY3325" fmla="*/ 1922221 h 6858000"/>
              <a:gd name="connsiteX3326" fmla="*/ 2568686 w 12192000"/>
              <a:gd name="connsiteY3326" fmla="*/ 1833196 h 6858000"/>
              <a:gd name="connsiteX3327" fmla="*/ 2576585 w 12192000"/>
              <a:gd name="connsiteY3327" fmla="*/ 1808111 h 6858000"/>
              <a:gd name="connsiteX3328" fmla="*/ 2597827 w 12192000"/>
              <a:gd name="connsiteY3328" fmla="*/ 1799145 h 6858000"/>
              <a:gd name="connsiteX3329" fmla="*/ 2617148 w 12192000"/>
              <a:gd name="connsiteY3329" fmla="*/ 1806617 h 6858000"/>
              <a:gd name="connsiteX3330" fmla="*/ 2622485 w 12192000"/>
              <a:gd name="connsiteY3330" fmla="*/ 1828072 h 6858000"/>
              <a:gd name="connsiteX3331" fmla="*/ 2622485 w 12192000"/>
              <a:gd name="connsiteY3331" fmla="*/ 1922327 h 6858000"/>
              <a:gd name="connsiteX3332" fmla="*/ 2624407 w 12192000"/>
              <a:gd name="connsiteY3332" fmla="*/ 1929479 h 6858000"/>
              <a:gd name="connsiteX3333" fmla="*/ 2632199 w 12192000"/>
              <a:gd name="connsiteY3333" fmla="*/ 1931187 h 6858000"/>
              <a:gd name="connsiteX3334" fmla="*/ 2648958 w 12192000"/>
              <a:gd name="connsiteY3334" fmla="*/ 1931187 h 6858000"/>
              <a:gd name="connsiteX3335" fmla="*/ 2656750 w 12192000"/>
              <a:gd name="connsiteY3335" fmla="*/ 1929479 h 6858000"/>
              <a:gd name="connsiteX3336" fmla="*/ 2658778 w 12192000"/>
              <a:gd name="connsiteY3336" fmla="*/ 1922327 h 6858000"/>
              <a:gd name="connsiteX3337" fmla="*/ 2658778 w 12192000"/>
              <a:gd name="connsiteY3337" fmla="*/ 1822628 h 6858000"/>
              <a:gd name="connsiteX3338" fmla="*/ 2646823 w 12192000"/>
              <a:gd name="connsiteY3338" fmla="*/ 1782386 h 6858000"/>
              <a:gd name="connsiteX3339" fmla="*/ 2610210 w 12192000"/>
              <a:gd name="connsiteY3339" fmla="*/ 1767655 h 6858000"/>
              <a:gd name="connsiteX3340" fmla="*/ 2609996 w 12192000"/>
              <a:gd name="connsiteY3340" fmla="*/ 1767655 h 6858000"/>
              <a:gd name="connsiteX3341" fmla="*/ 2581389 w 12192000"/>
              <a:gd name="connsiteY3341" fmla="*/ 1773419 h 6858000"/>
              <a:gd name="connsiteX3342" fmla="*/ 2561641 w 12192000"/>
              <a:gd name="connsiteY3342" fmla="*/ 1789858 h 6858000"/>
              <a:gd name="connsiteX3343" fmla="*/ 2545523 w 12192000"/>
              <a:gd name="connsiteY3343" fmla="*/ 1773419 h 6858000"/>
              <a:gd name="connsiteX3344" fmla="*/ 2520011 w 12192000"/>
              <a:gd name="connsiteY3344" fmla="*/ 1767655 h 6858000"/>
              <a:gd name="connsiteX3345" fmla="*/ 2267989 w 12192000"/>
              <a:gd name="connsiteY3345" fmla="*/ 1767655 h 6858000"/>
              <a:gd name="connsiteX3346" fmla="*/ 2217819 w 12192000"/>
              <a:gd name="connsiteY3346" fmla="*/ 1786976 h 6858000"/>
              <a:gd name="connsiteX3347" fmla="*/ 2200206 w 12192000"/>
              <a:gd name="connsiteY3347" fmla="*/ 1841522 h 6858000"/>
              <a:gd name="connsiteX3348" fmla="*/ 2200206 w 12192000"/>
              <a:gd name="connsiteY3348" fmla="*/ 1865219 h 6858000"/>
              <a:gd name="connsiteX3349" fmla="*/ 2217819 w 12192000"/>
              <a:gd name="connsiteY3349" fmla="*/ 1917204 h 6858000"/>
              <a:gd name="connsiteX3350" fmla="*/ 2267668 w 12192000"/>
              <a:gd name="connsiteY3350" fmla="*/ 1935457 h 6858000"/>
              <a:gd name="connsiteX3351" fmla="*/ 2297343 w 12192000"/>
              <a:gd name="connsiteY3351" fmla="*/ 1930760 h 6858000"/>
              <a:gd name="connsiteX3352" fmla="*/ 2319332 w 12192000"/>
              <a:gd name="connsiteY3352" fmla="*/ 1917204 h 6858000"/>
              <a:gd name="connsiteX3353" fmla="*/ 2328299 w 12192000"/>
              <a:gd name="connsiteY3353" fmla="*/ 1904288 h 6858000"/>
              <a:gd name="connsiteX3354" fmla="*/ 2332142 w 12192000"/>
              <a:gd name="connsiteY3354" fmla="*/ 1890731 h 6858000"/>
              <a:gd name="connsiteX3355" fmla="*/ 2330007 w 12192000"/>
              <a:gd name="connsiteY3355" fmla="*/ 1885287 h 6858000"/>
              <a:gd name="connsiteX3356" fmla="*/ 2322748 w 12192000"/>
              <a:gd name="connsiteY3356" fmla="*/ 1883793 h 6858000"/>
              <a:gd name="connsiteX3357" fmla="*/ 2303855 w 12192000"/>
              <a:gd name="connsiteY3357" fmla="*/ 1883793 h 6858000"/>
              <a:gd name="connsiteX3358" fmla="*/ 2295635 w 12192000"/>
              <a:gd name="connsiteY3358" fmla="*/ 1888916 h 6858000"/>
              <a:gd name="connsiteX3359" fmla="*/ 2268522 w 12192000"/>
              <a:gd name="connsiteY3359" fmla="*/ 1904715 h 6858000"/>
              <a:gd name="connsiteX3360" fmla="*/ 2243758 w 12192000"/>
              <a:gd name="connsiteY3360" fmla="*/ 1895108 h 6858000"/>
              <a:gd name="connsiteX3361" fmla="*/ 2236286 w 12192000"/>
              <a:gd name="connsiteY3361" fmla="*/ 1862764 h 6858000"/>
              <a:gd name="connsiteX3362" fmla="*/ 2236286 w 12192000"/>
              <a:gd name="connsiteY3362" fmla="*/ 1861270 h 6858000"/>
              <a:gd name="connsiteX3363" fmla="*/ 2324456 w 12192000"/>
              <a:gd name="connsiteY3363" fmla="*/ 1861270 h 6858000"/>
              <a:gd name="connsiteX3364" fmla="*/ 2324563 w 12192000"/>
              <a:gd name="connsiteY3364" fmla="*/ 1861376 h 6858000"/>
              <a:gd name="connsiteX3365" fmla="*/ 2332462 w 12192000"/>
              <a:gd name="connsiteY3365" fmla="*/ 1859562 h 6858000"/>
              <a:gd name="connsiteX3366" fmla="*/ 2334277 w 12192000"/>
              <a:gd name="connsiteY3366" fmla="*/ 1852517 h 6858000"/>
              <a:gd name="connsiteX3367" fmla="*/ 2334277 w 12192000"/>
              <a:gd name="connsiteY3367" fmla="*/ 1838213 h 6858000"/>
              <a:gd name="connsiteX3368" fmla="*/ 2317411 w 12192000"/>
              <a:gd name="connsiteY3368" fmla="*/ 1785588 h 6858000"/>
              <a:gd name="connsiteX3369" fmla="*/ 2267989 w 12192000"/>
              <a:gd name="connsiteY3369" fmla="*/ 1767655 h 6858000"/>
              <a:gd name="connsiteX3370" fmla="*/ 2757304 w 12192000"/>
              <a:gd name="connsiteY3370" fmla="*/ 1767548 h 6858000"/>
              <a:gd name="connsiteX3371" fmla="*/ 2724747 w 12192000"/>
              <a:gd name="connsiteY3371" fmla="*/ 1772138 h 6858000"/>
              <a:gd name="connsiteX3372" fmla="*/ 2704679 w 12192000"/>
              <a:gd name="connsiteY3372" fmla="*/ 1784947 h 6858000"/>
              <a:gd name="connsiteX3373" fmla="*/ 2695285 w 12192000"/>
              <a:gd name="connsiteY3373" fmla="*/ 1807150 h 6858000"/>
              <a:gd name="connsiteX3374" fmla="*/ 2697100 w 12192000"/>
              <a:gd name="connsiteY3374" fmla="*/ 1812167 h 6858000"/>
              <a:gd name="connsiteX3375" fmla="*/ 2703825 w 12192000"/>
              <a:gd name="connsiteY3375" fmla="*/ 1813875 h 6858000"/>
              <a:gd name="connsiteX3376" fmla="*/ 2723572 w 12192000"/>
              <a:gd name="connsiteY3376" fmla="*/ 1813875 h 6858000"/>
              <a:gd name="connsiteX3377" fmla="*/ 2730297 w 12192000"/>
              <a:gd name="connsiteY3377" fmla="*/ 1812808 h 6858000"/>
              <a:gd name="connsiteX3378" fmla="*/ 2733393 w 12192000"/>
              <a:gd name="connsiteY3378" fmla="*/ 1808111 h 6858000"/>
              <a:gd name="connsiteX3379" fmla="*/ 2741932 w 12192000"/>
              <a:gd name="connsiteY3379" fmla="*/ 1798184 h 6858000"/>
              <a:gd name="connsiteX3380" fmla="*/ 2757410 w 12192000"/>
              <a:gd name="connsiteY3380" fmla="*/ 1795301 h 6858000"/>
              <a:gd name="connsiteX3381" fmla="*/ 2777585 w 12192000"/>
              <a:gd name="connsiteY3381" fmla="*/ 1801813 h 6858000"/>
              <a:gd name="connsiteX3382" fmla="*/ 2784096 w 12192000"/>
              <a:gd name="connsiteY3382" fmla="*/ 1825403 h 6858000"/>
              <a:gd name="connsiteX3383" fmla="*/ 2784096 w 12192000"/>
              <a:gd name="connsiteY3383" fmla="*/ 1833302 h 6858000"/>
              <a:gd name="connsiteX3384" fmla="*/ 2767231 w 12192000"/>
              <a:gd name="connsiteY3384" fmla="*/ 1831915 h 6858000"/>
              <a:gd name="connsiteX3385" fmla="*/ 2751219 w 12192000"/>
              <a:gd name="connsiteY3385" fmla="*/ 1831488 h 6858000"/>
              <a:gd name="connsiteX3386" fmla="*/ 2751112 w 12192000"/>
              <a:gd name="connsiteY3386" fmla="*/ 1831381 h 6858000"/>
              <a:gd name="connsiteX3387" fmla="*/ 2719943 w 12192000"/>
              <a:gd name="connsiteY3387" fmla="*/ 1836078 h 6858000"/>
              <a:gd name="connsiteX3388" fmla="*/ 2697420 w 12192000"/>
              <a:gd name="connsiteY3388" fmla="*/ 1852089 h 6858000"/>
              <a:gd name="connsiteX3389" fmla="*/ 2689094 w 12192000"/>
              <a:gd name="connsiteY3389" fmla="*/ 1883365 h 6858000"/>
              <a:gd name="connsiteX3390" fmla="*/ 2704465 w 12192000"/>
              <a:gd name="connsiteY3390" fmla="*/ 1922114 h 6858000"/>
              <a:gd name="connsiteX3391" fmla="*/ 2752073 w 12192000"/>
              <a:gd name="connsiteY3391" fmla="*/ 1934069 h 6858000"/>
              <a:gd name="connsiteX3392" fmla="*/ 2760613 w 12192000"/>
              <a:gd name="connsiteY3392" fmla="*/ 1934069 h 6858000"/>
              <a:gd name="connsiteX3393" fmla="*/ 2796052 w 12192000"/>
              <a:gd name="connsiteY3393" fmla="*/ 1926810 h 6858000"/>
              <a:gd name="connsiteX3394" fmla="*/ 2813878 w 12192000"/>
              <a:gd name="connsiteY3394" fmla="*/ 1907490 h 6858000"/>
              <a:gd name="connsiteX3395" fmla="*/ 2819002 w 12192000"/>
              <a:gd name="connsiteY3395" fmla="*/ 1882084 h 6858000"/>
              <a:gd name="connsiteX3396" fmla="*/ 2819002 w 12192000"/>
              <a:gd name="connsiteY3396" fmla="*/ 1822841 h 6858000"/>
              <a:gd name="connsiteX3397" fmla="*/ 2813558 w 12192000"/>
              <a:gd name="connsiteY3397" fmla="*/ 1792633 h 6858000"/>
              <a:gd name="connsiteX3398" fmla="*/ 2794664 w 12192000"/>
              <a:gd name="connsiteY3398" fmla="*/ 1773953 h 6858000"/>
              <a:gd name="connsiteX3399" fmla="*/ 2757304 w 12192000"/>
              <a:gd name="connsiteY3399" fmla="*/ 1767548 h 6858000"/>
              <a:gd name="connsiteX3400" fmla="*/ 2061545 w 12192000"/>
              <a:gd name="connsiteY3400" fmla="*/ 1746306 h 6858000"/>
              <a:gd name="connsiteX3401" fmla="*/ 2099439 w 12192000"/>
              <a:gd name="connsiteY3401" fmla="*/ 1746306 h 6858000"/>
              <a:gd name="connsiteX3402" fmla="*/ 2124524 w 12192000"/>
              <a:gd name="connsiteY3402" fmla="*/ 1753778 h 6858000"/>
              <a:gd name="connsiteX3403" fmla="*/ 2131676 w 12192000"/>
              <a:gd name="connsiteY3403" fmla="*/ 1779183 h 6858000"/>
              <a:gd name="connsiteX3404" fmla="*/ 2131676 w 12192000"/>
              <a:gd name="connsiteY3404" fmla="*/ 1783453 h 6858000"/>
              <a:gd name="connsiteX3405" fmla="*/ 2124418 w 12192000"/>
              <a:gd name="connsiteY3405" fmla="*/ 1807791 h 6858000"/>
              <a:gd name="connsiteX3406" fmla="*/ 2099546 w 12192000"/>
              <a:gd name="connsiteY3406" fmla="*/ 1815050 h 6858000"/>
              <a:gd name="connsiteX3407" fmla="*/ 2061545 w 12192000"/>
              <a:gd name="connsiteY3407" fmla="*/ 1815050 h 6858000"/>
              <a:gd name="connsiteX3408" fmla="*/ 2034752 w 12192000"/>
              <a:gd name="connsiteY3408" fmla="*/ 1714710 h 6858000"/>
              <a:gd name="connsiteX3409" fmla="*/ 2026960 w 12192000"/>
              <a:gd name="connsiteY3409" fmla="*/ 1716525 h 6858000"/>
              <a:gd name="connsiteX3410" fmla="*/ 2024932 w 12192000"/>
              <a:gd name="connsiteY3410" fmla="*/ 1723570 h 6858000"/>
              <a:gd name="connsiteX3411" fmla="*/ 2024932 w 12192000"/>
              <a:gd name="connsiteY3411" fmla="*/ 1922327 h 6858000"/>
              <a:gd name="connsiteX3412" fmla="*/ 2026960 w 12192000"/>
              <a:gd name="connsiteY3412" fmla="*/ 1929373 h 6858000"/>
              <a:gd name="connsiteX3413" fmla="*/ 2034752 w 12192000"/>
              <a:gd name="connsiteY3413" fmla="*/ 1931187 h 6858000"/>
              <a:gd name="connsiteX3414" fmla="*/ 2051832 w 12192000"/>
              <a:gd name="connsiteY3414" fmla="*/ 1931187 h 6858000"/>
              <a:gd name="connsiteX3415" fmla="*/ 2059731 w 12192000"/>
              <a:gd name="connsiteY3415" fmla="*/ 1929373 h 6858000"/>
              <a:gd name="connsiteX3416" fmla="*/ 2061545 w 12192000"/>
              <a:gd name="connsiteY3416" fmla="*/ 1922327 h 6858000"/>
              <a:gd name="connsiteX3417" fmla="*/ 2061545 w 12192000"/>
              <a:gd name="connsiteY3417" fmla="*/ 1846646 h 6858000"/>
              <a:gd name="connsiteX3418" fmla="*/ 2094636 w 12192000"/>
              <a:gd name="connsiteY3418" fmla="*/ 1846646 h 6858000"/>
              <a:gd name="connsiteX3419" fmla="*/ 2135626 w 12192000"/>
              <a:gd name="connsiteY3419" fmla="*/ 1922327 h 6858000"/>
              <a:gd name="connsiteX3420" fmla="*/ 2141070 w 12192000"/>
              <a:gd name="connsiteY3420" fmla="*/ 1929479 h 6858000"/>
              <a:gd name="connsiteX3421" fmla="*/ 2148328 w 12192000"/>
              <a:gd name="connsiteY3421" fmla="*/ 1931187 h 6858000"/>
              <a:gd name="connsiteX3422" fmla="*/ 2171171 w 12192000"/>
              <a:gd name="connsiteY3422" fmla="*/ 1931187 h 6858000"/>
              <a:gd name="connsiteX3423" fmla="*/ 2179071 w 12192000"/>
              <a:gd name="connsiteY3423" fmla="*/ 1926277 h 6858000"/>
              <a:gd name="connsiteX3424" fmla="*/ 2177896 w 12192000"/>
              <a:gd name="connsiteY3424" fmla="*/ 1922327 h 6858000"/>
              <a:gd name="connsiteX3425" fmla="*/ 2132637 w 12192000"/>
              <a:gd name="connsiteY3425" fmla="*/ 1842056 h 6858000"/>
              <a:gd name="connsiteX3426" fmla="*/ 2169464 w 12192000"/>
              <a:gd name="connsiteY3426" fmla="*/ 1783667 h 6858000"/>
              <a:gd name="connsiteX3427" fmla="*/ 2169464 w 12192000"/>
              <a:gd name="connsiteY3427" fmla="*/ 1777903 h 6858000"/>
              <a:gd name="connsiteX3428" fmla="*/ 2152705 w 12192000"/>
              <a:gd name="connsiteY3428" fmla="*/ 1729868 h 6858000"/>
              <a:gd name="connsiteX3429" fmla="*/ 2099760 w 12192000"/>
              <a:gd name="connsiteY3429" fmla="*/ 1714710 h 6858000"/>
              <a:gd name="connsiteX3430" fmla="*/ 3285366 w 12192000"/>
              <a:gd name="connsiteY3430" fmla="*/ 1710761 h 6858000"/>
              <a:gd name="connsiteX3431" fmla="*/ 3270316 w 12192000"/>
              <a:gd name="connsiteY3431" fmla="*/ 1715458 h 6858000"/>
              <a:gd name="connsiteX3432" fmla="*/ 3264658 w 12192000"/>
              <a:gd name="connsiteY3432" fmla="*/ 1729014 h 6858000"/>
              <a:gd name="connsiteX3433" fmla="*/ 3264658 w 12192000"/>
              <a:gd name="connsiteY3433" fmla="*/ 1735419 h 6858000"/>
              <a:gd name="connsiteX3434" fmla="*/ 3270316 w 12192000"/>
              <a:gd name="connsiteY3434" fmla="*/ 1748762 h 6858000"/>
              <a:gd name="connsiteX3435" fmla="*/ 3285366 w 12192000"/>
              <a:gd name="connsiteY3435" fmla="*/ 1753672 h 6858000"/>
              <a:gd name="connsiteX3436" fmla="*/ 3300738 w 12192000"/>
              <a:gd name="connsiteY3436" fmla="*/ 1748762 h 6858000"/>
              <a:gd name="connsiteX3437" fmla="*/ 3306395 w 12192000"/>
              <a:gd name="connsiteY3437" fmla="*/ 1735419 h 6858000"/>
              <a:gd name="connsiteX3438" fmla="*/ 3306395 w 12192000"/>
              <a:gd name="connsiteY3438" fmla="*/ 1729014 h 6858000"/>
              <a:gd name="connsiteX3439" fmla="*/ 3300738 w 12192000"/>
              <a:gd name="connsiteY3439" fmla="*/ 1715458 h 6858000"/>
              <a:gd name="connsiteX3440" fmla="*/ 3285366 w 12192000"/>
              <a:gd name="connsiteY3440" fmla="*/ 1710761 h 6858000"/>
              <a:gd name="connsiteX3441" fmla="*/ 3041883 w 12192000"/>
              <a:gd name="connsiteY3441" fmla="*/ 1710761 h 6858000"/>
              <a:gd name="connsiteX3442" fmla="*/ 3026832 w 12192000"/>
              <a:gd name="connsiteY3442" fmla="*/ 1715458 h 6858000"/>
              <a:gd name="connsiteX3443" fmla="*/ 3021175 w 12192000"/>
              <a:gd name="connsiteY3443" fmla="*/ 1729014 h 6858000"/>
              <a:gd name="connsiteX3444" fmla="*/ 3021175 w 12192000"/>
              <a:gd name="connsiteY3444" fmla="*/ 1735419 h 6858000"/>
              <a:gd name="connsiteX3445" fmla="*/ 3026832 w 12192000"/>
              <a:gd name="connsiteY3445" fmla="*/ 1748762 h 6858000"/>
              <a:gd name="connsiteX3446" fmla="*/ 3041883 w 12192000"/>
              <a:gd name="connsiteY3446" fmla="*/ 1753672 h 6858000"/>
              <a:gd name="connsiteX3447" fmla="*/ 3057254 w 12192000"/>
              <a:gd name="connsiteY3447" fmla="*/ 1748762 h 6858000"/>
              <a:gd name="connsiteX3448" fmla="*/ 3062912 w 12192000"/>
              <a:gd name="connsiteY3448" fmla="*/ 1735419 h 6858000"/>
              <a:gd name="connsiteX3449" fmla="*/ 3062912 w 12192000"/>
              <a:gd name="connsiteY3449" fmla="*/ 1729014 h 6858000"/>
              <a:gd name="connsiteX3450" fmla="*/ 3057254 w 12192000"/>
              <a:gd name="connsiteY3450" fmla="*/ 1715458 h 6858000"/>
              <a:gd name="connsiteX3451" fmla="*/ 3041883 w 12192000"/>
              <a:gd name="connsiteY3451" fmla="*/ 1710761 h 6858000"/>
              <a:gd name="connsiteX3452" fmla="*/ 2385300 w 12192000"/>
              <a:gd name="connsiteY3452" fmla="*/ 1710761 h 6858000"/>
              <a:gd name="connsiteX3453" fmla="*/ 2370249 w 12192000"/>
              <a:gd name="connsiteY3453" fmla="*/ 1715458 h 6858000"/>
              <a:gd name="connsiteX3454" fmla="*/ 2364592 w 12192000"/>
              <a:gd name="connsiteY3454" fmla="*/ 1729014 h 6858000"/>
              <a:gd name="connsiteX3455" fmla="*/ 2364592 w 12192000"/>
              <a:gd name="connsiteY3455" fmla="*/ 1735419 h 6858000"/>
              <a:gd name="connsiteX3456" fmla="*/ 2370249 w 12192000"/>
              <a:gd name="connsiteY3456" fmla="*/ 1748762 h 6858000"/>
              <a:gd name="connsiteX3457" fmla="*/ 2385300 w 12192000"/>
              <a:gd name="connsiteY3457" fmla="*/ 1753672 h 6858000"/>
              <a:gd name="connsiteX3458" fmla="*/ 2400672 w 12192000"/>
              <a:gd name="connsiteY3458" fmla="*/ 1748762 h 6858000"/>
              <a:gd name="connsiteX3459" fmla="*/ 2406329 w 12192000"/>
              <a:gd name="connsiteY3459" fmla="*/ 1735419 h 6858000"/>
              <a:gd name="connsiteX3460" fmla="*/ 2406329 w 12192000"/>
              <a:gd name="connsiteY3460" fmla="*/ 1729014 h 6858000"/>
              <a:gd name="connsiteX3461" fmla="*/ 2400672 w 12192000"/>
              <a:gd name="connsiteY3461" fmla="*/ 1715458 h 6858000"/>
              <a:gd name="connsiteX3462" fmla="*/ 2385300 w 12192000"/>
              <a:gd name="connsiteY3462" fmla="*/ 1710761 h 6858000"/>
              <a:gd name="connsiteX3463" fmla="*/ 2013903 w 12192000"/>
              <a:gd name="connsiteY3463" fmla="*/ 1466167 h 6858000"/>
              <a:gd name="connsiteX3464" fmla="*/ 1776844 w 12192000"/>
              <a:gd name="connsiteY3464" fmla="*/ 1701189 h 6858000"/>
              <a:gd name="connsiteX3465" fmla="*/ 1776844 w 12192000"/>
              <a:gd name="connsiteY3465" fmla="*/ 2037072 h 6858000"/>
              <a:gd name="connsiteX3466" fmla="*/ 1909042 w 12192000"/>
              <a:gd name="connsiteY3466" fmla="*/ 2037072 h 6858000"/>
              <a:gd name="connsiteX3467" fmla="*/ 1909042 w 12192000"/>
              <a:gd name="connsiteY3467" fmla="*/ 1701720 h 6858000"/>
              <a:gd name="connsiteX3468" fmla="*/ 2013903 w 12192000"/>
              <a:gd name="connsiteY3468" fmla="*/ 1597466 h 6858000"/>
              <a:gd name="connsiteX3469" fmla="*/ 2336710 w 12192000"/>
              <a:gd name="connsiteY3469" fmla="*/ 1597466 h 6858000"/>
              <a:gd name="connsiteX3470" fmla="*/ 2336710 w 12192000"/>
              <a:gd name="connsiteY3470" fmla="*/ 1466167 h 6858000"/>
              <a:gd name="connsiteX3471" fmla="*/ 1425041 w 12192000"/>
              <a:gd name="connsiteY3471" fmla="*/ 1197747 h 6858000"/>
              <a:gd name="connsiteX3472" fmla="*/ 1447326 w 12192000"/>
              <a:gd name="connsiteY3472" fmla="*/ 1206834 h 6858000"/>
              <a:gd name="connsiteX3473" fmla="*/ 1454290 w 12192000"/>
              <a:gd name="connsiteY3473" fmla="*/ 1235282 h 6858000"/>
              <a:gd name="connsiteX3474" fmla="*/ 1393006 w 12192000"/>
              <a:gd name="connsiteY3474" fmla="*/ 1235282 h 6858000"/>
              <a:gd name="connsiteX3475" fmla="*/ 1401042 w 12192000"/>
              <a:gd name="connsiteY3475" fmla="*/ 1206509 h 6858000"/>
              <a:gd name="connsiteX3476" fmla="*/ 1425041 w 12192000"/>
              <a:gd name="connsiteY3476" fmla="*/ 1197747 h 6858000"/>
              <a:gd name="connsiteX3477" fmla="*/ 1296474 w 12192000"/>
              <a:gd name="connsiteY3477" fmla="*/ 1172436 h 6858000"/>
              <a:gd name="connsiteX3478" fmla="*/ 1288653 w 12192000"/>
              <a:gd name="connsiteY3478" fmla="*/ 1174167 h 6858000"/>
              <a:gd name="connsiteX3479" fmla="*/ 1286617 w 12192000"/>
              <a:gd name="connsiteY3479" fmla="*/ 1181414 h 6858000"/>
              <a:gd name="connsiteX3480" fmla="*/ 1286617 w 12192000"/>
              <a:gd name="connsiteY3480" fmla="*/ 1324956 h 6858000"/>
              <a:gd name="connsiteX3481" fmla="*/ 1288653 w 12192000"/>
              <a:gd name="connsiteY3481" fmla="*/ 1332203 h 6858000"/>
              <a:gd name="connsiteX3482" fmla="*/ 1296474 w 12192000"/>
              <a:gd name="connsiteY3482" fmla="*/ 1333934 h 6858000"/>
              <a:gd name="connsiteX3483" fmla="*/ 1313295 w 12192000"/>
              <a:gd name="connsiteY3483" fmla="*/ 1333934 h 6858000"/>
              <a:gd name="connsiteX3484" fmla="*/ 1321116 w 12192000"/>
              <a:gd name="connsiteY3484" fmla="*/ 1332203 h 6858000"/>
              <a:gd name="connsiteX3485" fmla="*/ 1323152 w 12192000"/>
              <a:gd name="connsiteY3485" fmla="*/ 1324956 h 6858000"/>
              <a:gd name="connsiteX3486" fmla="*/ 1323152 w 12192000"/>
              <a:gd name="connsiteY3486" fmla="*/ 1181414 h 6858000"/>
              <a:gd name="connsiteX3487" fmla="*/ 1321116 w 12192000"/>
              <a:gd name="connsiteY3487" fmla="*/ 1174167 h 6858000"/>
              <a:gd name="connsiteX3488" fmla="*/ 1313295 w 12192000"/>
              <a:gd name="connsiteY3488" fmla="*/ 1172436 h 6858000"/>
              <a:gd name="connsiteX3489" fmla="*/ 1110052 w 12192000"/>
              <a:gd name="connsiteY3489" fmla="*/ 1172436 h 6858000"/>
              <a:gd name="connsiteX3490" fmla="*/ 1102231 w 12192000"/>
              <a:gd name="connsiteY3490" fmla="*/ 1174167 h 6858000"/>
              <a:gd name="connsiteX3491" fmla="*/ 1100302 w 12192000"/>
              <a:gd name="connsiteY3491" fmla="*/ 1181414 h 6858000"/>
              <a:gd name="connsiteX3492" fmla="*/ 1100302 w 12192000"/>
              <a:gd name="connsiteY3492" fmla="*/ 1324956 h 6858000"/>
              <a:gd name="connsiteX3493" fmla="*/ 1102231 w 12192000"/>
              <a:gd name="connsiteY3493" fmla="*/ 1332203 h 6858000"/>
              <a:gd name="connsiteX3494" fmla="*/ 1110052 w 12192000"/>
              <a:gd name="connsiteY3494" fmla="*/ 1333934 h 6858000"/>
              <a:gd name="connsiteX3495" fmla="*/ 1126873 w 12192000"/>
              <a:gd name="connsiteY3495" fmla="*/ 1333934 h 6858000"/>
              <a:gd name="connsiteX3496" fmla="*/ 1134694 w 12192000"/>
              <a:gd name="connsiteY3496" fmla="*/ 1332203 h 6858000"/>
              <a:gd name="connsiteX3497" fmla="*/ 1136730 w 12192000"/>
              <a:gd name="connsiteY3497" fmla="*/ 1324956 h 6858000"/>
              <a:gd name="connsiteX3498" fmla="*/ 1136730 w 12192000"/>
              <a:gd name="connsiteY3498" fmla="*/ 1181414 h 6858000"/>
              <a:gd name="connsiteX3499" fmla="*/ 1134694 w 12192000"/>
              <a:gd name="connsiteY3499" fmla="*/ 1174167 h 6858000"/>
              <a:gd name="connsiteX3500" fmla="*/ 1126873 w 12192000"/>
              <a:gd name="connsiteY3500" fmla="*/ 1172436 h 6858000"/>
              <a:gd name="connsiteX3501" fmla="*/ 1424720 w 12192000"/>
              <a:gd name="connsiteY3501" fmla="*/ 1168217 h 6858000"/>
              <a:gd name="connsiteX3502" fmla="*/ 1374364 w 12192000"/>
              <a:gd name="connsiteY3502" fmla="*/ 1187796 h 6858000"/>
              <a:gd name="connsiteX3503" fmla="*/ 1356686 w 12192000"/>
              <a:gd name="connsiteY3503" fmla="*/ 1243071 h 6858000"/>
              <a:gd name="connsiteX3504" fmla="*/ 1356686 w 12192000"/>
              <a:gd name="connsiteY3504" fmla="*/ 1267084 h 6858000"/>
              <a:gd name="connsiteX3505" fmla="*/ 1374364 w 12192000"/>
              <a:gd name="connsiteY3505" fmla="*/ 1319763 h 6858000"/>
              <a:gd name="connsiteX3506" fmla="*/ 1424398 w 12192000"/>
              <a:gd name="connsiteY3506" fmla="*/ 1338260 h 6858000"/>
              <a:gd name="connsiteX3507" fmla="*/ 1454183 w 12192000"/>
              <a:gd name="connsiteY3507" fmla="*/ 1333500 h 6858000"/>
              <a:gd name="connsiteX3508" fmla="*/ 1476254 w 12192000"/>
              <a:gd name="connsiteY3508" fmla="*/ 1319763 h 6858000"/>
              <a:gd name="connsiteX3509" fmla="*/ 1485253 w 12192000"/>
              <a:gd name="connsiteY3509" fmla="*/ 1306674 h 6858000"/>
              <a:gd name="connsiteX3510" fmla="*/ 1489110 w 12192000"/>
              <a:gd name="connsiteY3510" fmla="*/ 1292937 h 6858000"/>
              <a:gd name="connsiteX3511" fmla="*/ 1486968 w 12192000"/>
              <a:gd name="connsiteY3511" fmla="*/ 1287420 h 6858000"/>
              <a:gd name="connsiteX3512" fmla="*/ 1479682 w 12192000"/>
              <a:gd name="connsiteY3512" fmla="*/ 1285906 h 6858000"/>
              <a:gd name="connsiteX3513" fmla="*/ 1460719 w 12192000"/>
              <a:gd name="connsiteY3513" fmla="*/ 1285906 h 6858000"/>
              <a:gd name="connsiteX3514" fmla="*/ 1452469 w 12192000"/>
              <a:gd name="connsiteY3514" fmla="*/ 1291098 h 6858000"/>
              <a:gd name="connsiteX3515" fmla="*/ 1425362 w 12192000"/>
              <a:gd name="connsiteY3515" fmla="*/ 1307107 h 6858000"/>
              <a:gd name="connsiteX3516" fmla="*/ 1400506 w 12192000"/>
              <a:gd name="connsiteY3516" fmla="*/ 1297372 h 6858000"/>
              <a:gd name="connsiteX3517" fmla="*/ 1393006 w 12192000"/>
              <a:gd name="connsiteY3517" fmla="*/ 1264596 h 6858000"/>
              <a:gd name="connsiteX3518" fmla="*/ 1393006 w 12192000"/>
              <a:gd name="connsiteY3518" fmla="*/ 1263082 h 6858000"/>
              <a:gd name="connsiteX3519" fmla="*/ 1481504 w 12192000"/>
              <a:gd name="connsiteY3519" fmla="*/ 1263082 h 6858000"/>
              <a:gd name="connsiteX3520" fmla="*/ 1481504 w 12192000"/>
              <a:gd name="connsiteY3520" fmla="*/ 1263190 h 6858000"/>
              <a:gd name="connsiteX3521" fmla="*/ 1489432 w 12192000"/>
              <a:gd name="connsiteY3521" fmla="*/ 1261351 h 6858000"/>
              <a:gd name="connsiteX3522" fmla="*/ 1491253 w 12192000"/>
              <a:gd name="connsiteY3522" fmla="*/ 1254212 h 6858000"/>
              <a:gd name="connsiteX3523" fmla="*/ 1491253 w 12192000"/>
              <a:gd name="connsiteY3523" fmla="*/ 1239717 h 6858000"/>
              <a:gd name="connsiteX3524" fmla="*/ 1474325 w 12192000"/>
              <a:gd name="connsiteY3524" fmla="*/ 1186390 h 6858000"/>
              <a:gd name="connsiteX3525" fmla="*/ 1424720 w 12192000"/>
              <a:gd name="connsiteY3525" fmla="*/ 1168217 h 6858000"/>
              <a:gd name="connsiteX3526" fmla="*/ 1577822 w 12192000"/>
              <a:gd name="connsiteY3526" fmla="*/ 1168109 h 6858000"/>
              <a:gd name="connsiteX3527" fmla="*/ 1533145 w 12192000"/>
              <a:gd name="connsiteY3527" fmla="*/ 1180765 h 6858000"/>
              <a:gd name="connsiteX3528" fmla="*/ 1517074 w 12192000"/>
              <a:gd name="connsiteY3528" fmla="*/ 1216136 h 6858000"/>
              <a:gd name="connsiteX3529" fmla="*/ 1517074 w 12192000"/>
              <a:gd name="connsiteY3529" fmla="*/ 1220463 h 6858000"/>
              <a:gd name="connsiteX3530" fmla="*/ 1556716 w 12192000"/>
              <a:gd name="connsiteY3530" fmla="*/ 1262974 h 6858000"/>
              <a:gd name="connsiteX3531" fmla="*/ 1576858 w 12192000"/>
              <a:gd name="connsiteY3531" fmla="*/ 1268166 h 6858000"/>
              <a:gd name="connsiteX3532" fmla="*/ 1594536 w 12192000"/>
              <a:gd name="connsiteY3532" fmla="*/ 1274115 h 6858000"/>
              <a:gd name="connsiteX3533" fmla="*/ 1602893 w 12192000"/>
              <a:gd name="connsiteY3533" fmla="*/ 1281038 h 6858000"/>
              <a:gd name="connsiteX3534" fmla="*/ 1605143 w 12192000"/>
              <a:gd name="connsiteY3534" fmla="*/ 1291531 h 6858000"/>
              <a:gd name="connsiteX3535" fmla="*/ 1599036 w 12192000"/>
              <a:gd name="connsiteY3535" fmla="*/ 1305376 h 6858000"/>
              <a:gd name="connsiteX3536" fmla="*/ 1578572 w 12192000"/>
              <a:gd name="connsiteY3536" fmla="*/ 1309703 h 6858000"/>
              <a:gd name="connsiteX3537" fmla="*/ 1558430 w 12192000"/>
              <a:gd name="connsiteY3537" fmla="*/ 1305593 h 6858000"/>
              <a:gd name="connsiteX3538" fmla="*/ 1550180 w 12192000"/>
              <a:gd name="connsiteY3538" fmla="*/ 1292180 h 6858000"/>
              <a:gd name="connsiteX3539" fmla="*/ 1541930 w 12192000"/>
              <a:gd name="connsiteY3539" fmla="*/ 1286339 h 6858000"/>
              <a:gd name="connsiteX3540" fmla="*/ 1522967 w 12192000"/>
              <a:gd name="connsiteY3540" fmla="*/ 1286339 h 6858000"/>
              <a:gd name="connsiteX3541" fmla="*/ 1514717 w 12192000"/>
              <a:gd name="connsiteY3541" fmla="*/ 1293153 h 6858000"/>
              <a:gd name="connsiteX3542" fmla="*/ 1526609 w 12192000"/>
              <a:gd name="connsiteY3542" fmla="*/ 1322143 h 6858000"/>
              <a:gd name="connsiteX3543" fmla="*/ 1579429 w 12192000"/>
              <a:gd name="connsiteY3543" fmla="*/ 1338152 h 6858000"/>
              <a:gd name="connsiteX3544" fmla="*/ 1579536 w 12192000"/>
              <a:gd name="connsiteY3544" fmla="*/ 1337936 h 6858000"/>
              <a:gd name="connsiteX3545" fmla="*/ 1624642 w 12192000"/>
              <a:gd name="connsiteY3545" fmla="*/ 1325496 h 6858000"/>
              <a:gd name="connsiteX3546" fmla="*/ 1640820 w 12192000"/>
              <a:gd name="connsiteY3546" fmla="*/ 1290557 h 6858000"/>
              <a:gd name="connsiteX3547" fmla="*/ 1640820 w 12192000"/>
              <a:gd name="connsiteY3547" fmla="*/ 1284392 h 6858000"/>
              <a:gd name="connsiteX3548" fmla="*/ 1603000 w 12192000"/>
              <a:gd name="connsiteY3548" fmla="*/ 1240691 h 6858000"/>
              <a:gd name="connsiteX3549" fmla="*/ 1577072 w 12192000"/>
              <a:gd name="connsiteY3549" fmla="*/ 1233876 h 6858000"/>
              <a:gd name="connsiteX3550" fmla="*/ 1556930 w 12192000"/>
              <a:gd name="connsiteY3550" fmla="*/ 1225547 h 6858000"/>
              <a:gd name="connsiteX3551" fmla="*/ 1551466 w 12192000"/>
              <a:gd name="connsiteY3551" fmla="*/ 1213540 h 6858000"/>
              <a:gd name="connsiteX3552" fmla="*/ 1557894 w 12192000"/>
              <a:gd name="connsiteY3552" fmla="*/ 1200344 h 6858000"/>
              <a:gd name="connsiteX3553" fmla="*/ 1575572 w 12192000"/>
              <a:gd name="connsiteY3553" fmla="*/ 1195692 h 6858000"/>
              <a:gd name="connsiteX3554" fmla="*/ 1604607 w 12192000"/>
              <a:gd name="connsiteY3554" fmla="*/ 1212350 h 6858000"/>
              <a:gd name="connsiteX3555" fmla="*/ 1607071 w 12192000"/>
              <a:gd name="connsiteY3555" fmla="*/ 1217326 h 6858000"/>
              <a:gd name="connsiteX3556" fmla="*/ 1614035 w 12192000"/>
              <a:gd name="connsiteY3556" fmla="*/ 1218516 h 6858000"/>
              <a:gd name="connsiteX3557" fmla="*/ 1629892 w 12192000"/>
              <a:gd name="connsiteY3557" fmla="*/ 1218516 h 6858000"/>
              <a:gd name="connsiteX3558" fmla="*/ 1637713 w 12192000"/>
              <a:gd name="connsiteY3558" fmla="*/ 1217002 h 6858000"/>
              <a:gd name="connsiteX3559" fmla="*/ 1639749 w 12192000"/>
              <a:gd name="connsiteY3559" fmla="*/ 1211161 h 6858000"/>
              <a:gd name="connsiteX3560" fmla="*/ 1628499 w 12192000"/>
              <a:gd name="connsiteY3560" fmla="*/ 1183469 h 6858000"/>
              <a:gd name="connsiteX3561" fmla="*/ 1577822 w 12192000"/>
              <a:gd name="connsiteY3561" fmla="*/ 1168109 h 6858000"/>
              <a:gd name="connsiteX3562" fmla="*/ 1195227 w 12192000"/>
              <a:gd name="connsiteY3562" fmla="*/ 1127113 h 6858000"/>
              <a:gd name="connsiteX3563" fmla="*/ 1187406 w 12192000"/>
              <a:gd name="connsiteY3563" fmla="*/ 1128844 h 6858000"/>
              <a:gd name="connsiteX3564" fmla="*/ 1185370 w 12192000"/>
              <a:gd name="connsiteY3564" fmla="*/ 1136091 h 6858000"/>
              <a:gd name="connsiteX3565" fmla="*/ 1185370 w 12192000"/>
              <a:gd name="connsiteY3565" fmla="*/ 1172436 h 6858000"/>
              <a:gd name="connsiteX3566" fmla="*/ 1169192 w 12192000"/>
              <a:gd name="connsiteY3566" fmla="*/ 1172436 h 6858000"/>
              <a:gd name="connsiteX3567" fmla="*/ 1163085 w 12192000"/>
              <a:gd name="connsiteY3567" fmla="*/ 1174167 h 6858000"/>
              <a:gd name="connsiteX3568" fmla="*/ 1161585 w 12192000"/>
              <a:gd name="connsiteY3568" fmla="*/ 1181090 h 6858000"/>
              <a:gd name="connsiteX3569" fmla="*/ 1161585 w 12192000"/>
              <a:gd name="connsiteY3569" fmla="*/ 1194070 h 6858000"/>
              <a:gd name="connsiteX3570" fmla="*/ 1163085 w 12192000"/>
              <a:gd name="connsiteY3570" fmla="*/ 1200993 h 6858000"/>
              <a:gd name="connsiteX3571" fmla="*/ 1169192 w 12192000"/>
              <a:gd name="connsiteY3571" fmla="*/ 1202724 h 6858000"/>
              <a:gd name="connsiteX3572" fmla="*/ 1185370 w 12192000"/>
              <a:gd name="connsiteY3572" fmla="*/ 1202724 h 6858000"/>
              <a:gd name="connsiteX3573" fmla="*/ 1185370 w 12192000"/>
              <a:gd name="connsiteY3573" fmla="*/ 1285582 h 6858000"/>
              <a:gd name="connsiteX3574" fmla="*/ 1195441 w 12192000"/>
              <a:gd name="connsiteY3574" fmla="*/ 1320845 h 6858000"/>
              <a:gd name="connsiteX3575" fmla="*/ 1232404 w 12192000"/>
              <a:gd name="connsiteY3575" fmla="*/ 1333934 h 6858000"/>
              <a:gd name="connsiteX3576" fmla="*/ 1249547 w 12192000"/>
              <a:gd name="connsiteY3576" fmla="*/ 1333934 h 6858000"/>
              <a:gd name="connsiteX3577" fmla="*/ 1249761 w 12192000"/>
              <a:gd name="connsiteY3577" fmla="*/ 1334042 h 6858000"/>
              <a:gd name="connsiteX3578" fmla="*/ 1255975 w 12192000"/>
              <a:gd name="connsiteY3578" fmla="*/ 1332311 h 6858000"/>
              <a:gd name="connsiteX3579" fmla="*/ 1257368 w 12192000"/>
              <a:gd name="connsiteY3579" fmla="*/ 1325388 h 6858000"/>
              <a:gd name="connsiteX3580" fmla="*/ 1257368 w 12192000"/>
              <a:gd name="connsiteY3580" fmla="*/ 1310893 h 6858000"/>
              <a:gd name="connsiteX3581" fmla="*/ 1255868 w 12192000"/>
              <a:gd name="connsiteY3581" fmla="*/ 1303971 h 6858000"/>
              <a:gd name="connsiteX3582" fmla="*/ 1249761 w 12192000"/>
              <a:gd name="connsiteY3582" fmla="*/ 1302240 h 6858000"/>
              <a:gd name="connsiteX3583" fmla="*/ 1238725 w 12192000"/>
              <a:gd name="connsiteY3583" fmla="*/ 1302240 h 6858000"/>
              <a:gd name="connsiteX3584" fmla="*/ 1225762 w 12192000"/>
              <a:gd name="connsiteY3584" fmla="*/ 1296831 h 6858000"/>
              <a:gd name="connsiteX3585" fmla="*/ 1221905 w 12192000"/>
              <a:gd name="connsiteY3585" fmla="*/ 1280065 h 6858000"/>
              <a:gd name="connsiteX3586" fmla="*/ 1221905 w 12192000"/>
              <a:gd name="connsiteY3586" fmla="*/ 1202724 h 6858000"/>
              <a:gd name="connsiteX3587" fmla="*/ 1249654 w 12192000"/>
              <a:gd name="connsiteY3587" fmla="*/ 1202724 h 6858000"/>
              <a:gd name="connsiteX3588" fmla="*/ 1255761 w 12192000"/>
              <a:gd name="connsiteY3588" fmla="*/ 1200993 h 6858000"/>
              <a:gd name="connsiteX3589" fmla="*/ 1257261 w 12192000"/>
              <a:gd name="connsiteY3589" fmla="*/ 1194070 h 6858000"/>
              <a:gd name="connsiteX3590" fmla="*/ 1257261 w 12192000"/>
              <a:gd name="connsiteY3590" fmla="*/ 1181090 h 6858000"/>
              <a:gd name="connsiteX3591" fmla="*/ 1255761 w 12192000"/>
              <a:gd name="connsiteY3591" fmla="*/ 1174167 h 6858000"/>
              <a:gd name="connsiteX3592" fmla="*/ 1249654 w 12192000"/>
              <a:gd name="connsiteY3592" fmla="*/ 1172436 h 6858000"/>
              <a:gd name="connsiteX3593" fmla="*/ 1221905 w 12192000"/>
              <a:gd name="connsiteY3593" fmla="*/ 1172436 h 6858000"/>
              <a:gd name="connsiteX3594" fmla="*/ 1221905 w 12192000"/>
              <a:gd name="connsiteY3594" fmla="*/ 1136091 h 6858000"/>
              <a:gd name="connsiteX3595" fmla="*/ 1219869 w 12192000"/>
              <a:gd name="connsiteY3595" fmla="*/ 1128844 h 6858000"/>
              <a:gd name="connsiteX3596" fmla="*/ 1212048 w 12192000"/>
              <a:gd name="connsiteY3596" fmla="*/ 1127113 h 6858000"/>
              <a:gd name="connsiteX3597" fmla="*/ 1305152 w 12192000"/>
              <a:gd name="connsiteY3597" fmla="*/ 1110455 h 6858000"/>
              <a:gd name="connsiteX3598" fmla="*/ 1290045 w 12192000"/>
              <a:gd name="connsiteY3598" fmla="*/ 1115214 h 6858000"/>
              <a:gd name="connsiteX3599" fmla="*/ 1284367 w 12192000"/>
              <a:gd name="connsiteY3599" fmla="*/ 1128952 h 6858000"/>
              <a:gd name="connsiteX3600" fmla="*/ 1284367 w 12192000"/>
              <a:gd name="connsiteY3600" fmla="*/ 1135442 h 6858000"/>
              <a:gd name="connsiteX3601" fmla="*/ 1290045 w 12192000"/>
              <a:gd name="connsiteY3601" fmla="*/ 1148963 h 6858000"/>
              <a:gd name="connsiteX3602" fmla="*/ 1305152 w 12192000"/>
              <a:gd name="connsiteY3602" fmla="*/ 1153939 h 6858000"/>
              <a:gd name="connsiteX3603" fmla="*/ 1320580 w 12192000"/>
              <a:gd name="connsiteY3603" fmla="*/ 1148963 h 6858000"/>
              <a:gd name="connsiteX3604" fmla="*/ 1326259 w 12192000"/>
              <a:gd name="connsiteY3604" fmla="*/ 1135442 h 6858000"/>
              <a:gd name="connsiteX3605" fmla="*/ 1326259 w 12192000"/>
              <a:gd name="connsiteY3605" fmla="*/ 1128952 h 6858000"/>
              <a:gd name="connsiteX3606" fmla="*/ 1320580 w 12192000"/>
              <a:gd name="connsiteY3606" fmla="*/ 1115214 h 6858000"/>
              <a:gd name="connsiteX3607" fmla="*/ 1305152 w 12192000"/>
              <a:gd name="connsiteY3607" fmla="*/ 1110455 h 6858000"/>
              <a:gd name="connsiteX3608" fmla="*/ 1118730 w 12192000"/>
              <a:gd name="connsiteY3608" fmla="*/ 1110455 h 6858000"/>
              <a:gd name="connsiteX3609" fmla="*/ 1103623 w 12192000"/>
              <a:gd name="connsiteY3609" fmla="*/ 1115214 h 6858000"/>
              <a:gd name="connsiteX3610" fmla="*/ 1097945 w 12192000"/>
              <a:gd name="connsiteY3610" fmla="*/ 1128952 h 6858000"/>
              <a:gd name="connsiteX3611" fmla="*/ 1097945 w 12192000"/>
              <a:gd name="connsiteY3611" fmla="*/ 1135442 h 6858000"/>
              <a:gd name="connsiteX3612" fmla="*/ 1103623 w 12192000"/>
              <a:gd name="connsiteY3612" fmla="*/ 1148963 h 6858000"/>
              <a:gd name="connsiteX3613" fmla="*/ 1118730 w 12192000"/>
              <a:gd name="connsiteY3613" fmla="*/ 1153939 h 6858000"/>
              <a:gd name="connsiteX3614" fmla="*/ 1134158 w 12192000"/>
              <a:gd name="connsiteY3614" fmla="*/ 1148963 h 6858000"/>
              <a:gd name="connsiteX3615" fmla="*/ 1139837 w 12192000"/>
              <a:gd name="connsiteY3615" fmla="*/ 1135442 h 6858000"/>
              <a:gd name="connsiteX3616" fmla="*/ 1139837 w 12192000"/>
              <a:gd name="connsiteY3616" fmla="*/ 1128952 h 6858000"/>
              <a:gd name="connsiteX3617" fmla="*/ 1134158 w 12192000"/>
              <a:gd name="connsiteY3617" fmla="*/ 1115214 h 6858000"/>
              <a:gd name="connsiteX3618" fmla="*/ 1118730 w 12192000"/>
              <a:gd name="connsiteY3618" fmla="*/ 1110455 h 6858000"/>
              <a:gd name="connsiteX3619" fmla="*/ 995949 w 12192000"/>
              <a:gd name="connsiteY3619" fmla="*/ 1109697 h 6858000"/>
              <a:gd name="connsiteX3620" fmla="*/ 949557 w 12192000"/>
              <a:gd name="connsiteY3620" fmla="*/ 1121271 h 6858000"/>
              <a:gd name="connsiteX3621" fmla="*/ 922452 w 12192000"/>
              <a:gd name="connsiteY3621" fmla="*/ 1154696 h 6858000"/>
              <a:gd name="connsiteX3622" fmla="*/ 917094 w 12192000"/>
              <a:gd name="connsiteY3622" fmla="*/ 1175681 h 6858000"/>
              <a:gd name="connsiteX3623" fmla="*/ 915380 w 12192000"/>
              <a:gd name="connsiteY3623" fmla="*/ 1203372 h 6858000"/>
              <a:gd name="connsiteX3624" fmla="*/ 915380 w 12192000"/>
              <a:gd name="connsiteY3624" fmla="*/ 1248371 h 6858000"/>
              <a:gd name="connsiteX3625" fmla="*/ 916880 w 12192000"/>
              <a:gd name="connsiteY3625" fmla="*/ 1277144 h 6858000"/>
              <a:gd name="connsiteX3626" fmla="*/ 922344 w 12192000"/>
              <a:gd name="connsiteY3626" fmla="*/ 1297047 h 6858000"/>
              <a:gd name="connsiteX3627" fmla="*/ 991878 w 12192000"/>
              <a:gd name="connsiteY3627" fmla="*/ 1338909 h 6858000"/>
              <a:gd name="connsiteX3628" fmla="*/ 1052946 w 12192000"/>
              <a:gd name="connsiteY3628" fmla="*/ 1317924 h 6858000"/>
              <a:gd name="connsiteX3629" fmla="*/ 1066017 w 12192000"/>
              <a:gd name="connsiteY3629" fmla="*/ 1297263 h 6858000"/>
              <a:gd name="connsiteX3630" fmla="*/ 1069981 w 12192000"/>
              <a:gd name="connsiteY3630" fmla="*/ 1269788 h 6858000"/>
              <a:gd name="connsiteX3631" fmla="*/ 1067946 w 12192000"/>
              <a:gd name="connsiteY3631" fmla="*/ 1263190 h 6858000"/>
              <a:gd name="connsiteX3632" fmla="*/ 1060124 w 12192000"/>
              <a:gd name="connsiteY3632" fmla="*/ 1261459 h 6858000"/>
              <a:gd name="connsiteX3633" fmla="*/ 1041805 w 12192000"/>
              <a:gd name="connsiteY3633" fmla="*/ 1261459 h 6858000"/>
              <a:gd name="connsiteX3634" fmla="*/ 1034305 w 12192000"/>
              <a:gd name="connsiteY3634" fmla="*/ 1262974 h 6858000"/>
              <a:gd name="connsiteX3635" fmla="*/ 1032055 w 12192000"/>
              <a:gd name="connsiteY3635" fmla="*/ 1269139 h 6858000"/>
              <a:gd name="connsiteX3636" fmla="*/ 1032269 w 12192000"/>
              <a:gd name="connsiteY3636" fmla="*/ 1269247 h 6858000"/>
              <a:gd name="connsiteX3637" fmla="*/ 1022305 w 12192000"/>
              <a:gd name="connsiteY3637" fmla="*/ 1296939 h 6858000"/>
              <a:gd name="connsiteX3638" fmla="*/ 993806 w 12192000"/>
              <a:gd name="connsiteY3638" fmla="*/ 1305917 h 6858000"/>
              <a:gd name="connsiteX3639" fmla="*/ 962950 w 12192000"/>
              <a:gd name="connsiteY3639" fmla="*/ 1292828 h 6858000"/>
              <a:gd name="connsiteX3640" fmla="*/ 953522 w 12192000"/>
              <a:gd name="connsiteY3640" fmla="*/ 1250210 h 6858000"/>
              <a:gd name="connsiteX3641" fmla="*/ 953522 w 12192000"/>
              <a:gd name="connsiteY3641" fmla="*/ 1198504 h 6858000"/>
              <a:gd name="connsiteX3642" fmla="*/ 962629 w 12192000"/>
              <a:gd name="connsiteY3642" fmla="*/ 1155236 h 6858000"/>
              <a:gd name="connsiteX3643" fmla="*/ 994020 w 12192000"/>
              <a:gd name="connsiteY3643" fmla="*/ 1142472 h 6858000"/>
              <a:gd name="connsiteX3644" fmla="*/ 1022520 w 12192000"/>
              <a:gd name="connsiteY3644" fmla="*/ 1150910 h 6858000"/>
              <a:gd name="connsiteX3645" fmla="*/ 1031519 w 12192000"/>
              <a:gd name="connsiteY3645" fmla="*/ 1178493 h 6858000"/>
              <a:gd name="connsiteX3646" fmla="*/ 1033769 w 12192000"/>
              <a:gd name="connsiteY3646" fmla="*/ 1184659 h 6858000"/>
              <a:gd name="connsiteX3647" fmla="*/ 1041269 w 12192000"/>
              <a:gd name="connsiteY3647" fmla="*/ 1186173 h 6858000"/>
              <a:gd name="connsiteX3648" fmla="*/ 1060232 w 12192000"/>
              <a:gd name="connsiteY3648" fmla="*/ 1186173 h 6858000"/>
              <a:gd name="connsiteX3649" fmla="*/ 1068053 w 12192000"/>
              <a:gd name="connsiteY3649" fmla="*/ 1184442 h 6858000"/>
              <a:gd name="connsiteX3650" fmla="*/ 1070088 w 12192000"/>
              <a:gd name="connsiteY3650" fmla="*/ 1177844 h 6858000"/>
              <a:gd name="connsiteX3651" fmla="*/ 1066446 w 12192000"/>
              <a:gd name="connsiteY3651" fmla="*/ 1151018 h 6858000"/>
              <a:gd name="connsiteX3652" fmla="*/ 1053910 w 12192000"/>
              <a:gd name="connsiteY3652" fmla="*/ 1130357 h 6858000"/>
              <a:gd name="connsiteX3653" fmla="*/ 995949 w 12192000"/>
              <a:gd name="connsiteY3653" fmla="*/ 1109697 h 6858000"/>
              <a:gd name="connsiteX3654" fmla="*/ 1737975 w 12192000"/>
              <a:gd name="connsiteY3654" fmla="*/ 995380 h 6858000"/>
              <a:gd name="connsiteX3655" fmla="*/ 1737975 w 12192000"/>
              <a:gd name="connsiteY3655" fmla="*/ 1330732 h 6858000"/>
              <a:gd name="connsiteX3656" fmla="*/ 1633114 w 12192000"/>
              <a:gd name="connsiteY3656" fmla="*/ 1434986 h 6858000"/>
              <a:gd name="connsiteX3657" fmla="*/ 1310307 w 12192000"/>
              <a:gd name="connsiteY3657" fmla="*/ 1434986 h 6858000"/>
              <a:gd name="connsiteX3658" fmla="*/ 1310307 w 12192000"/>
              <a:gd name="connsiteY3658" fmla="*/ 1566285 h 6858000"/>
              <a:gd name="connsiteX3659" fmla="*/ 1633114 w 12192000"/>
              <a:gd name="connsiteY3659" fmla="*/ 1566285 h 6858000"/>
              <a:gd name="connsiteX3660" fmla="*/ 1870173 w 12192000"/>
              <a:gd name="connsiteY3660" fmla="*/ 1331263 h 6858000"/>
              <a:gd name="connsiteX3661" fmla="*/ 1870173 w 12192000"/>
              <a:gd name="connsiteY3661" fmla="*/ 995380 h 6858000"/>
              <a:gd name="connsiteX3662" fmla="*/ 1294438 w 12192000"/>
              <a:gd name="connsiteY3662" fmla="*/ 902011 h 6858000"/>
              <a:gd name="connsiteX3663" fmla="*/ 1316723 w 12192000"/>
              <a:gd name="connsiteY3663" fmla="*/ 911098 h 6858000"/>
              <a:gd name="connsiteX3664" fmla="*/ 1323687 w 12192000"/>
              <a:gd name="connsiteY3664" fmla="*/ 939546 h 6858000"/>
              <a:gd name="connsiteX3665" fmla="*/ 1262403 w 12192000"/>
              <a:gd name="connsiteY3665" fmla="*/ 939546 h 6858000"/>
              <a:gd name="connsiteX3666" fmla="*/ 1270439 w 12192000"/>
              <a:gd name="connsiteY3666" fmla="*/ 910773 h 6858000"/>
              <a:gd name="connsiteX3667" fmla="*/ 1294438 w 12192000"/>
              <a:gd name="connsiteY3667" fmla="*/ 902011 h 6858000"/>
              <a:gd name="connsiteX3668" fmla="*/ 756812 w 12192000"/>
              <a:gd name="connsiteY3668" fmla="*/ 902011 h 6858000"/>
              <a:gd name="connsiteX3669" fmla="*/ 779098 w 12192000"/>
              <a:gd name="connsiteY3669" fmla="*/ 911098 h 6858000"/>
              <a:gd name="connsiteX3670" fmla="*/ 786062 w 12192000"/>
              <a:gd name="connsiteY3670" fmla="*/ 939546 h 6858000"/>
              <a:gd name="connsiteX3671" fmla="*/ 724780 w 12192000"/>
              <a:gd name="connsiteY3671" fmla="*/ 939546 h 6858000"/>
              <a:gd name="connsiteX3672" fmla="*/ 732814 w 12192000"/>
              <a:gd name="connsiteY3672" fmla="*/ 910773 h 6858000"/>
              <a:gd name="connsiteX3673" fmla="*/ 756812 w 12192000"/>
              <a:gd name="connsiteY3673" fmla="*/ 902011 h 6858000"/>
              <a:gd name="connsiteX3674" fmla="*/ 1165871 w 12192000"/>
              <a:gd name="connsiteY3674" fmla="*/ 876700 h 6858000"/>
              <a:gd name="connsiteX3675" fmla="*/ 1158050 w 12192000"/>
              <a:gd name="connsiteY3675" fmla="*/ 878431 h 6858000"/>
              <a:gd name="connsiteX3676" fmla="*/ 1156014 w 12192000"/>
              <a:gd name="connsiteY3676" fmla="*/ 885678 h 6858000"/>
              <a:gd name="connsiteX3677" fmla="*/ 1156014 w 12192000"/>
              <a:gd name="connsiteY3677" fmla="*/ 1029220 h 6858000"/>
              <a:gd name="connsiteX3678" fmla="*/ 1158050 w 12192000"/>
              <a:gd name="connsiteY3678" fmla="*/ 1036467 h 6858000"/>
              <a:gd name="connsiteX3679" fmla="*/ 1165871 w 12192000"/>
              <a:gd name="connsiteY3679" fmla="*/ 1038198 h 6858000"/>
              <a:gd name="connsiteX3680" fmla="*/ 1182692 w 12192000"/>
              <a:gd name="connsiteY3680" fmla="*/ 1038198 h 6858000"/>
              <a:gd name="connsiteX3681" fmla="*/ 1190513 w 12192000"/>
              <a:gd name="connsiteY3681" fmla="*/ 1036467 h 6858000"/>
              <a:gd name="connsiteX3682" fmla="*/ 1192548 w 12192000"/>
              <a:gd name="connsiteY3682" fmla="*/ 1029220 h 6858000"/>
              <a:gd name="connsiteX3683" fmla="*/ 1192548 w 12192000"/>
              <a:gd name="connsiteY3683" fmla="*/ 885678 h 6858000"/>
              <a:gd name="connsiteX3684" fmla="*/ 1190513 w 12192000"/>
              <a:gd name="connsiteY3684" fmla="*/ 878431 h 6858000"/>
              <a:gd name="connsiteX3685" fmla="*/ 1182692 w 12192000"/>
              <a:gd name="connsiteY3685" fmla="*/ 876700 h 6858000"/>
              <a:gd name="connsiteX3686" fmla="*/ 1013948 w 12192000"/>
              <a:gd name="connsiteY3686" fmla="*/ 876700 h 6858000"/>
              <a:gd name="connsiteX3687" fmla="*/ 1006127 w 12192000"/>
              <a:gd name="connsiteY3687" fmla="*/ 878431 h 6858000"/>
              <a:gd name="connsiteX3688" fmla="*/ 1004091 w 12192000"/>
              <a:gd name="connsiteY3688" fmla="*/ 885678 h 6858000"/>
              <a:gd name="connsiteX3689" fmla="*/ 1004091 w 12192000"/>
              <a:gd name="connsiteY3689" fmla="*/ 1029220 h 6858000"/>
              <a:gd name="connsiteX3690" fmla="*/ 1006127 w 12192000"/>
              <a:gd name="connsiteY3690" fmla="*/ 1036467 h 6858000"/>
              <a:gd name="connsiteX3691" fmla="*/ 1013948 w 12192000"/>
              <a:gd name="connsiteY3691" fmla="*/ 1038198 h 6858000"/>
              <a:gd name="connsiteX3692" fmla="*/ 1030769 w 12192000"/>
              <a:gd name="connsiteY3692" fmla="*/ 1038198 h 6858000"/>
              <a:gd name="connsiteX3693" fmla="*/ 1038590 w 12192000"/>
              <a:gd name="connsiteY3693" fmla="*/ 1036467 h 6858000"/>
              <a:gd name="connsiteX3694" fmla="*/ 1040625 w 12192000"/>
              <a:gd name="connsiteY3694" fmla="*/ 1029220 h 6858000"/>
              <a:gd name="connsiteX3695" fmla="*/ 1040625 w 12192000"/>
              <a:gd name="connsiteY3695" fmla="*/ 885678 h 6858000"/>
              <a:gd name="connsiteX3696" fmla="*/ 1038590 w 12192000"/>
              <a:gd name="connsiteY3696" fmla="*/ 878431 h 6858000"/>
              <a:gd name="connsiteX3697" fmla="*/ 1030769 w 12192000"/>
              <a:gd name="connsiteY3697" fmla="*/ 876700 h 6858000"/>
              <a:gd name="connsiteX3698" fmla="*/ 1473040 w 12192000"/>
              <a:gd name="connsiteY3698" fmla="*/ 872481 h 6858000"/>
              <a:gd name="connsiteX3699" fmla="*/ 1447541 w 12192000"/>
              <a:gd name="connsiteY3699" fmla="*/ 877673 h 6858000"/>
              <a:gd name="connsiteX3700" fmla="*/ 1429113 w 12192000"/>
              <a:gd name="connsiteY3700" fmla="*/ 892168 h 6858000"/>
              <a:gd name="connsiteX3701" fmla="*/ 1429113 w 12192000"/>
              <a:gd name="connsiteY3701" fmla="*/ 885678 h 6858000"/>
              <a:gd name="connsiteX3702" fmla="*/ 1427077 w 12192000"/>
              <a:gd name="connsiteY3702" fmla="*/ 878430 h 6858000"/>
              <a:gd name="connsiteX3703" fmla="*/ 1419256 w 12192000"/>
              <a:gd name="connsiteY3703" fmla="*/ 876700 h 6858000"/>
              <a:gd name="connsiteX3704" fmla="*/ 1403078 w 12192000"/>
              <a:gd name="connsiteY3704" fmla="*/ 876700 h 6858000"/>
              <a:gd name="connsiteX3705" fmla="*/ 1395257 w 12192000"/>
              <a:gd name="connsiteY3705" fmla="*/ 878430 h 6858000"/>
              <a:gd name="connsiteX3706" fmla="*/ 1393221 w 12192000"/>
              <a:gd name="connsiteY3706" fmla="*/ 885678 h 6858000"/>
              <a:gd name="connsiteX3707" fmla="*/ 1393221 w 12192000"/>
              <a:gd name="connsiteY3707" fmla="*/ 1029111 h 6858000"/>
              <a:gd name="connsiteX3708" fmla="*/ 1395257 w 12192000"/>
              <a:gd name="connsiteY3708" fmla="*/ 1036358 h 6858000"/>
              <a:gd name="connsiteX3709" fmla="*/ 1403078 w 12192000"/>
              <a:gd name="connsiteY3709" fmla="*/ 1038089 h 6858000"/>
              <a:gd name="connsiteX3710" fmla="*/ 1419899 w 12192000"/>
              <a:gd name="connsiteY3710" fmla="*/ 1038089 h 6858000"/>
              <a:gd name="connsiteX3711" fmla="*/ 1427720 w 12192000"/>
              <a:gd name="connsiteY3711" fmla="*/ 1036358 h 6858000"/>
              <a:gd name="connsiteX3712" fmla="*/ 1429756 w 12192000"/>
              <a:gd name="connsiteY3712" fmla="*/ 1029111 h 6858000"/>
              <a:gd name="connsiteX3713" fmla="*/ 1429756 w 12192000"/>
              <a:gd name="connsiteY3713" fmla="*/ 938897 h 6858000"/>
              <a:gd name="connsiteX3714" fmla="*/ 1438112 w 12192000"/>
              <a:gd name="connsiteY3714" fmla="*/ 913477 h 6858000"/>
              <a:gd name="connsiteX3715" fmla="*/ 1461147 w 12192000"/>
              <a:gd name="connsiteY3715" fmla="*/ 904391 h 6858000"/>
              <a:gd name="connsiteX3716" fmla="*/ 1481718 w 12192000"/>
              <a:gd name="connsiteY3716" fmla="*/ 911963 h 6858000"/>
              <a:gd name="connsiteX3717" fmla="*/ 1487397 w 12192000"/>
              <a:gd name="connsiteY3717" fmla="*/ 933705 h 6858000"/>
              <a:gd name="connsiteX3718" fmla="*/ 1487397 w 12192000"/>
              <a:gd name="connsiteY3718" fmla="*/ 1029219 h 6858000"/>
              <a:gd name="connsiteX3719" fmla="*/ 1489432 w 12192000"/>
              <a:gd name="connsiteY3719" fmla="*/ 1036466 h 6858000"/>
              <a:gd name="connsiteX3720" fmla="*/ 1497253 w 12192000"/>
              <a:gd name="connsiteY3720" fmla="*/ 1038197 h 6858000"/>
              <a:gd name="connsiteX3721" fmla="*/ 1514074 w 12192000"/>
              <a:gd name="connsiteY3721" fmla="*/ 1038197 h 6858000"/>
              <a:gd name="connsiteX3722" fmla="*/ 1521896 w 12192000"/>
              <a:gd name="connsiteY3722" fmla="*/ 1036466 h 6858000"/>
              <a:gd name="connsiteX3723" fmla="*/ 1523931 w 12192000"/>
              <a:gd name="connsiteY3723" fmla="*/ 1029219 h 6858000"/>
              <a:gd name="connsiteX3724" fmla="*/ 1523931 w 12192000"/>
              <a:gd name="connsiteY3724" fmla="*/ 928188 h 6858000"/>
              <a:gd name="connsiteX3725" fmla="*/ 1511396 w 12192000"/>
              <a:gd name="connsiteY3725" fmla="*/ 887408 h 6858000"/>
              <a:gd name="connsiteX3726" fmla="*/ 1473254 w 12192000"/>
              <a:gd name="connsiteY3726" fmla="*/ 872481 h 6858000"/>
              <a:gd name="connsiteX3727" fmla="*/ 1294117 w 12192000"/>
              <a:gd name="connsiteY3727" fmla="*/ 872481 h 6858000"/>
              <a:gd name="connsiteX3728" fmla="*/ 1243761 w 12192000"/>
              <a:gd name="connsiteY3728" fmla="*/ 892060 h 6858000"/>
              <a:gd name="connsiteX3729" fmla="*/ 1226083 w 12192000"/>
              <a:gd name="connsiteY3729" fmla="*/ 947335 h 6858000"/>
              <a:gd name="connsiteX3730" fmla="*/ 1226083 w 12192000"/>
              <a:gd name="connsiteY3730" fmla="*/ 971348 h 6858000"/>
              <a:gd name="connsiteX3731" fmla="*/ 1243761 w 12192000"/>
              <a:gd name="connsiteY3731" fmla="*/ 1024027 h 6858000"/>
              <a:gd name="connsiteX3732" fmla="*/ 1293795 w 12192000"/>
              <a:gd name="connsiteY3732" fmla="*/ 1042524 h 6858000"/>
              <a:gd name="connsiteX3733" fmla="*/ 1323580 w 12192000"/>
              <a:gd name="connsiteY3733" fmla="*/ 1037764 h 6858000"/>
              <a:gd name="connsiteX3734" fmla="*/ 1345651 w 12192000"/>
              <a:gd name="connsiteY3734" fmla="*/ 1024027 h 6858000"/>
              <a:gd name="connsiteX3735" fmla="*/ 1354650 w 12192000"/>
              <a:gd name="connsiteY3735" fmla="*/ 1010938 h 6858000"/>
              <a:gd name="connsiteX3736" fmla="*/ 1358507 w 12192000"/>
              <a:gd name="connsiteY3736" fmla="*/ 997201 h 6858000"/>
              <a:gd name="connsiteX3737" fmla="*/ 1356365 w 12192000"/>
              <a:gd name="connsiteY3737" fmla="*/ 991684 h 6858000"/>
              <a:gd name="connsiteX3738" fmla="*/ 1349079 w 12192000"/>
              <a:gd name="connsiteY3738" fmla="*/ 990170 h 6858000"/>
              <a:gd name="connsiteX3739" fmla="*/ 1330115 w 12192000"/>
              <a:gd name="connsiteY3739" fmla="*/ 990170 h 6858000"/>
              <a:gd name="connsiteX3740" fmla="*/ 1321866 w 12192000"/>
              <a:gd name="connsiteY3740" fmla="*/ 995362 h 6858000"/>
              <a:gd name="connsiteX3741" fmla="*/ 1294759 w 12192000"/>
              <a:gd name="connsiteY3741" fmla="*/ 1011371 h 6858000"/>
              <a:gd name="connsiteX3742" fmla="*/ 1269903 w 12192000"/>
              <a:gd name="connsiteY3742" fmla="*/ 1001636 h 6858000"/>
              <a:gd name="connsiteX3743" fmla="*/ 1262403 w 12192000"/>
              <a:gd name="connsiteY3743" fmla="*/ 968860 h 6858000"/>
              <a:gd name="connsiteX3744" fmla="*/ 1262403 w 12192000"/>
              <a:gd name="connsiteY3744" fmla="*/ 967346 h 6858000"/>
              <a:gd name="connsiteX3745" fmla="*/ 1350901 w 12192000"/>
              <a:gd name="connsiteY3745" fmla="*/ 967346 h 6858000"/>
              <a:gd name="connsiteX3746" fmla="*/ 1350901 w 12192000"/>
              <a:gd name="connsiteY3746" fmla="*/ 967454 h 6858000"/>
              <a:gd name="connsiteX3747" fmla="*/ 1358829 w 12192000"/>
              <a:gd name="connsiteY3747" fmla="*/ 965615 h 6858000"/>
              <a:gd name="connsiteX3748" fmla="*/ 1360650 w 12192000"/>
              <a:gd name="connsiteY3748" fmla="*/ 958476 h 6858000"/>
              <a:gd name="connsiteX3749" fmla="*/ 1360650 w 12192000"/>
              <a:gd name="connsiteY3749" fmla="*/ 943981 h 6858000"/>
              <a:gd name="connsiteX3750" fmla="*/ 1343722 w 12192000"/>
              <a:gd name="connsiteY3750" fmla="*/ 890654 h 6858000"/>
              <a:gd name="connsiteX3751" fmla="*/ 1294117 w 12192000"/>
              <a:gd name="connsiteY3751" fmla="*/ 872481 h 6858000"/>
              <a:gd name="connsiteX3752" fmla="*/ 756492 w 12192000"/>
              <a:gd name="connsiteY3752" fmla="*/ 872481 h 6858000"/>
              <a:gd name="connsiteX3753" fmla="*/ 706136 w 12192000"/>
              <a:gd name="connsiteY3753" fmla="*/ 892060 h 6858000"/>
              <a:gd name="connsiteX3754" fmla="*/ 688460 w 12192000"/>
              <a:gd name="connsiteY3754" fmla="*/ 947335 h 6858000"/>
              <a:gd name="connsiteX3755" fmla="*/ 688460 w 12192000"/>
              <a:gd name="connsiteY3755" fmla="*/ 971348 h 6858000"/>
              <a:gd name="connsiteX3756" fmla="*/ 706136 w 12192000"/>
              <a:gd name="connsiteY3756" fmla="*/ 1024027 h 6858000"/>
              <a:gd name="connsiteX3757" fmla="*/ 756172 w 12192000"/>
              <a:gd name="connsiteY3757" fmla="*/ 1042524 h 6858000"/>
              <a:gd name="connsiteX3758" fmla="*/ 785956 w 12192000"/>
              <a:gd name="connsiteY3758" fmla="*/ 1037764 h 6858000"/>
              <a:gd name="connsiteX3759" fmla="*/ 808026 w 12192000"/>
              <a:gd name="connsiteY3759" fmla="*/ 1024027 h 6858000"/>
              <a:gd name="connsiteX3760" fmla="*/ 817024 w 12192000"/>
              <a:gd name="connsiteY3760" fmla="*/ 1010938 h 6858000"/>
              <a:gd name="connsiteX3761" fmla="*/ 820882 w 12192000"/>
              <a:gd name="connsiteY3761" fmla="*/ 997201 h 6858000"/>
              <a:gd name="connsiteX3762" fmla="*/ 818740 w 12192000"/>
              <a:gd name="connsiteY3762" fmla="*/ 991684 h 6858000"/>
              <a:gd name="connsiteX3763" fmla="*/ 811454 w 12192000"/>
              <a:gd name="connsiteY3763" fmla="*/ 990170 h 6858000"/>
              <a:gd name="connsiteX3764" fmla="*/ 792490 w 12192000"/>
              <a:gd name="connsiteY3764" fmla="*/ 990170 h 6858000"/>
              <a:gd name="connsiteX3765" fmla="*/ 784242 w 12192000"/>
              <a:gd name="connsiteY3765" fmla="*/ 995362 h 6858000"/>
              <a:gd name="connsiteX3766" fmla="*/ 757134 w 12192000"/>
              <a:gd name="connsiteY3766" fmla="*/ 1011371 h 6858000"/>
              <a:gd name="connsiteX3767" fmla="*/ 732278 w 12192000"/>
              <a:gd name="connsiteY3767" fmla="*/ 1001636 h 6858000"/>
              <a:gd name="connsiteX3768" fmla="*/ 724780 w 12192000"/>
              <a:gd name="connsiteY3768" fmla="*/ 968860 h 6858000"/>
              <a:gd name="connsiteX3769" fmla="*/ 724780 w 12192000"/>
              <a:gd name="connsiteY3769" fmla="*/ 967346 h 6858000"/>
              <a:gd name="connsiteX3770" fmla="*/ 813276 w 12192000"/>
              <a:gd name="connsiteY3770" fmla="*/ 967346 h 6858000"/>
              <a:gd name="connsiteX3771" fmla="*/ 813276 w 12192000"/>
              <a:gd name="connsiteY3771" fmla="*/ 967454 h 6858000"/>
              <a:gd name="connsiteX3772" fmla="*/ 821204 w 12192000"/>
              <a:gd name="connsiteY3772" fmla="*/ 965615 h 6858000"/>
              <a:gd name="connsiteX3773" fmla="*/ 823024 w 12192000"/>
              <a:gd name="connsiteY3773" fmla="*/ 958476 h 6858000"/>
              <a:gd name="connsiteX3774" fmla="*/ 823024 w 12192000"/>
              <a:gd name="connsiteY3774" fmla="*/ 943981 h 6858000"/>
              <a:gd name="connsiteX3775" fmla="*/ 806096 w 12192000"/>
              <a:gd name="connsiteY3775" fmla="*/ 890654 h 6858000"/>
              <a:gd name="connsiteX3776" fmla="*/ 756492 w 12192000"/>
              <a:gd name="connsiteY3776" fmla="*/ 872481 h 6858000"/>
              <a:gd name="connsiteX3777" fmla="*/ 909594 w 12192000"/>
              <a:gd name="connsiteY3777" fmla="*/ 872373 h 6858000"/>
              <a:gd name="connsiteX3778" fmla="*/ 864916 w 12192000"/>
              <a:gd name="connsiteY3778" fmla="*/ 885029 h 6858000"/>
              <a:gd name="connsiteX3779" fmla="*/ 848846 w 12192000"/>
              <a:gd name="connsiteY3779" fmla="*/ 920400 h 6858000"/>
              <a:gd name="connsiteX3780" fmla="*/ 848846 w 12192000"/>
              <a:gd name="connsiteY3780" fmla="*/ 924727 h 6858000"/>
              <a:gd name="connsiteX3781" fmla="*/ 888488 w 12192000"/>
              <a:gd name="connsiteY3781" fmla="*/ 967238 h 6858000"/>
              <a:gd name="connsiteX3782" fmla="*/ 908632 w 12192000"/>
              <a:gd name="connsiteY3782" fmla="*/ 972430 h 6858000"/>
              <a:gd name="connsiteX3783" fmla="*/ 926308 w 12192000"/>
              <a:gd name="connsiteY3783" fmla="*/ 978379 h 6858000"/>
              <a:gd name="connsiteX3784" fmla="*/ 934664 w 12192000"/>
              <a:gd name="connsiteY3784" fmla="*/ 985302 h 6858000"/>
              <a:gd name="connsiteX3785" fmla="*/ 936915 w 12192000"/>
              <a:gd name="connsiteY3785" fmla="*/ 995795 h 6858000"/>
              <a:gd name="connsiteX3786" fmla="*/ 930808 w 12192000"/>
              <a:gd name="connsiteY3786" fmla="*/ 1009640 h 6858000"/>
              <a:gd name="connsiteX3787" fmla="*/ 910344 w 12192000"/>
              <a:gd name="connsiteY3787" fmla="*/ 1013967 h 6858000"/>
              <a:gd name="connsiteX3788" fmla="*/ 890202 w 12192000"/>
              <a:gd name="connsiteY3788" fmla="*/ 1009857 h 6858000"/>
              <a:gd name="connsiteX3789" fmla="*/ 881952 w 12192000"/>
              <a:gd name="connsiteY3789" fmla="*/ 996444 h 6858000"/>
              <a:gd name="connsiteX3790" fmla="*/ 873704 w 12192000"/>
              <a:gd name="connsiteY3790" fmla="*/ 990603 h 6858000"/>
              <a:gd name="connsiteX3791" fmla="*/ 854740 w 12192000"/>
              <a:gd name="connsiteY3791" fmla="*/ 990603 h 6858000"/>
              <a:gd name="connsiteX3792" fmla="*/ 846488 w 12192000"/>
              <a:gd name="connsiteY3792" fmla="*/ 997417 h 6858000"/>
              <a:gd name="connsiteX3793" fmla="*/ 858380 w 12192000"/>
              <a:gd name="connsiteY3793" fmla="*/ 1026407 h 6858000"/>
              <a:gd name="connsiteX3794" fmla="*/ 911200 w 12192000"/>
              <a:gd name="connsiteY3794" fmla="*/ 1042416 h 6858000"/>
              <a:gd name="connsiteX3795" fmla="*/ 911308 w 12192000"/>
              <a:gd name="connsiteY3795" fmla="*/ 1042200 h 6858000"/>
              <a:gd name="connsiteX3796" fmla="*/ 956414 w 12192000"/>
              <a:gd name="connsiteY3796" fmla="*/ 1029760 h 6858000"/>
              <a:gd name="connsiteX3797" fmla="*/ 972593 w 12192000"/>
              <a:gd name="connsiteY3797" fmla="*/ 994821 h 6858000"/>
              <a:gd name="connsiteX3798" fmla="*/ 972593 w 12192000"/>
              <a:gd name="connsiteY3798" fmla="*/ 988656 h 6858000"/>
              <a:gd name="connsiteX3799" fmla="*/ 934772 w 12192000"/>
              <a:gd name="connsiteY3799" fmla="*/ 944955 h 6858000"/>
              <a:gd name="connsiteX3800" fmla="*/ 908844 w 12192000"/>
              <a:gd name="connsiteY3800" fmla="*/ 938140 h 6858000"/>
              <a:gd name="connsiteX3801" fmla="*/ 888702 w 12192000"/>
              <a:gd name="connsiteY3801" fmla="*/ 929811 h 6858000"/>
              <a:gd name="connsiteX3802" fmla="*/ 883238 w 12192000"/>
              <a:gd name="connsiteY3802" fmla="*/ 917804 h 6858000"/>
              <a:gd name="connsiteX3803" fmla="*/ 889666 w 12192000"/>
              <a:gd name="connsiteY3803" fmla="*/ 904608 h 6858000"/>
              <a:gd name="connsiteX3804" fmla="*/ 907344 w 12192000"/>
              <a:gd name="connsiteY3804" fmla="*/ 899956 h 6858000"/>
              <a:gd name="connsiteX3805" fmla="*/ 936380 w 12192000"/>
              <a:gd name="connsiteY3805" fmla="*/ 916614 h 6858000"/>
              <a:gd name="connsiteX3806" fmla="*/ 938843 w 12192000"/>
              <a:gd name="connsiteY3806" fmla="*/ 921590 h 6858000"/>
              <a:gd name="connsiteX3807" fmla="*/ 945807 w 12192000"/>
              <a:gd name="connsiteY3807" fmla="*/ 922780 h 6858000"/>
              <a:gd name="connsiteX3808" fmla="*/ 961665 w 12192000"/>
              <a:gd name="connsiteY3808" fmla="*/ 922780 h 6858000"/>
              <a:gd name="connsiteX3809" fmla="*/ 969485 w 12192000"/>
              <a:gd name="connsiteY3809" fmla="*/ 921266 h 6858000"/>
              <a:gd name="connsiteX3810" fmla="*/ 971521 w 12192000"/>
              <a:gd name="connsiteY3810" fmla="*/ 915425 h 6858000"/>
              <a:gd name="connsiteX3811" fmla="*/ 960271 w 12192000"/>
              <a:gd name="connsiteY3811" fmla="*/ 887733 h 6858000"/>
              <a:gd name="connsiteX3812" fmla="*/ 909594 w 12192000"/>
              <a:gd name="connsiteY3812" fmla="*/ 872373 h 6858000"/>
              <a:gd name="connsiteX3813" fmla="*/ 549392 w 12192000"/>
              <a:gd name="connsiteY3813" fmla="*/ 850847 h 6858000"/>
              <a:gd name="connsiteX3814" fmla="*/ 587426 w 12192000"/>
              <a:gd name="connsiteY3814" fmla="*/ 850847 h 6858000"/>
              <a:gd name="connsiteX3815" fmla="*/ 612604 w 12192000"/>
              <a:gd name="connsiteY3815" fmla="*/ 858419 h 6858000"/>
              <a:gd name="connsiteX3816" fmla="*/ 619784 w 12192000"/>
              <a:gd name="connsiteY3816" fmla="*/ 884164 h 6858000"/>
              <a:gd name="connsiteX3817" fmla="*/ 619784 w 12192000"/>
              <a:gd name="connsiteY3817" fmla="*/ 888490 h 6858000"/>
              <a:gd name="connsiteX3818" fmla="*/ 612496 w 12192000"/>
              <a:gd name="connsiteY3818" fmla="*/ 913153 h 6858000"/>
              <a:gd name="connsiteX3819" fmla="*/ 587534 w 12192000"/>
              <a:gd name="connsiteY3819" fmla="*/ 920509 h 6858000"/>
              <a:gd name="connsiteX3820" fmla="*/ 549392 w 12192000"/>
              <a:gd name="connsiteY3820" fmla="*/ 920509 h 6858000"/>
              <a:gd name="connsiteX3821" fmla="*/ 1580930 w 12192000"/>
              <a:gd name="connsiteY3821" fmla="*/ 831376 h 6858000"/>
              <a:gd name="connsiteX3822" fmla="*/ 1573109 w 12192000"/>
              <a:gd name="connsiteY3822" fmla="*/ 833107 h 6858000"/>
              <a:gd name="connsiteX3823" fmla="*/ 1571073 w 12192000"/>
              <a:gd name="connsiteY3823" fmla="*/ 840354 h 6858000"/>
              <a:gd name="connsiteX3824" fmla="*/ 1571073 w 12192000"/>
              <a:gd name="connsiteY3824" fmla="*/ 876699 h 6858000"/>
              <a:gd name="connsiteX3825" fmla="*/ 1554895 w 12192000"/>
              <a:gd name="connsiteY3825" fmla="*/ 876699 h 6858000"/>
              <a:gd name="connsiteX3826" fmla="*/ 1548788 w 12192000"/>
              <a:gd name="connsiteY3826" fmla="*/ 878430 h 6858000"/>
              <a:gd name="connsiteX3827" fmla="*/ 1547288 w 12192000"/>
              <a:gd name="connsiteY3827" fmla="*/ 885353 h 6858000"/>
              <a:gd name="connsiteX3828" fmla="*/ 1547288 w 12192000"/>
              <a:gd name="connsiteY3828" fmla="*/ 898333 h 6858000"/>
              <a:gd name="connsiteX3829" fmla="*/ 1548788 w 12192000"/>
              <a:gd name="connsiteY3829" fmla="*/ 905256 h 6858000"/>
              <a:gd name="connsiteX3830" fmla="*/ 1554895 w 12192000"/>
              <a:gd name="connsiteY3830" fmla="*/ 906987 h 6858000"/>
              <a:gd name="connsiteX3831" fmla="*/ 1571073 w 12192000"/>
              <a:gd name="connsiteY3831" fmla="*/ 906987 h 6858000"/>
              <a:gd name="connsiteX3832" fmla="*/ 1571073 w 12192000"/>
              <a:gd name="connsiteY3832" fmla="*/ 989845 h 6858000"/>
              <a:gd name="connsiteX3833" fmla="*/ 1581144 w 12192000"/>
              <a:gd name="connsiteY3833" fmla="*/ 1025108 h 6858000"/>
              <a:gd name="connsiteX3834" fmla="*/ 1618107 w 12192000"/>
              <a:gd name="connsiteY3834" fmla="*/ 1038197 h 6858000"/>
              <a:gd name="connsiteX3835" fmla="*/ 1635250 w 12192000"/>
              <a:gd name="connsiteY3835" fmla="*/ 1038197 h 6858000"/>
              <a:gd name="connsiteX3836" fmla="*/ 1635464 w 12192000"/>
              <a:gd name="connsiteY3836" fmla="*/ 1038305 h 6858000"/>
              <a:gd name="connsiteX3837" fmla="*/ 1641678 w 12192000"/>
              <a:gd name="connsiteY3837" fmla="*/ 1036574 h 6858000"/>
              <a:gd name="connsiteX3838" fmla="*/ 1643071 w 12192000"/>
              <a:gd name="connsiteY3838" fmla="*/ 1029651 h 6858000"/>
              <a:gd name="connsiteX3839" fmla="*/ 1643071 w 12192000"/>
              <a:gd name="connsiteY3839" fmla="*/ 1015156 h 6858000"/>
              <a:gd name="connsiteX3840" fmla="*/ 1641571 w 12192000"/>
              <a:gd name="connsiteY3840" fmla="*/ 1008234 h 6858000"/>
              <a:gd name="connsiteX3841" fmla="*/ 1635464 w 12192000"/>
              <a:gd name="connsiteY3841" fmla="*/ 1006503 h 6858000"/>
              <a:gd name="connsiteX3842" fmla="*/ 1624429 w 12192000"/>
              <a:gd name="connsiteY3842" fmla="*/ 1006503 h 6858000"/>
              <a:gd name="connsiteX3843" fmla="*/ 1611465 w 12192000"/>
              <a:gd name="connsiteY3843" fmla="*/ 1001094 h 6858000"/>
              <a:gd name="connsiteX3844" fmla="*/ 1607608 w 12192000"/>
              <a:gd name="connsiteY3844" fmla="*/ 984328 h 6858000"/>
              <a:gd name="connsiteX3845" fmla="*/ 1607608 w 12192000"/>
              <a:gd name="connsiteY3845" fmla="*/ 906987 h 6858000"/>
              <a:gd name="connsiteX3846" fmla="*/ 1635357 w 12192000"/>
              <a:gd name="connsiteY3846" fmla="*/ 906987 h 6858000"/>
              <a:gd name="connsiteX3847" fmla="*/ 1641464 w 12192000"/>
              <a:gd name="connsiteY3847" fmla="*/ 905256 h 6858000"/>
              <a:gd name="connsiteX3848" fmla="*/ 1642964 w 12192000"/>
              <a:gd name="connsiteY3848" fmla="*/ 898333 h 6858000"/>
              <a:gd name="connsiteX3849" fmla="*/ 1642964 w 12192000"/>
              <a:gd name="connsiteY3849" fmla="*/ 885353 h 6858000"/>
              <a:gd name="connsiteX3850" fmla="*/ 1641464 w 12192000"/>
              <a:gd name="connsiteY3850" fmla="*/ 878430 h 6858000"/>
              <a:gd name="connsiteX3851" fmla="*/ 1635357 w 12192000"/>
              <a:gd name="connsiteY3851" fmla="*/ 876699 h 6858000"/>
              <a:gd name="connsiteX3852" fmla="*/ 1607608 w 12192000"/>
              <a:gd name="connsiteY3852" fmla="*/ 876699 h 6858000"/>
              <a:gd name="connsiteX3853" fmla="*/ 1607608 w 12192000"/>
              <a:gd name="connsiteY3853" fmla="*/ 840354 h 6858000"/>
              <a:gd name="connsiteX3854" fmla="*/ 1605572 w 12192000"/>
              <a:gd name="connsiteY3854" fmla="*/ 833107 h 6858000"/>
              <a:gd name="connsiteX3855" fmla="*/ 1597751 w 12192000"/>
              <a:gd name="connsiteY3855" fmla="*/ 831376 h 6858000"/>
              <a:gd name="connsiteX3856" fmla="*/ 1089909 w 12192000"/>
              <a:gd name="connsiteY3856" fmla="*/ 818829 h 6858000"/>
              <a:gd name="connsiteX3857" fmla="*/ 1082088 w 12192000"/>
              <a:gd name="connsiteY3857" fmla="*/ 820560 h 6858000"/>
              <a:gd name="connsiteX3858" fmla="*/ 1080052 w 12192000"/>
              <a:gd name="connsiteY3858" fmla="*/ 827807 h 6858000"/>
              <a:gd name="connsiteX3859" fmla="*/ 1080052 w 12192000"/>
              <a:gd name="connsiteY3859" fmla="*/ 1029219 h 6858000"/>
              <a:gd name="connsiteX3860" fmla="*/ 1082088 w 12192000"/>
              <a:gd name="connsiteY3860" fmla="*/ 1036467 h 6858000"/>
              <a:gd name="connsiteX3861" fmla="*/ 1089909 w 12192000"/>
              <a:gd name="connsiteY3861" fmla="*/ 1038197 h 6858000"/>
              <a:gd name="connsiteX3862" fmla="*/ 1106730 w 12192000"/>
              <a:gd name="connsiteY3862" fmla="*/ 1038197 h 6858000"/>
              <a:gd name="connsiteX3863" fmla="*/ 1114551 w 12192000"/>
              <a:gd name="connsiteY3863" fmla="*/ 1036467 h 6858000"/>
              <a:gd name="connsiteX3864" fmla="*/ 1116587 w 12192000"/>
              <a:gd name="connsiteY3864" fmla="*/ 1029219 h 6858000"/>
              <a:gd name="connsiteX3865" fmla="*/ 1116587 w 12192000"/>
              <a:gd name="connsiteY3865" fmla="*/ 827807 h 6858000"/>
              <a:gd name="connsiteX3866" fmla="*/ 1114551 w 12192000"/>
              <a:gd name="connsiteY3866" fmla="*/ 820560 h 6858000"/>
              <a:gd name="connsiteX3867" fmla="*/ 1106730 w 12192000"/>
              <a:gd name="connsiteY3867" fmla="*/ 818829 h 6858000"/>
              <a:gd name="connsiteX3868" fmla="*/ 522500 w 12192000"/>
              <a:gd name="connsiteY3868" fmla="*/ 818829 h 6858000"/>
              <a:gd name="connsiteX3869" fmla="*/ 514678 w 12192000"/>
              <a:gd name="connsiteY3869" fmla="*/ 820668 h 6858000"/>
              <a:gd name="connsiteX3870" fmla="*/ 512642 w 12192000"/>
              <a:gd name="connsiteY3870" fmla="*/ 827807 h 6858000"/>
              <a:gd name="connsiteX3871" fmla="*/ 512642 w 12192000"/>
              <a:gd name="connsiteY3871" fmla="*/ 1029219 h 6858000"/>
              <a:gd name="connsiteX3872" fmla="*/ 514678 w 12192000"/>
              <a:gd name="connsiteY3872" fmla="*/ 1036358 h 6858000"/>
              <a:gd name="connsiteX3873" fmla="*/ 522500 w 12192000"/>
              <a:gd name="connsiteY3873" fmla="*/ 1038197 h 6858000"/>
              <a:gd name="connsiteX3874" fmla="*/ 539642 w 12192000"/>
              <a:gd name="connsiteY3874" fmla="*/ 1038197 h 6858000"/>
              <a:gd name="connsiteX3875" fmla="*/ 547570 w 12192000"/>
              <a:gd name="connsiteY3875" fmla="*/ 1036358 h 6858000"/>
              <a:gd name="connsiteX3876" fmla="*/ 549392 w 12192000"/>
              <a:gd name="connsiteY3876" fmla="*/ 1029219 h 6858000"/>
              <a:gd name="connsiteX3877" fmla="*/ 549392 w 12192000"/>
              <a:gd name="connsiteY3877" fmla="*/ 952527 h 6858000"/>
              <a:gd name="connsiteX3878" fmla="*/ 582604 w 12192000"/>
              <a:gd name="connsiteY3878" fmla="*/ 952527 h 6858000"/>
              <a:gd name="connsiteX3879" fmla="*/ 623748 w 12192000"/>
              <a:gd name="connsiteY3879" fmla="*/ 1029219 h 6858000"/>
              <a:gd name="connsiteX3880" fmla="*/ 629212 w 12192000"/>
              <a:gd name="connsiteY3880" fmla="*/ 1036467 h 6858000"/>
              <a:gd name="connsiteX3881" fmla="*/ 636496 w 12192000"/>
              <a:gd name="connsiteY3881" fmla="*/ 1038197 h 6858000"/>
              <a:gd name="connsiteX3882" fmla="*/ 659424 w 12192000"/>
              <a:gd name="connsiteY3882" fmla="*/ 1038197 h 6858000"/>
              <a:gd name="connsiteX3883" fmla="*/ 667352 w 12192000"/>
              <a:gd name="connsiteY3883" fmla="*/ 1033222 h 6858000"/>
              <a:gd name="connsiteX3884" fmla="*/ 666174 w 12192000"/>
              <a:gd name="connsiteY3884" fmla="*/ 1029219 h 6858000"/>
              <a:gd name="connsiteX3885" fmla="*/ 620748 w 12192000"/>
              <a:gd name="connsiteY3885" fmla="*/ 947876 h 6858000"/>
              <a:gd name="connsiteX3886" fmla="*/ 657710 w 12192000"/>
              <a:gd name="connsiteY3886" fmla="*/ 888707 h 6858000"/>
              <a:gd name="connsiteX3887" fmla="*/ 657710 w 12192000"/>
              <a:gd name="connsiteY3887" fmla="*/ 882866 h 6858000"/>
              <a:gd name="connsiteX3888" fmla="*/ 640888 w 12192000"/>
              <a:gd name="connsiteY3888" fmla="*/ 834189 h 6858000"/>
              <a:gd name="connsiteX3889" fmla="*/ 587748 w 12192000"/>
              <a:gd name="connsiteY3889" fmla="*/ 818829 h 6858000"/>
              <a:gd name="connsiteX3890" fmla="*/ 1174549 w 12192000"/>
              <a:gd name="connsiteY3890" fmla="*/ 814827 h 6858000"/>
              <a:gd name="connsiteX3891" fmla="*/ 1159442 w 12192000"/>
              <a:gd name="connsiteY3891" fmla="*/ 819586 h 6858000"/>
              <a:gd name="connsiteX3892" fmla="*/ 1153764 w 12192000"/>
              <a:gd name="connsiteY3892" fmla="*/ 833324 h 6858000"/>
              <a:gd name="connsiteX3893" fmla="*/ 1153764 w 12192000"/>
              <a:gd name="connsiteY3893" fmla="*/ 839814 h 6858000"/>
              <a:gd name="connsiteX3894" fmla="*/ 1159442 w 12192000"/>
              <a:gd name="connsiteY3894" fmla="*/ 853335 h 6858000"/>
              <a:gd name="connsiteX3895" fmla="*/ 1174549 w 12192000"/>
              <a:gd name="connsiteY3895" fmla="*/ 858311 h 6858000"/>
              <a:gd name="connsiteX3896" fmla="*/ 1189977 w 12192000"/>
              <a:gd name="connsiteY3896" fmla="*/ 853335 h 6858000"/>
              <a:gd name="connsiteX3897" fmla="*/ 1195656 w 12192000"/>
              <a:gd name="connsiteY3897" fmla="*/ 839814 h 6858000"/>
              <a:gd name="connsiteX3898" fmla="*/ 1195656 w 12192000"/>
              <a:gd name="connsiteY3898" fmla="*/ 833324 h 6858000"/>
              <a:gd name="connsiteX3899" fmla="*/ 1189977 w 12192000"/>
              <a:gd name="connsiteY3899" fmla="*/ 819586 h 6858000"/>
              <a:gd name="connsiteX3900" fmla="*/ 1174549 w 12192000"/>
              <a:gd name="connsiteY3900" fmla="*/ 814827 h 6858000"/>
              <a:gd name="connsiteX3901" fmla="*/ 1022626 w 12192000"/>
              <a:gd name="connsiteY3901" fmla="*/ 814827 h 6858000"/>
              <a:gd name="connsiteX3902" fmla="*/ 1007519 w 12192000"/>
              <a:gd name="connsiteY3902" fmla="*/ 819586 h 6858000"/>
              <a:gd name="connsiteX3903" fmla="*/ 1001841 w 12192000"/>
              <a:gd name="connsiteY3903" fmla="*/ 833324 h 6858000"/>
              <a:gd name="connsiteX3904" fmla="*/ 1001841 w 12192000"/>
              <a:gd name="connsiteY3904" fmla="*/ 839814 h 6858000"/>
              <a:gd name="connsiteX3905" fmla="*/ 1007519 w 12192000"/>
              <a:gd name="connsiteY3905" fmla="*/ 853335 h 6858000"/>
              <a:gd name="connsiteX3906" fmla="*/ 1022626 w 12192000"/>
              <a:gd name="connsiteY3906" fmla="*/ 858311 h 6858000"/>
              <a:gd name="connsiteX3907" fmla="*/ 1038054 w 12192000"/>
              <a:gd name="connsiteY3907" fmla="*/ 853335 h 6858000"/>
              <a:gd name="connsiteX3908" fmla="*/ 1043733 w 12192000"/>
              <a:gd name="connsiteY3908" fmla="*/ 839814 h 6858000"/>
              <a:gd name="connsiteX3909" fmla="*/ 1043733 w 12192000"/>
              <a:gd name="connsiteY3909" fmla="*/ 833324 h 6858000"/>
              <a:gd name="connsiteX3910" fmla="*/ 1038054 w 12192000"/>
              <a:gd name="connsiteY3910" fmla="*/ 819586 h 6858000"/>
              <a:gd name="connsiteX3911" fmla="*/ 1022626 w 12192000"/>
              <a:gd name="connsiteY3911" fmla="*/ 814827 h 6858000"/>
              <a:gd name="connsiteX3912" fmla="*/ 0 w 12192000"/>
              <a:gd name="connsiteY3912" fmla="*/ 0 h 6858000"/>
              <a:gd name="connsiteX3913" fmla="*/ 12192000 w 12192000"/>
              <a:gd name="connsiteY3913" fmla="*/ 0 h 6858000"/>
              <a:gd name="connsiteX3914" fmla="*/ 12192000 w 12192000"/>
              <a:gd name="connsiteY3914" fmla="*/ 6858000 h 6858000"/>
              <a:gd name="connsiteX3915" fmla="*/ 0 w 12192000"/>
              <a:gd name="connsiteY39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</a:cxnLst>
            <a:rect l="l" t="t" r="r" b="b"/>
            <a:pathLst>
              <a:path w="12192000" h="6858000">
                <a:moveTo>
                  <a:pt x="4338697" y="6522329"/>
                </a:moveTo>
                <a:lnTo>
                  <a:pt x="4342105" y="6522329"/>
                </a:lnTo>
                <a:lnTo>
                  <a:pt x="4342105" y="6524522"/>
                </a:lnTo>
                <a:cubicBezTo>
                  <a:pt x="4342105" y="6529435"/>
                  <a:pt x="4340794" y="6533295"/>
                  <a:pt x="4337998" y="6536189"/>
                </a:cubicBezTo>
                <a:cubicBezTo>
                  <a:pt x="4335289" y="6539084"/>
                  <a:pt x="4331182" y="6540488"/>
                  <a:pt x="4325851" y="6540488"/>
                </a:cubicBezTo>
                <a:cubicBezTo>
                  <a:pt x="4324628" y="6540488"/>
                  <a:pt x="4323317" y="6540400"/>
                  <a:pt x="4322006" y="6540137"/>
                </a:cubicBezTo>
                <a:cubicBezTo>
                  <a:pt x="4320695" y="6539874"/>
                  <a:pt x="4319559" y="6539435"/>
                  <a:pt x="4318510" y="6538821"/>
                </a:cubicBezTo>
                <a:cubicBezTo>
                  <a:pt x="4317462" y="6538207"/>
                  <a:pt x="4316588" y="6537418"/>
                  <a:pt x="4315976" y="6536453"/>
                </a:cubicBezTo>
                <a:cubicBezTo>
                  <a:pt x="4315365" y="6535488"/>
                  <a:pt x="4315015" y="6534259"/>
                  <a:pt x="4315015" y="6532768"/>
                </a:cubicBezTo>
                <a:cubicBezTo>
                  <a:pt x="4315015" y="6530400"/>
                  <a:pt x="4315801" y="6528557"/>
                  <a:pt x="4317374" y="6527242"/>
                </a:cubicBezTo>
                <a:cubicBezTo>
                  <a:pt x="4318947" y="6525838"/>
                  <a:pt x="4320957" y="6524785"/>
                  <a:pt x="4323229" y="6524084"/>
                </a:cubicBezTo>
                <a:cubicBezTo>
                  <a:pt x="4325501" y="6523382"/>
                  <a:pt x="4328036" y="6522855"/>
                  <a:pt x="4330832" y="6522680"/>
                </a:cubicBezTo>
                <a:cubicBezTo>
                  <a:pt x="4333541" y="6522417"/>
                  <a:pt x="4336163" y="6522329"/>
                  <a:pt x="4338697" y="6522329"/>
                </a:cubicBezTo>
                <a:close/>
                <a:moveTo>
                  <a:pt x="4552448" y="6498293"/>
                </a:moveTo>
                <a:cubicBezTo>
                  <a:pt x="4554982" y="6498293"/>
                  <a:pt x="4557167" y="6498731"/>
                  <a:pt x="4559002" y="6499521"/>
                </a:cubicBezTo>
                <a:cubicBezTo>
                  <a:pt x="4560924" y="6500398"/>
                  <a:pt x="4562410" y="6501451"/>
                  <a:pt x="4563633" y="6502854"/>
                </a:cubicBezTo>
                <a:cubicBezTo>
                  <a:pt x="4564769" y="6504258"/>
                  <a:pt x="4565731" y="6505837"/>
                  <a:pt x="4566255" y="6507679"/>
                </a:cubicBezTo>
                <a:cubicBezTo>
                  <a:pt x="4566867" y="6509521"/>
                  <a:pt x="4567129" y="6511364"/>
                  <a:pt x="4567129" y="6513381"/>
                </a:cubicBezTo>
                <a:lnTo>
                  <a:pt x="4535320" y="6513381"/>
                </a:lnTo>
                <a:cubicBezTo>
                  <a:pt x="4535669" y="6508907"/>
                  <a:pt x="4537417" y="6505311"/>
                  <a:pt x="4540650" y="6502504"/>
                </a:cubicBezTo>
                <a:cubicBezTo>
                  <a:pt x="4543884" y="6499696"/>
                  <a:pt x="4547816" y="6498293"/>
                  <a:pt x="4552448" y="6498293"/>
                </a:cubicBezTo>
                <a:close/>
                <a:moveTo>
                  <a:pt x="4448543" y="6488468"/>
                </a:moveTo>
                <a:lnTo>
                  <a:pt x="4473623" y="6550840"/>
                </a:lnTo>
                <a:lnTo>
                  <a:pt x="4490227" y="6550840"/>
                </a:lnTo>
                <a:lnTo>
                  <a:pt x="4514958" y="6488468"/>
                </a:lnTo>
                <a:lnTo>
                  <a:pt x="4498529" y="6488468"/>
                </a:lnTo>
                <a:lnTo>
                  <a:pt x="4482100" y="6533909"/>
                </a:lnTo>
                <a:lnTo>
                  <a:pt x="4481838" y="6533909"/>
                </a:lnTo>
                <a:lnTo>
                  <a:pt x="4465496" y="6488468"/>
                </a:lnTo>
                <a:close/>
                <a:moveTo>
                  <a:pt x="4422414" y="6488468"/>
                </a:moveTo>
                <a:lnTo>
                  <a:pt x="4422414" y="6550839"/>
                </a:lnTo>
                <a:lnTo>
                  <a:pt x="4437969" y="6550839"/>
                </a:lnTo>
                <a:lnTo>
                  <a:pt x="4437969" y="6488468"/>
                </a:lnTo>
                <a:close/>
                <a:moveTo>
                  <a:pt x="4268962" y="6488468"/>
                </a:moveTo>
                <a:lnTo>
                  <a:pt x="4268962" y="6550839"/>
                </a:lnTo>
                <a:lnTo>
                  <a:pt x="4284517" y="6550839"/>
                </a:lnTo>
                <a:lnTo>
                  <a:pt x="4284517" y="6488468"/>
                </a:lnTo>
                <a:close/>
                <a:moveTo>
                  <a:pt x="4185594" y="6488468"/>
                </a:moveTo>
                <a:lnTo>
                  <a:pt x="4185594" y="6550839"/>
                </a:lnTo>
                <a:lnTo>
                  <a:pt x="4201149" y="6550839"/>
                </a:lnTo>
                <a:lnTo>
                  <a:pt x="4201149" y="6488468"/>
                </a:lnTo>
                <a:close/>
                <a:moveTo>
                  <a:pt x="4552710" y="6486801"/>
                </a:moveTo>
                <a:cubicBezTo>
                  <a:pt x="4548078" y="6486801"/>
                  <a:pt x="4543709" y="6487591"/>
                  <a:pt x="4539689" y="6489170"/>
                </a:cubicBezTo>
                <a:cubicBezTo>
                  <a:pt x="4535669" y="6490749"/>
                  <a:pt x="4532261" y="6493029"/>
                  <a:pt x="4529290" y="6495924"/>
                </a:cubicBezTo>
                <a:cubicBezTo>
                  <a:pt x="4526406" y="6498819"/>
                  <a:pt x="4524047" y="6502328"/>
                  <a:pt x="4522386" y="6506451"/>
                </a:cubicBezTo>
                <a:cubicBezTo>
                  <a:pt x="4520726" y="6510574"/>
                  <a:pt x="4519852" y="6515048"/>
                  <a:pt x="4519852" y="6520136"/>
                </a:cubicBezTo>
                <a:cubicBezTo>
                  <a:pt x="4519852" y="6525224"/>
                  <a:pt x="4520726" y="6529786"/>
                  <a:pt x="4522386" y="6533821"/>
                </a:cubicBezTo>
                <a:cubicBezTo>
                  <a:pt x="4524047" y="6537856"/>
                  <a:pt x="4526406" y="6541190"/>
                  <a:pt x="4529377" y="6543997"/>
                </a:cubicBezTo>
                <a:cubicBezTo>
                  <a:pt x="4532348" y="6546716"/>
                  <a:pt x="4535931" y="6548909"/>
                  <a:pt x="4539951" y="6550401"/>
                </a:cubicBezTo>
                <a:cubicBezTo>
                  <a:pt x="4543971" y="6551892"/>
                  <a:pt x="4548428" y="6552681"/>
                  <a:pt x="4553234" y="6552681"/>
                </a:cubicBezTo>
                <a:cubicBezTo>
                  <a:pt x="4564857" y="6552681"/>
                  <a:pt x="4573770" y="6548558"/>
                  <a:pt x="4579887" y="6540225"/>
                </a:cubicBezTo>
                <a:lnTo>
                  <a:pt x="4569576" y="6531891"/>
                </a:lnTo>
                <a:cubicBezTo>
                  <a:pt x="4567828" y="6534347"/>
                  <a:pt x="4565643" y="6536365"/>
                  <a:pt x="4562934" y="6537768"/>
                </a:cubicBezTo>
                <a:cubicBezTo>
                  <a:pt x="4560225" y="6539172"/>
                  <a:pt x="4556904" y="6539874"/>
                  <a:pt x="4553059" y="6539874"/>
                </a:cubicBezTo>
                <a:cubicBezTo>
                  <a:pt x="4550787" y="6539874"/>
                  <a:pt x="4548690" y="6539523"/>
                  <a:pt x="4546593" y="6538733"/>
                </a:cubicBezTo>
                <a:cubicBezTo>
                  <a:pt x="4544495" y="6537944"/>
                  <a:pt x="4542660" y="6536891"/>
                  <a:pt x="4541000" y="6535575"/>
                </a:cubicBezTo>
                <a:cubicBezTo>
                  <a:pt x="4539339" y="6534172"/>
                  <a:pt x="4538029" y="6532593"/>
                  <a:pt x="4537067" y="6530751"/>
                </a:cubicBezTo>
                <a:cubicBezTo>
                  <a:pt x="4536106" y="6528908"/>
                  <a:pt x="4535494" y="6526891"/>
                  <a:pt x="4535320" y="6524610"/>
                </a:cubicBezTo>
                <a:lnTo>
                  <a:pt x="4582509" y="6524610"/>
                </a:lnTo>
                <a:cubicBezTo>
                  <a:pt x="4582684" y="6523908"/>
                  <a:pt x="4582684" y="6523206"/>
                  <a:pt x="4582684" y="6522505"/>
                </a:cubicBezTo>
                <a:lnTo>
                  <a:pt x="4582684" y="6520399"/>
                </a:lnTo>
                <a:lnTo>
                  <a:pt x="4582771" y="6520575"/>
                </a:lnTo>
                <a:cubicBezTo>
                  <a:pt x="4582771" y="6514960"/>
                  <a:pt x="4581985" y="6510048"/>
                  <a:pt x="4580499" y="6505837"/>
                </a:cubicBezTo>
                <a:cubicBezTo>
                  <a:pt x="4579013" y="6501626"/>
                  <a:pt x="4576916" y="6498117"/>
                  <a:pt x="4574207" y="6495310"/>
                </a:cubicBezTo>
                <a:cubicBezTo>
                  <a:pt x="4571498" y="6492415"/>
                  <a:pt x="4568352" y="6490310"/>
                  <a:pt x="4564682" y="6488906"/>
                </a:cubicBezTo>
                <a:cubicBezTo>
                  <a:pt x="4561012" y="6487503"/>
                  <a:pt x="4556992" y="6486801"/>
                  <a:pt x="4552710" y="6486801"/>
                </a:cubicBezTo>
                <a:close/>
                <a:moveTo>
                  <a:pt x="4329259" y="6486801"/>
                </a:moveTo>
                <a:cubicBezTo>
                  <a:pt x="4324453" y="6486801"/>
                  <a:pt x="4319821" y="6487591"/>
                  <a:pt x="4315190" y="6489257"/>
                </a:cubicBezTo>
                <a:cubicBezTo>
                  <a:pt x="4310558" y="6490836"/>
                  <a:pt x="4306451" y="6493293"/>
                  <a:pt x="4302955" y="6496626"/>
                </a:cubicBezTo>
                <a:lnTo>
                  <a:pt x="4310995" y="6506100"/>
                </a:lnTo>
                <a:cubicBezTo>
                  <a:pt x="4313005" y="6504083"/>
                  <a:pt x="4315452" y="6502416"/>
                  <a:pt x="4318510" y="6501012"/>
                </a:cubicBezTo>
                <a:cubicBezTo>
                  <a:pt x="4321482" y="6499609"/>
                  <a:pt x="4324628" y="6498907"/>
                  <a:pt x="4327948" y="6498907"/>
                </a:cubicBezTo>
                <a:cubicBezTo>
                  <a:pt x="4331881" y="6498907"/>
                  <a:pt x="4335201" y="6499872"/>
                  <a:pt x="4337998" y="6501714"/>
                </a:cubicBezTo>
                <a:cubicBezTo>
                  <a:pt x="4340794" y="6503556"/>
                  <a:pt x="4342193" y="6506451"/>
                  <a:pt x="4342193" y="6510311"/>
                </a:cubicBezTo>
                <a:lnTo>
                  <a:pt x="4342193" y="6511890"/>
                </a:lnTo>
                <a:cubicBezTo>
                  <a:pt x="4337299" y="6511890"/>
                  <a:pt x="4332405" y="6512153"/>
                  <a:pt x="4327337" y="6512592"/>
                </a:cubicBezTo>
                <a:cubicBezTo>
                  <a:pt x="4322268" y="6513030"/>
                  <a:pt x="4317637" y="6513995"/>
                  <a:pt x="4313529" y="6515487"/>
                </a:cubicBezTo>
                <a:cubicBezTo>
                  <a:pt x="4309422" y="6516978"/>
                  <a:pt x="4306014" y="6519083"/>
                  <a:pt x="4303392" y="6521890"/>
                </a:cubicBezTo>
                <a:cubicBezTo>
                  <a:pt x="4300771" y="6524610"/>
                  <a:pt x="4299460" y="6528382"/>
                  <a:pt x="4299460" y="6533031"/>
                </a:cubicBezTo>
                <a:cubicBezTo>
                  <a:pt x="4299460" y="6536628"/>
                  <a:pt x="4300246" y="6539698"/>
                  <a:pt x="4301732" y="6542155"/>
                </a:cubicBezTo>
                <a:cubicBezTo>
                  <a:pt x="4303218" y="6544611"/>
                  <a:pt x="4305140" y="6546629"/>
                  <a:pt x="4307412" y="6548120"/>
                </a:cubicBezTo>
                <a:cubicBezTo>
                  <a:pt x="4309684" y="6549611"/>
                  <a:pt x="4312219" y="6550752"/>
                  <a:pt x="4314928" y="6551366"/>
                </a:cubicBezTo>
                <a:cubicBezTo>
                  <a:pt x="4317724" y="6551980"/>
                  <a:pt x="4320258" y="6552331"/>
                  <a:pt x="4322792" y="6552331"/>
                </a:cubicBezTo>
                <a:cubicBezTo>
                  <a:pt x="4327249" y="6552331"/>
                  <a:pt x="4331094" y="6551453"/>
                  <a:pt x="4334590" y="6549699"/>
                </a:cubicBezTo>
                <a:cubicBezTo>
                  <a:pt x="4338085" y="6547944"/>
                  <a:pt x="4340532" y="6545664"/>
                  <a:pt x="4342105" y="6542856"/>
                </a:cubicBezTo>
                <a:lnTo>
                  <a:pt x="4342455" y="6542856"/>
                </a:lnTo>
                <a:lnTo>
                  <a:pt x="4342455" y="6543120"/>
                </a:lnTo>
                <a:lnTo>
                  <a:pt x="4342455" y="6551015"/>
                </a:lnTo>
                <a:lnTo>
                  <a:pt x="4356961" y="6551015"/>
                </a:lnTo>
                <a:lnTo>
                  <a:pt x="4356961" y="6513118"/>
                </a:lnTo>
                <a:cubicBezTo>
                  <a:pt x="4356961" y="6509960"/>
                  <a:pt x="4356611" y="6506802"/>
                  <a:pt x="4355738" y="6503732"/>
                </a:cubicBezTo>
                <a:cubicBezTo>
                  <a:pt x="4354864" y="6500661"/>
                  <a:pt x="4353465" y="6497854"/>
                  <a:pt x="4351368" y="6495310"/>
                </a:cubicBezTo>
                <a:cubicBezTo>
                  <a:pt x="4349271" y="6492766"/>
                  <a:pt x="4346474" y="6490749"/>
                  <a:pt x="4342892" y="6489170"/>
                </a:cubicBezTo>
                <a:cubicBezTo>
                  <a:pt x="4339309" y="6487591"/>
                  <a:pt x="4334765" y="6486801"/>
                  <a:pt x="4329259" y="6486801"/>
                </a:cubicBezTo>
                <a:close/>
                <a:moveTo>
                  <a:pt x="4144872" y="6486626"/>
                </a:moveTo>
                <a:cubicBezTo>
                  <a:pt x="4140240" y="6486626"/>
                  <a:pt x="4136221" y="6487854"/>
                  <a:pt x="4132812" y="6490223"/>
                </a:cubicBezTo>
                <a:cubicBezTo>
                  <a:pt x="4129404" y="6492591"/>
                  <a:pt x="4127045" y="6495311"/>
                  <a:pt x="4125647" y="6498469"/>
                </a:cubicBezTo>
                <a:lnTo>
                  <a:pt x="4125384" y="6498469"/>
                </a:lnTo>
                <a:lnTo>
                  <a:pt x="4125384" y="6488468"/>
                </a:lnTo>
                <a:lnTo>
                  <a:pt x="4110617" y="6488468"/>
                </a:lnTo>
                <a:lnTo>
                  <a:pt x="4110617" y="6550752"/>
                </a:lnTo>
                <a:lnTo>
                  <a:pt x="4126172" y="6550752"/>
                </a:lnTo>
                <a:lnTo>
                  <a:pt x="4126172" y="6516452"/>
                </a:lnTo>
                <a:cubicBezTo>
                  <a:pt x="4126172" y="6514434"/>
                  <a:pt x="4126433" y="6512329"/>
                  <a:pt x="4127045" y="6510311"/>
                </a:cubicBezTo>
                <a:cubicBezTo>
                  <a:pt x="4127658" y="6508294"/>
                  <a:pt x="4128531" y="6506539"/>
                  <a:pt x="4129666" y="6504960"/>
                </a:cubicBezTo>
                <a:cubicBezTo>
                  <a:pt x="4130803" y="6503381"/>
                  <a:pt x="4132289" y="6502065"/>
                  <a:pt x="4134123" y="6501100"/>
                </a:cubicBezTo>
                <a:cubicBezTo>
                  <a:pt x="4135958" y="6500135"/>
                  <a:pt x="4138056" y="6499609"/>
                  <a:pt x="4140590" y="6499609"/>
                </a:cubicBezTo>
                <a:cubicBezTo>
                  <a:pt x="4143125" y="6499609"/>
                  <a:pt x="4145135" y="6500135"/>
                  <a:pt x="4146621" y="6501188"/>
                </a:cubicBezTo>
                <a:cubicBezTo>
                  <a:pt x="4148194" y="6502241"/>
                  <a:pt x="4149329" y="6503557"/>
                  <a:pt x="4150203" y="6505136"/>
                </a:cubicBezTo>
                <a:cubicBezTo>
                  <a:pt x="4151076" y="6506715"/>
                  <a:pt x="4151602" y="6508469"/>
                  <a:pt x="4151863" y="6510487"/>
                </a:cubicBezTo>
                <a:cubicBezTo>
                  <a:pt x="4152126" y="6512504"/>
                  <a:pt x="4152212" y="6514347"/>
                  <a:pt x="4152212" y="6516189"/>
                </a:cubicBezTo>
                <a:lnTo>
                  <a:pt x="4152212" y="6550752"/>
                </a:lnTo>
                <a:lnTo>
                  <a:pt x="4167768" y="6550752"/>
                </a:lnTo>
                <a:lnTo>
                  <a:pt x="4167768" y="6511803"/>
                </a:lnTo>
                <a:cubicBezTo>
                  <a:pt x="4167768" y="6508557"/>
                  <a:pt x="4167331" y="6505487"/>
                  <a:pt x="4166457" y="6502416"/>
                </a:cubicBezTo>
                <a:cubicBezTo>
                  <a:pt x="4165583" y="6499346"/>
                  <a:pt x="4164185" y="6496626"/>
                  <a:pt x="4162349" y="6494346"/>
                </a:cubicBezTo>
                <a:cubicBezTo>
                  <a:pt x="4160514" y="6492065"/>
                  <a:pt x="4158155" y="6490135"/>
                  <a:pt x="4155272" y="6488731"/>
                </a:cubicBezTo>
                <a:cubicBezTo>
                  <a:pt x="4152388" y="6487328"/>
                  <a:pt x="4148892" y="6486626"/>
                  <a:pt x="4144872" y="6486626"/>
                </a:cubicBezTo>
                <a:close/>
                <a:moveTo>
                  <a:pt x="10410091" y="6486042"/>
                </a:moveTo>
                <a:lnTo>
                  <a:pt x="10415850" y="6506468"/>
                </a:lnTo>
                <a:lnTo>
                  <a:pt x="10402386" y="6506468"/>
                </a:lnTo>
                <a:cubicBezTo>
                  <a:pt x="10404721" y="6500665"/>
                  <a:pt x="10406199" y="6493160"/>
                  <a:pt x="10408768" y="6487589"/>
                </a:cubicBezTo>
                <a:cubicBezTo>
                  <a:pt x="10409079" y="6486970"/>
                  <a:pt x="10409157" y="6486042"/>
                  <a:pt x="10410091" y="6486042"/>
                </a:cubicBezTo>
                <a:close/>
                <a:moveTo>
                  <a:pt x="10254742" y="6478458"/>
                </a:moveTo>
                <a:lnTo>
                  <a:pt x="10254742" y="6480934"/>
                </a:lnTo>
                <a:cubicBezTo>
                  <a:pt x="10256843" y="6481089"/>
                  <a:pt x="10261591" y="6481708"/>
                  <a:pt x="10262292" y="6483952"/>
                </a:cubicBezTo>
                <a:lnTo>
                  <a:pt x="10261825" y="6527281"/>
                </a:lnTo>
                <a:cubicBezTo>
                  <a:pt x="10261825" y="6527281"/>
                  <a:pt x="10254742" y="6529525"/>
                  <a:pt x="10254742" y="6529525"/>
                </a:cubicBezTo>
                <a:lnTo>
                  <a:pt x="10254742" y="6532001"/>
                </a:lnTo>
                <a:cubicBezTo>
                  <a:pt x="10254742" y="6532001"/>
                  <a:pt x="10280348" y="6532001"/>
                  <a:pt x="10280348" y="6532001"/>
                </a:cubicBezTo>
                <a:lnTo>
                  <a:pt x="10280348" y="6529525"/>
                </a:lnTo>
                <a:cubicBezTo>
                  <a:pt x="10278947" y="6529215"/>
                  <a:pt x="10272098" y="6528287"/>
                  <a:pt x="10272098" y="6526584"/>
                </a:cubicBezTo>
                <a:lnTo>
                  <a:pt x="10272098" y="6507086"/>
                </a:lnTo>
                <a:lnTo>
                  <a:pt x="10300351" y="6507086"/>
                </a:lnTo>
                <a:lnTo>
                  <a:pt x="10300351" y="6527513"/>
                </a:lnTo>
                <a:cubicBezTo>
                  <a:pt x="10300351" y="6527513"/>
                  <a:pt x="10292645" y="6529525"/>
                  <a:pt x="10292645" y="6529525"/>
                </a:cubicBezTo>
                <a:lnTo>
                  <a:pt x="10292645" y="6532001"/>
                </a:lnTo>
                <a:cubicBezTo>
                  <a:pt x="10292645" y="6532001"/>
                  <a:pt x="10318252" y="6532001"/>
                  <a:pt x="10318252" y="6532001"/>
                </a:cubicBezTo>
                <a:lnTo>
                  <a:pt x="10318252" y="6529525"/>
                </a:lnTo>
                <a:lnTo>
                  <a:pt x="10310702" y="6527436"/>
                </a:lnTo>
                <a:lnTo>
                  <a:pt x="10310546" y="6483333"/>
                </a:lnTo>
                <a:cubicBezTo>
                  <a:pt x="10310546" y="6483333"/>
                  <a:pt x="10318252" y="6480934"/>
                  <a:pt x="10318252" y="6480934"/>
                </a:cubicBezTo>
                <a:lnTo>
                  <a:pt x="10318252" y="6478458"/>
                </a:lnTo>
                <a:cubicBezTo>
                  <a:pt x="10318252" y="6478458"/>
                  <a:pt x="10292645" y="6478458"/>
                  <a:pt x="10292645" y="6478458"/>
                </a:cubicBezTo>
                <a:lnTo>
                  <a:pt x="10292645" y="6480934"/>
                </a:lnTo>
                <a:lnTo>
                  <a:pt x="10300273" y="6482869"/>
                </a:lnTo>
                <a:lnTo>
                  <a:pt x="10300273" y="6501980"/>
                </a:lnTo>
                <a:lnTo>
                  <a:pt x="10272020" y="6501980"/>
                </a:lnTo>
                <a:lnTo>
                  <a:pt x="10272020" y="6483797"/>
                </a:lnTo>
                <a:cubicBezTo>
                  <a:pt x="10272020" y="6482250"/>
                  <a:pt x="10278869" y="6480857"/>
                  <a:pt x="10280348" y="6480857"/>
                </a:cubicBezTo>
                <a:lnTo>
                  <a:pt x="10280348" y="6478458"/>
                </a:lnTo>
                <a:cubicBezTo>
                  <a:pt x="10280348" y="6478458"/>
                  <a:pt x="10254742" y="6478458"/>
                  <a:pt x="10254742" y="6478458"/>
                </a:cubicBezTo>
                <a:close/>
                <a:moveTo>
                  <a:pt x="10407133" y="6478382"/>
                </a:moveTo>
                <a:lnTo>
                  <a:pt x="10389388" y="6526430"/>
                </a:lnTo>
                <a:cubicBezTo>
                  <a:pt x="10387676" y="6528906"/>
                  <a:pt x="10383784" y="6528829"/>
                  <a:pt x="10381138" y="6529525"/>
                </a:cubicBezTo>
                <a:lnTo>
                  <a:pt x="10381138" y="6532001"/>
                </a:lnTo>
                <a:lnTo>
                  <a:pt x="10381138" y="6532079"/>
                </a:lnTo>
                <a:lnTo>
                  <a:pt x="10402931" y="6532079"/>
                </a:lnTo>
                <a:cubicBezTo>
                  <a:pt x="10404098" y="6527591"/>
                  <a:pt x="10397171" y="6529757"/>
                  <a:pt x="10395381" y="6525966"/>
                </a:cubicBezTo>
                <a:lnTo>
                  <a:pt x="10400518" y="6511110"/>
                </a:lnTo>
                <a:lnTo>
                  <a:pt x="10417874" y="6511420"/>
                </a:lnTo>
                <a:lnTo>
                  <a:pt x="10423011" y="6527204"/>
                </a:lnTo>
                <a:cubicBezTo>
                  <a:pt x="10423011" y="6527204"/>
                  <a:pt x="10415228" y="6529603"/>
                  <a:pt x="10415228" y="6529603"/>
                </a:cubicBezTo>
                <a:lnTo>
                  <a:pt x="10415228" y="6532079"/>
                </a:lnTo>
                <a:lnTo>
                  <a:pt x="10440912" y="6532079"/>
                </a:lnTo>
                <a:cubicBezTo>
                  <a:pt x="10442079" y="6527281"/>
                  <a:pt x="10434919" y="6530067"/>
                  <a:pt x="10433051" y="6526121"/>
                </a:cubicBezTo>
                <a:cubicBezTo>
                  <a:pt x="10427447" y="6510414"/>
                  <a:pt x="10420598" y="6494785"/>
                  <a:pt x="10417485" y="6478382"/>
                </a:cubicBezTo>
                <a:cubicBezTo>
                  <a:pt x="10416862" y="6477453"/>
                  <a:pt x="10407912" y="6477376"/>
                  <a:pt x="10407133" y="6478382"/>
                </a:cubicBezTo>
                <a:close/>
                <a:moveTo>
                  <a:pt x="10595638" y="6478304"/>
                </a:moveTo>
                <a:lnTo>
                  <a:pt x="10595638" y="6480857"/>
                </a:lnTo>
                <a:cubicBezTo>
                  <a:pt x="10597195" y="6480470"/>
                  <a:pt x="10603966" y="6482173"/>
                  <a:pt x="10603966" y="6483720"/>
                </a:cubicBezTo>
                <a:lnTo>
                  <a:pt x="10603966" y="6501903"/>
                </a:lnTo>
                <a:lnTo>
                  <a:pt x="10575714" y="6501903"/>
                </a:lnTo>
                <a:lnTo>
                  <a:pt x="10575714" y="6482792"/>
                </a:lnTo>
                <a:cubicBezTo>
                  <a:pt x="10575714" y="6482792"/>
                  <a:pt x="10583419" y="6480857"/>
                  <a:pt x="10583419" y="6480857"/>
                </a:cubicBezTo>
                <a:lnTo>
                  <a:pt x="10583419" y="6478381"/>
                </a:lnTo>
                <a:lnTo>
                  <a:pt x="10583341" y="6478381"/>
                </a:lnTo>
                <a:cubicBezTo>
                  <a:pt x="10583341" y="6478381"/>
                  <a:pt x="10557735" y="6478381"/>
                  <a:pt x="10557735" y="6478381"/>
                </a:cubicBezTo>
                <a:lnTo>
                  <a:pt x="10557735" y="6480857"/>
                </a:lnTo>
                <a:cubicBezTo>
                  <a:pt x="10560226" y="6481244"/>
                  <a:pt x="10565518" y="6481476"/>
                  <a:pt x="10566063" y="6484416"/>
                </a:cubicBezTo>
                <a:lnTo>
                  <a:pt x="10565752" y="6526817"/>
                </a:lnTo>
                <a:cubicBezTo>
                  <a:pt x="10565752" y="6526817"/>
                  <a:pt x="10557735" y="6529448"/>
                  <a:pt x="10557735" y="6529448"/>
                </a:cubicBezTo>
                <a:lnTo>
                  <a:pt x="10557735" y="6531924"/>
                </a:lnTo>
                <a:lnTo>
                  <a:pt x="10583419" y="6531924"/>
                </a:lnTo>
                <a:cubicBezTo>
                  <a:pt x="10585443" y="6527823"/>
                  <a:pt x="10575714" y="6529370"/>
                  <a:pt x="10575714" y="6526507"/>
                </a:cubicBezTo>
                <a:lnTo>
                  <a:pt x="10575714" y="6507009"/>
                </a:lnTo>
                <a:lnTo>
                  <a:pt x="10603966" y="6507009"/>
                </a:lnTo>
                <a:lnTo>
                  <a:pt x="10603966" y="6526507"/>
                </a:lnTo>
                <a:cubicBezTo>
                  <a:pt x="10603966" y="6528210"/>
                  <a:pt x="10597117" y="6529138"/>
                  <a:pt x="10595638" y="6529448"/>
                </a:cubicBezTo>
                <a:lnTo>
                  <a:pt x="10595638" y="6531924"/>
                </a:lnTo>
                <a:lnTo>
                  <a:pt x="10621011" y="6531924"/>
                </a:lnTo>
                <a:cubicBezTo>
                  <a:pt x="10621634" y="6531924"/>
                  <a:pt x="10622334" y="6529834"/>
                  <a:pt x="10621945" y="6529370"/>
                </a:cubicBezTo>
                <a:cubicBezTo>
                  <a:pt x="10621400" y="6528751"/>
                  <a:pt x="10613617" y="6529061"/>
                  <a:pt x="10613617" y="6525811"/>
                </a:cubicBezTo>
                <a:lnTo>
                  <a:pt x="10613929" y="6483411"/>
                </a:lnTo>
                <a:cubicBezTo>
                  <a:pt x="10614785" y="6481554"/>
                  <a:pt x="10619921" y="6480857"/>
                  <a:pt x="10621945" y="6480857"/>
                </a:cubicBezTo>
                <a:cubicBezTo>
                  <a:pt x="10622256" y="6480161"/>
                  <a:pt x="10621712" y="6478304"/>
                  <a:pt x="10621011" y="6478304"/>
                </a:cubicBezTo>
                <a:cubicBezTo>
                  <a:pt x="10621011" y="6478304"/>
                  <a:pt x="10595638" y="6478304"/>
                  <a:pt x="10595638" y="6478304"/>
                </a:cubicBezTo>
                <a:close/>
                <a:moveTo>
                  <a:pt x="10448694" y="6478304"/>
                </a:moveTo>
                <a:cubicBezTo>
                  <a:pt x="10447527" y="6482714"/>
                  <a:pt x="10453987" y="6480470"/>
                  <a:pt x="10456400" y="6483179"/>
                </a:cubicBezTo>
                <a:lnTo>
                  <a:pt x="10455777" y="6526507"/>
                </a:lnTo>
                <a:cubicBezTo>
                  <a:pt x="10453286" y="6528829"/>
                  <a:pt x="10449862" y="6528829"/>
                  <a:pt x="10446749" y="6529370"/>
                </a:cubicBezTo>
                <a:cubicBezTo>
                  <a:pt x="10446437" y="6530067"/>
                  <a:pt x="10446982" y="6531924"/>
                  <a:pt x="10447683" y="6531924"/>
                </a:cubicBezTo>
                <a:lnTo>
                  <a:pt x="10492591" y="6531924"/>
                </a:lnTo>
                <a:lnTo>
                  <a:pt x="10493525" y="6530995"/>
                </a:lnTo>
                <a:cubicBezTo>
                  <a:pt x="10493525" y="6530995"/>
                  <a:pt x="10493525" y="6514824"/>
                  <a:pt x="10493525" y="6514824"/>
                </a:cubicBezTo>
                <a:lnTo>
                  <a:pt x="10491034" y="6514824"/>
                </a:lnTo>
                <a:cubicBezTo>
                  <a:pt x="10490567" y="6518693"/>
                  <a:pt x="10488699" y="6525115"/>
                  <a:pt x="10484574" y="6526585"/>
                </a:cubicBezTo>
                <a:cubicBezTo>
                  <a:pt x="10484185" y="6526740"/>
                  <a:pt x="10480371" y="6527513"/>
                  <a:pt x="10480371" y="6527513"/>
                </a:cubicBezTo>
                <a:lnTo>
                  <a:pt x="10466595" y="6527513"/>
                </a:lnTo>
                <a:lnTo>
                  <a:pt x="10466595" y="6482869"/>
                </a:lnTo>
                <a:cubicBezTo>
                  <a:pt x="10466595" y="6482869"/>
                  <a:pt x="10474923" y="6480857"/>
                  <a:pt x="10474923" y="6480857"/>
                </a:cubicBezTo>
                <a:lnTo>
                  <a:pt x="10474923" y="6478381"/>
                </a:lnTo>
                <a:lnTo>
                  <a:pt x="10475001" y="6478304"/>
                </a:lnTo>
                <a:close/>
                <a:moveTo>
                  <a:pt x="10497650" y="6477839"/>
                </a:moveTo>
                <a:cubicBezTo>
                  <a:pt x="10497106" y="6477762"/>
                  <a:pt x="10496016" y="6478845"/>
                  <a:pt x="10496016" y="6478845"/>
                </a:cubicBezTo>
                <a:lnTo>
                  <a:pt x="10496016" y="6493856"/>
                </a:lnTo>
                <a:cubicBezTo>
                  <a:pt x="10499908" y="6494707"/>
                  <a:pt x="10498662" y="6491612"/>
                  <a:pt x="10499752" y="6488904"/>
                </a:cubicBezTo>
                <a:cubicBezTo>
                  <a:pt x="10500841" y="6486196"/>
                  <a:pt x="10504422" y="6482946"/>
                  <a:pt x="10507301" y="6482946"/>
                </a:cubicBezTo>
                <a:lnTo>
                  <a:pt x="10517886" y="6482946"/>
                </a:lnTo>
                <a:lnTo>
                  <a:pt x="10517886" y="6526043"/>
                </a:lnTo>
                <a:cubicBezTo>
                  <a:pt x="10515162" y="6529370"/>
                  <a:pt x="10510804" y="6528596"/>
                  <a:pt x="10506990" y="6529602"/>
                </a:cubicBezTo>
                <a:lnTo>
                  <a:pt x="10506990" y="6532078"/>
                </a:lnTo>
                <a:lnTo>
                  <a:pt x="10537811" y="6532078"/>
                </a:lnTo>
                <a:cubicBezTo>
                  <a:pt x="10538823" y="6528132"/>
                  <a:pt x="10534464" y="6529370"/>
                  <a:pt x="10531584" y="6528364"/>
                </a:cubicBezTo>
                <a:cubicBezTo>
                  <a:pt x="10530728" y="6528055"/>
                  <a:pt x="10527537" y="6525965"/>
                  <a:pt x="10527537" y="6525346"/>
                </a:cubicBezTo>
                <a:lnTo>
                  <a:pt x="10527537" y="6482869"/>
                </a:lnTo>
                <a:lnTo>
                  <a:pt x="10538122" y="6482869"/>
                </a:lnTo>
                <a:cubicBezTo>
                  <a:pt x="10538589" y="6482869"/>
                  <a:pt x="10542636" y="6484880"/>
                  <a:pt x="10543259" y="6485422"/>
                </a:cubicBezTo>
                <a:cubicBezTo>
                  <a:pt x="10545438" y="6487279"/>
                  <a:pt x="10546450" y="6490915"/>
                  <a:pt x="10546139" y="6493701"/>
                </a:cubicBezTo>
                <a:lnTo>
                  <a:pt x="10548707" y="6493701"/>
                </a:lnTo>
                <a:lnTo>
                  <a:pt x="10548707" y="6477839"/>
                </a:lnTo>
                <a:close/>
                <a:moveTo>
                  <a:pt x="10369385" y="6477762"/>
                </a:moveTo>
                <a:cubicBezTo>
                  <a:pt x="10369385" y="6477762"/>
                  <a:pt x="10328602" y="6478381"/>
                  <a:pt x="10328602" y="6478381"/>
                </a:cubicBezTo>
                <a:lnTo>
                  <a:pt x="10328602" y="6480857"/>
                </a:lnTo>
                <a:cubicBezTo>
                  <a:pt x="10331015" y="6481631"/>
                  <a:pt x="10336230" y="6481244"/>
                  <a:pt x="10336852" y="6484416"/>
                </a:cubicBezTo>
                <a:lnTo>
                  <a:pt x="10336307" y="6526585"/>
                </a:lnTo>
                <a:cubicBezTo>
                  <a:pt x="10333428" y="6528674"/>
                  <a:pt x="10329458" y="6529447"/>
                  <a:pt x="10325956" y="6529447"/>
                </a:cubicBezTo>
                <a:lnTo>
                  <a:pt x="10325956" y="6532001"/>
                </a:lnTo>
                <a:lnTo>
                  <a:pt x="10373433" y="6532001"/>
                </a:lnTo>
                <a:lnTo>
                  <a:pt x="10373433" y="6517300"/>
                </a:lnTo>
                <a:lnTo>
                  <a:pt x="10371487" y="6517300"/>
                </a:lnTo>
                <a:cubicBezTo>
                  <a:pt x="10371565" y="6530608"/>
                  <a:pt x="10356777" y="6527436"/>
                  <a:pt x="10347748" y="6527204"/>
                </a:cubicBezTo>
                <a:cubicBezTo>
                  <a:pt x="10347437" y="6526972"/>
                  <a:pt x="10346425" y="6525269"/>
                  <a:pt x="10346425" y="6525269"/>
                </a:cubicBezTo>
                <a:lnTo>
                  <a:pt x="10346425" y="6507087"/>
                </a:lnTo>
                <a:lnTo>
                  <a:pt x="10363470" y="6507087"/>
                </a:lnTo>
                <a:cubicBezTo>
                  <a:pt x="10364793" y="6507087"/>
                  <a:pt x="10366895" y="6511961"/>
                  <a:pt x="10366428" y="6513431"/>
                </a:cubicBezTo>
                <a:lnTo>
                  <a:pt x="10368918" y="6513431"/>
                </a:lnTo>
                <a:cubicBezTo>
                  <a:pt x="10368918" y="6513431"/>
                  <a:pt x="10368918" y="6496254"/>
                  <a:pt x="10368918" y="6496254"/>
                </a:cubicBezTo>
                <a:lnTo>
                  <a:pt x="10366428" y="6496254"/>
                </a:lnTo>
                <a:cubicBezTo>
                  <a:pt x="10366661" y="6499659"/>
                  <a:pt x="10364326" y="6502599"/>
                  <a:pt x="10360902" y="6502599"/>
                </a:cubicBezTo>
                <a:lnTo>
                  <a:pt x="10346425" y="6502599"/>
                </a:lnTo>
                <a:lnTo>
                  <a:pt x="10346425" y="6482792"/>
                </a:lnTo>
                <a:lnTo>
                  <a:pt x="10361524" y="6482792"/>
                </a:lnTo>
                <a:cubicBezTo>
                  <a:pt x="10365494" y="6482792"/>
                  <a:pt x="10368763" y="6488672"/>
                  <a:pt x="10368296" y="6492386"/>
                </a:cubicBezTo>
                <a:cubicBezTo>
                  <a:pt x="10369152" y="6492618"/>
                  <a:pt x="10370631" y="6492308"/>
                  <a:pt x="10370864" y="6491457"/>
                </a:cubicBezTo>
                <a:lnTo>
                  <a:pt x="10370942" y="6491457"/>
                </a:lnTo>
                <a:lnTo>
                  <a:pt x="10370942" y="6478691"/>
                </a:lnTo>
                <a:cubicBezTo>
                  <a:pt x="10370942" y="6478381"/>
                  <a:pt x="10369930" y="6477607"/>
                  <a:pt x="10369385" y="6477762"/>
                </a:cubicBezTo>
                <a:close/>
                <a:moveTo>
                  <a:pt x="4377410" y="6470397"/>
                </a:moveTo>
                <a:lnTo>
                  <a:pt x="4377410" y="6488468"/>
                </a:lnTo>
                <a:lnTo>
                  <a:pt x="4366574" y="6488468"/>
                </a:lnTo>
                <a:lnTo>
                  <a:pt x="4366574" y="6500749"/>
                </a:lnTo>
                <a:lnTo>
                  <a:pt x="4377410" y="6500749"/>
                </a:lnTo>
                <a:lnTo>
                  <a:pt x="4377410" y="6529874"/>
                </a:lnTo>
                <a:cubicBezTo>
                  <a:pt x="4377410" y="6532944"/>
                  <a:pt x="4377760" y="6535751"/>
                  <a:pt x="4378284" y="6538383"/>
                </a:cubicBezTo>
                <a:cubicBezTo>
                  <a:pt x="4378896" y="6541015"/>
                  <a:pt x="4379944" y="6543383"/>
                  <a:pt x="4381430" y="6545401"/>
                </a:cubicBezTo>
                <a:cubicBezTo>
                  <a:pt x="4382916" y="6547418"/>
                  <a:pt x="4384925" y="6549085"/>
                  <a:pt x="4387547" y="6550225"/>
                </a:cubicBezTo>
                <a:cubicBezTo>
                  <a:pt x="4390081" y="6551366"/>
                  <a:pt x="4393489" y="6551980"/>
                  <a:pt x="4397597" y="6551980"/>
                </a:cubicBezTo>
                <a:cubicBezTo>
                  <a:pt x="4399344" y="6551980"/>
                  <a:pt x="4401092" y="6551805"/>
                  <a:pt x="4403015" y="6551541"/>
                </a:cubicBezTo>
                <a:cubicBezTo>
                  <a:pt x="4404850" y="6551278"/>
                  <a:pt x="4406510" y="6550840"/>
                  <a:pt x="4407908" y="6550313"/>
                </a:cubicBezTo>
                <a:lnTo>
                  <a:pt x="4407384" y="6538120"/>
                </a:lnTo>
                <a:cubicBezTo>
                  <a:pt x="4406423" y="6538558"/>
                  <a:pt x="4405374" y="6538909"/>
                  <a:pt x="4404151" y="6539085"/>
                </a:cubicBezTo>
                <a:cubicBezTo>
                  <a:pt x="4403015" y="6539348"/>
                  <a:pt x="4401879" y="6539435"/>
                  <a:pt x="4400830" y="6539435"/>
                </a:cubicBezTo>
                <a:cubicBezTo>
                  <a:pt x="4397422" y="6539435"/>
                  <a:pt x="4395150" y="6538558"/>
                  <a:pt x="4394188" y="6536716"/>
                </a:cubicBezTo>
                <a:cubicBezTo>
                  <a:pt x="4393227" y="6534962"/>
                  <a:pt x="4392703" y="6532681"/>
                  <a:pt x="4392703" y="6529874"/>
                </a:cubicBezTo>
                <a:lnTo>
                  <a:pt x="4392703" y="6500925"/>
                </a:lnTo>
                <a:lnTo>
                  <a:pt x="4408258" y="6500925"/>
                </a:lnTo>
                <a:lnTo>
                  <a:pt x="4408258" y="6488468"/>
                </a:lnTo>
                <a:lnTo>
                  <a:pt x="4392703" y="6488468"/>
                </a:lnTo>
                <a:lnTo>
                  <a:pt x="4392703" y="6470397"/>
                </a:lnTo>
                <a:close/>
                <a:moveTo>
                  <a:pt x="4224307" y="6470397"/>
                </a:moveTo>
                <a:lnTo>
                  <a:pt x="4224307" y="6488468"/>
                </a:lnTo>
                <a:lnTo>
                  <a:pt x="4213471" y="6488468"/>
                </a:lnTo>
                <a:lnTo>
                  <a:pt x="4213471" y="6500749"/>
                </a:lnTo>
                <a:lnTo>
                  <a:pt x="4224307" y="6500749"/>
                </a:lnTo>
                <a:lnTo>
                  <a:pt x="4224307" y="6529874"/>
                </a:lnTo>
                <a:cubicBezTo>
                  <a:pt x="4224307" y="6532944"/>
                  <a:pt x="4224657" y="6535751"/>
                  <a:pt x="4225181" y="6538383"/>
                </a:cubicBezTo>
                <a:cubicBezTo>
                  <a:pt x="4225793" y="6541015"/>
                  <a:pt x="4226841" y="6543383"/>
                  <a:pt x="4228327" y="6545401"/>
                </a:cubicBezTo>
                <a:cubicBezTo>
                  <a:pt x="4229812" y="6547418"/>
                  <a:pt x="4231822" y="6549085"/>
                  <a:pt x="4234444" y="6550225"/>
                </a:cubicBezTo>
                <a:cubicBezTo>
                  <a:pt x="4236978" y="6551366"/>
                  <a:pt x="4240386" y="6551980"/>
                  <a:pt x="4244494" y="6551980"/>
                </a:cubicBezTo>
                <a:cubicBezTo>
                  <a:pt x="4246241" y="6551980"/>
                  <a:pt x="4247989" y="6551805"/>
                  <a:pt x="4249912" y="6551541"/>
                </a:cubicBezTo>
                <a:cubicBezTo>
                  <a:pt x="4251747" y="6551278"/>
                  <a:pt x="4253407" y="6550840"/>
                  <a:pt x="4254805" y="6550313"/>
                </a:cubicBezTo>
                <a:lnTo>
                  <a:pt x="4254281" y="6538120"/>
                </a:lnTo>
                <a:cubicBezTo>
                  <a:pt x="4253320" y="6538558"/>
                  <a:pt x="4252271" y="6538909"/>
                  <a:pt x="4251048" y="6539085"/>
                </a:cubicBezTo>
                <a:cubicBezTo>
                  <a:pt x="4249912" y="6539348"/>
                  <a:pt x="4248776" y="6539435"/>
                  <a:pt x="4247727" y="6539435"/>
                </a:cubicBezTo>
                <a:cubicBezTo>
                  <a:pt x="4244319" y="6539435"/>
                  <a:pt x="4242047" y="6538558"/>
                  <a:pt x="4241085" y="6536716"/>
                </a:cubicBezTo>
                <a:cubicBezTo>
                  <a:pt x="4240124" y="6534962"/>
                  <a:pt x="4239600" y="6532681"/>
                  <a:pt x="4239600" y="6529874"/>
                </a:cubicBezTo>
                <a:lnTo>
                  <a:pt x="4239600" y="6500925"/>
                </a:lnTo>
                <a:lnTo>
                  <a:pt x="4255155" y="6500925"/>
                </a:lnTo>
                <a:lnTo>
                  <a:pt x="4255155" y="6488468"/>
                </a:lnTo>
                <a:lnTo>
                  <a:pt x="4239600" y="6488468"/>
                </a:lnTo>
                <a:lnTo>
                  <a:pt x="4239600" y="6470397"/>
                </a:lnTo>
                <a:close/>
                <a:moveTo>
                  <a:pt x="4075399" y="6458817"/>
                </a:moveTo>
                <a:lnTo>
                  <a:pt x="4075399" y="6550751"/>
                </a:lnTo>
                <a:lnTo>
                  <a:pt x="4091739" y="6550751"/>
                </a:lnTo>
                <a:lnTo>
                  <a:pt x="4091739" y="6458817"/>
                </a:lnTo>
                <a:close/>
                <a:moveTo>
                  <a:pt x="4430017" y="6457940"/>
                </a:moveTo>
                <a:cubicBezTo>
                  <a:pt x="4427133" y="6457940"/>
                  <a:pt x="4424774" y="6458905"/>
                  <a:pt x="4422938" y="6460747"/>
                </a:cubicBezTo>
                <a:lnTo>
                  <a:pt x="4420179" y="6467239"/>
                </a:lnTo>
                <a:lnTo>
                  <a:pt x="4420142" y="6467151"/>
                </a:lnTo>
                <a:lnTo>
                  <a:pt x="4420142" y="6467326"/>
                </a:lnTo>
                <a:lnTo>
                  <a:pt x="4420179" y="6467239"/>
                </a:lnTo>
                <a:lnTo>
                  <a:pt x="4422938" y="6473730"/>
                </a:lnTo>
                <a:cubicBezTo>
                  <a:pt x="4424861" y="6475572"/>
                  <a:pt x="4427220" y="6476537"/>
                  <a:pt x="4430017" y="6476537"/>
                </a:cubicBezTo>
                <a:cubicBezTo>
                  <a:pt x="4432813" y="6476537"/>
                  <a:pt x="4435260" y="6475660"/>
                  <a:pt x="4437183" y="6473906"/>
                </a:cubicBezTo>
                <a:cubicBezTo>
                  <a:pt x="4439105" y="6472151"/>
                  <a:pt x="4440066" y="6469870"/>
                  <a:pt x="4440066" y="6467239"/>
                </a:cubicBezTo>
                <a:cubicBezTo>
                  <a:pt x="4440066" y="6464607"/>
                  <a:pt x="4439105" y="6462326"/>
                  <a:pt x="4437183" y="6460572"/>
                </a:cubicBezTo>
                <a:cubicBezTo>
                  <a:pt x="4435260" y="6458817"/>
                  <a:pt x="4432901" y="6457940"/>
                  <a:pt x="4430017" y="6457940"/>
                </a:cubicBezTo>
                <a:close/>
                <a:moveTo>
                  <a:pt x="4276565" y="6457940"/>
                </a:moveTo>
                <a:cubicBezTo>
                  <a:pt x="4273681" y="6457940"/>
                  <a:pt x="4271322" y="6458905"/>
                  <a:pt x="4269486" y="6460747"/>
                </a:cubicBezTo>
                <a:lnTo>
                  <a:pt x="4266727" y="6467239"/>
                </a:lnTo>
                <a:lnTo>
                  <a:pt x="4266690" y="6467151"/>
                </a:lnTo>
                <a:lnTo>
                  <a:pt x="4266690" y="6467326"/>
                </a:lnTo>
                <a:lnTo>
                  <a:pt x="4266727" y="6467239"/>
                </a:lnTo>
                <a:lnTo>
                  <a:pt x="4269486" y="6473730"/>
                </a:lnTo>
                <a:cubicBezTo>
                  <a:pt x="4271409" y="6475572"/>
                  <a:pt x="4273768" y="6476537"/>
                  <a:pt x="4276565" y="6476537"/>
                </a:cubicBezTo>
                <a:cubicBezTo>
                  <a:pt x="4279361" y="6476537"/>
                  <a:pt x="4281808" y="6475660"/>
                  <a:pt x="4283731" y="6473906"/>
                </a:cubicBezTo>
                <a:cubicBezTo>
                  <a:pt x="4285653" y="6472151"/>
                  <a:pt x="4286614" y="6469870"/>
                  <a:pt x="4286614" y="6467239"/>
                </a:cubicBezTo>
                <a:cubicBezTo>
                  <a:pt x="4286614" y="6464607"/>
                  <a:pt x="4285653" y="6462326"/>
                  <a:pt x="4283731" y="6460572"/>
                </a:cubicBezTo>
                <a:cubicBezTo>
                  <a:pt x="4281808" y="6458817"/>
                  <a:pt x="4279449" y="6457940"/>
                  <a:pt x="4276565" y="6457940"/>
                </a:cubicBezTo>
                <a:close/>
                <a:moveTo>
                  <a:pt x="4193285" y="6457940"/>
                </a:moveTo>
                <a:cubicBezTo>
                  <a:pt x="4190400" y="6457940"/>
                  <a:pt x="4188041" y="6458905"/>
                  <a:pt x="4186206" y="6460747"/>
                </a:cubicBezTo>
                <a:lnTo>
                  <a:pt x="4183447" y="6467239"/>
                </a:lnTo>
                <a:lnTo>
                  <a:pt x="4183409" y="6467151"/>
                </a:lnTo>
                <a:lnTo>
                  <a:pt x="4183409" y="6467326"/>
                </a:lnTo>
                <a:lnTo>
                  <a:pt x="4183447" y="6467239"/>
                </a:lnTo>
                <a:lnTo>
                  <a:pt x="4186206" y="6473730"/>
                </a:lnTo>
                <a:cubicBezTo>
                  <a:pt x="4188128" y="6475572"/>
                  <a:pt x="4190487" y="6476537"/>
                  <a:pt x="4193285" y="6476537"/>
                </a:cubicBezTo>
                <a:cubicBezTo>
                  <a:pt x="4196080" y="6476537"/>
                  <a:pt x="4198527" y="6475660"/>
                  <a:pt x="4200450" y="6473906"/>
                </a:cubicBezTo>
                <a:cubicBezTo>
                  <a:pt x="4202372" y="6472151"/>
                  <a:pt x="4203333" y="6469870"/>
                  <a:pt x="4203333" y="6467239"/>
                </a:cubicBezTo>
                <a:cubicBezTo>
                  <a:pt x="4203333" y="6464607"/>
                  <a:pt x="4202372" y="6462326"/>
                  <a:pt x="4200450" y="6460572"/>
                </a:cubicBezTo>
                <a:cubicBezTo>
                  <a:pt x="4198527" y="6458817"/>
                  <a:pt x="4196168" y="6457940"/>
                  <a:pt x="4193285" y="6457940"/>
                </a:cubicBezTo>
                <a:close/>
                <a:moveTo>
                  <a:pt x="3735107" y="6408551"/>
                </a:moveTo>
                <a:lnTo>
                  <a:pt x="3743078" y="6408551"/>
                </a:lnTo>
                <a:cubicBezTo>
                  <a:pt x="3744723" y="6408551"/>
                  <a:pt x="3748449" y="6408726"/>
                  <a:pt x="3748449" y="6413639"/>
                </a:cubicBezTo>
                <a:cubicBezTo>
                  <a:pt x="3748449" y="6414604"/>
                  <a:pt x="3748362" y="6417499"/>
                  <a:pt x="3745329" y="6418551"/>
                </a:cubicBezTo>
                <a:cubicBezTo>
                  <a:pt x="3744290" y="6418903"/>
                  <a:pt x="3742818" y="6418903"/>
                  <a:pt x="3742818" y="6418903"/>
                </a:cubicBezTo>
                <a:lnTo>
                  <a:pt x="3735107" y="6418903"/>
                </a:lnTo>
                <a:close/>
                <a:moveTo>
                  <a:pt x="3698978" y="6408288"/>
                </a:moveTo>
                <a:cubicBezTo>
                  <a:pt x="3699672" y="6408288"/>
                  <a:pt x="3701057" y="6408376"/>
                  <a:pt x="3702617" y="6408990"/>
                </a:cubicBezTo>
                <a:cubicBezTo>
                  <a:pt x="3704696" y="6409779"/>
                  <a:pt x="3705822" y="6411183"/>
                  <a:pt x="3706256" y="6411797"/>
                </a:cubicBezTo>
                <a:lnTo>
                  <a:pt x="3706169" y="6411885"/>
                </a:lnTo>
                <a:cubicBezTo>
                  <a:pt x="3707296" y="6413463"/>
                  <a:pt x="3708768" y="6416621"/>
                  <a:pt x="3708594" y="6421446"/>
                </a:cubicBezTo>
                <a:cubicBezTo>
                  <a:pt x="3708508" y="6424429"/>
                  <a:pt x="3707816" y="6427499"/>
                  <a:pt x="3705649" y="6429780"/>
                </a:cubicBezTo>
                <a:cubicBezTo>
                  <a:pt x="3703310" y="6432237"/>
                  <a:pt x="3700364" y="6432587"/>
                  <a:pt x="3699152" y="6432587"/>
                </a:cubicBezTo>
                <a:cubicBezTo>
                  <a:pt x="3696724" y="6432587"/>
                  <a:pt x="3694472" y="6431623"/>
                  <a:pt x="3692826" y="6429868"/>
                </a:cubicBezTo>
                <a:cubicBezTo>
                  <a:pt x="3691267" y="6428201"/>
                  <a:pt x="3689708" y="6425394"/>
                  <a:pt x="3689708" y="6420218"/>
                </a:cubicBezTo>
                <a:cubicBezTo>
                  <a:pt x="3689708" y="6416183"/>
                  <a:pt x="3691093" y="6411446"/>
                  <a:pt x="3694819" y="6409340"/>
                </a:cubicBezTo>
                <a:cubicBezTo>
                  <a:pt x="3695513" y="6408990"/>
                  <a:pt x="3696899" y="6408288"/>
                  <a:pt x="3698978" y="6408288"/>
                </a:cubicBezTo>
                <a:close/>
                <a:moveTo>
                  <a:pt x="6289015" y="6407730"/>
                </a:moveTo>
                <a:cubicBezTo>
                  <a:pt x="6298848" y="6407485"/>
                  <a:pt x="6308440" y="6415058"/>
                  <a:pt x="6308015" y="6431182"/>
                </a:cubicBezTo>
                <a:lnTo>
                  <a:pt x="6268565" y="6431182"/>
                </a:lnTo>
                <a:cubicBezTo>
                  <a:pt x="6269106" y="6416036"/>
                  <a:pt x="6279181" y="6407974"/>
                  <a:pt x="6289015" y="6407730"/>
                </a:cubicBezTo>
                <a:close/>
                <a:moveTo>
                  <a:pt x="3725749" y="6401533"/>
                </a:moveTo>
                <a:lnTo>
                  <a:pt x="3725749" y="6439429"/>
                </a:lnTo>
                <a:lnTo>
                  <a:pt x="3735194" y="6439429"/>
                </a:lnTo>
                <a:lnTo>
                  <a:pt x="3735194" y="6425920"/>
                </a:lnTo>
                <a:lnTo>
                  <a:pt x="3740998" y="6425920"/>
                </a:lnTo>
                <a:lnTo>
                  <a:pt x="3748449" y="6439429"/>
                </a:lnTo>
                <a:lnTo>
                  <a:pt x="3748536" y="6439341"/>
                </a:lnTo>
                <a:lnTo>
                  <a:pt x="3758845" y="6439341"/>
                </a:lnTo>
                <a:lnTo>
                  <a:pt x="3750183" y="6424166"/>
                </a:lnTo>
                <a:cubicBezTo>
                  <a:pt x="3751741" y="6423639"/>
                  <a:pt x="3752521" y="6423201"/>
                  <a:pt x="3753214" y="6422850"/>
                </a:cubicBezTo>
                <a:cubicBezTo>
                  <a:pt x="3753820" y="6422499"/>
                  <a:pt x="3754427" y="6421973"/>
                  <a:pt x="3754946" y="6421447"/>
                </a:cubicBezTo>
                <a:cubicBezTo>
                  <a:pt x="3756247" y="6420219"/>
                  <a:pt x="3757892" y="6417937"/>
                  <a:pt x="3757892" y="6413727"/>
                </a:cubicBezTo>
                <a:cubicBezTo>
                  <a:pt x="3757892" y="6410656"/>
                  <a:pt x="3756940" y="6408464"/>
                  <a:pt x="3756420" y="6407410"/>
                </a:cubicBezTo>
                <a:cubicBezTo>
                  <a:pt x="3753474" y="6401972"/>
                  <a:pt x="3747582" y="6401621"/>
                  <a:pt x="3745850" y="6401533"/>
                </a:cubicBezTo>
                <a:cubicBezTo>
                  <a:pt x="3744723" y="6401533"/>
                  <a:pt x="3743683" y="6401533"/>
                  <a:pt x="3742645" y="6401533"/>
                </a:cubicBezTo>
                <a:close/>
                <a:moveTo>
                  <a:pt x="3767251" y="6401446"/>
                </a:moveTo>
                <a:lnTo>
                  <a:pt x="3767251" y="6439430"/>
                </a:lnTo>
                <a:lnTo>
                  <a:pt x="3776174" y="6439430"/>
                </a:lnTo>
                <a:lnTo>
                  <a:pt x="3776174" y="6428289"/>
                </a:lnTo>
                <a:lnTo>
                  <a:pt x="3781979" y="6422237"/>
                </a:lnTo>
                <a:lnTo>
                  <a:pt x="3791943" y="6439430"/>
                </a:lnTo>
                <a:lnTo>
                  <a:pt x="3802513" y="6439430"/>
                </a:lnTo>
                <a:lnTo>
                  <a:pt x="3788217" y="6415570"/>
                </a:lnTo>
                <a:lnTo>
                  <a:pt x="3801473" y="6401446"/>
                </a:lnTo>
                <a:lnTo>
                  <a:pt x="3790209" y="6401446"/>
                </a:lnTo>
                <a:lnTo>
                  <a:pt x="3776174" y="6416973"/>
                </a:lnTo>
                <a:lnTo>
                  <a:pt x="3776174" y="6401446"/>
                </a:lnTo>
                <a:close/>
                <a:moveTo>
                  <a:pt x="3624034" y="6401446"/>
                </a:moveTo>
                <a:lnTo>
                  <a:pt x="3633477" y="6439430"/>
                </a:lnTo>
                <a:lnTo>
                  <a:pt x="3643182" y="6439430"/>
                </a:lnTo>
                <a:lnTo>
                  <a:pt x="3649940" y="6415131"/>
                </a:lnTo>
                <a:lnTo>
                  <a:pt x="3656697" y="6439430"/>
                </a:lnTo>
                <a:lnTo>
                  <a:pt x="3666314" y="6439430"/>
                </a:lnTo>
                <a:lnTo>
                  <a:pt x="3675845" y="6401446"/>
                </a:lnTo>
                <a:lnTo>
                  <a:pt x="3666487" y="6401446"/>
                </a:lnTo>
                <a:lnTo>
                  <a:pt x="3661030" y="6427587"/>
                </a:lnTo>
                <a:lnTo>
                  <a:pt x="3654012" y="6401446"/>
                </a:lnTo>
                <a:lnTo>
                  <a:pt x="3645693" y="6401446"/>
                </a:lnTo>
                <a:lnTo>
                  <a:pt x="3638936" y="6427587"/>
                </a:lnTo>
                <a:lnTo>
                  <a:pt x="3633390" y="6401446"/>
                </a:lnTo>
                <a:close/>
                <a:moveTo>
                  <a:pt x="3589549" y="6401446"/>
                </a:moveTo>
                <a:lnTo>
                  <a:pt x="3589549" y="6408991"/>
                </a:lnTo>
                <a:lnTo>
                  <a:pt x="3599341" y="6408991"/>
                </a:lnTo>
                <a:lnTo>
                  <a:pt x="3599341" y="6439430"/>
                </a:lnTo>
                <a:lnTo>
                  <a:pt x="3608784" y="6439430"/>
                </a:lnTo>
                <a:lnTo>
                  <a:pt x="3608784" y="6408991"/>
                </a:lnTo>
                <a:lnTo>
                  <a:pt x="3618488" y="6408991"/>
                </a:lnTo>
                <a:lnTo>
                  <a:pt x="3618488" y="6401446"/>
                </a:lnTo>
                <a:close/>
                <a:moveTo>
                  <a:pt x="3555674" y="6401446"/>
                </a:moveTo>
                <a:lnTo>
                  <a:pt x="3555674" y="6439430"/>
                </a:lnTo>
                <a:lnTo>
                  <a:pt x="3585045" y="6439430"/>
                </a:lnTo>
                <a:lnTo>
                  <a:pt x="3585045" y="6431974"/>
                </a:lnTo>
                <a:lnTo>
                  <a:pt x="3564944" y="6431974"/>
                </a:lnTo>
                <a:lnTo>
                  <a:pt x="3564944" y="6422938"/>
                </a:lnTo>
                <a:lnTo>
                  <a:pt x="3582098" y="6422938"/>
                </a:lnTo>
                <a:lnTo>
                  <a:pt x="3582098" y="6415745"/>
                </a:lnTo>
                <a:lnTo>
                  <a:pt x="3564944" y="6415745"/>
                </a:lnTo>
                <a:lnTo>
                  <a:pt x="3564944" y="6408815"/>
                </a:lnTo>
                <a:lnTo>
                  <a:pt x="3583311" y="6408815"/>
                </a:lnTo>
                <a:lnTo>
                  <a:pt x="3583311" y="6401446"/>
                </a:lnTo>
                <a:close/>
                <a:moveTo>
                  <a:pt x="3514087" y="6401446"/>
                </a:moveTo>
                <a:lnTo>
                  <a:pt x="3514087" y="6439430"/>
                </a:lnTo>
                <a:lnTo>
                  <a:pt x="3523097" y="6439430"/>
                </a:lnTo>
                <a:lnTo>
                  <a:pt x="3523097" y="6416447"/>
                </a:lnTo>
                <a:lnTo>
                  <a:pt x="3536352" y="6439430"/>
                </a:lnTo>
                <a:lnTo>
                  <a:pt x="3545537" y="6439430"/>
                </a:lnTo>
                <a:lnTo>
                  <a:pt x="3545537" y="6401446"/>
                </a:lnTo>
                <a:lnTo>
                  <a:pt x="3536525" y="6401446"/>
                </a:lnTo>
                <a:lnTo>
                  <a:pt x="3536525" y="6424605"/>
                </a:lnTo>
                <a:lnTo>
                  <a:pt x="3523271" y="6401446"/>
                </a:lnTo>
                <a:close/>
                <a:moveTo>
                  <a:pt x="3699064" y="6400217"/>
                </a:moveTo>
                <a:cubicBezTo>
                  <a:pt x="3690315" y="6400217"/>
                  <a:pt x="3685982" y="6405130"/>
                  <a:pt x="3684075" y="6407937"/>
                </a:cubicBezTo>
                <a:cubicBezTo>
                  <a:pt x="3680783" y="6412849"/>
                  <a:pt x="3680523" y="6418201"/>
                  <a:pt x="3680523" y="6420218"/>
                </a:cubicBezTo>
                <a:cubicBezTo>
                  <a:pt x="3680523" y="6422499"/>
                  <a:pt x="3680870" y="6429693"/>
                  <a:pt x="3685895" y="6435043"/>
                </a:cubicBezTo>
                <a:cubicBezTo>
                  <a:pt x="3690660" y="6440132"/>
                  <a:pt x="3696899" y="6440482"/>
                  <a:pt x="3699152" y="6440482"/>
                </a:cubicBezTo>
                <a:cubicBezTo>
                  <a:pt x="3705302" y="6440482"/>
                  <a:pt x="3708941" y="6438202"/>
                  <a:pt x="3710934" y="6436535"/>
                </a:cubicBezTo>
                <a:cubicBezTo>
                  <a:pt x="3715526" y="6432675"/>
                  <a:pt x="3718039" y="6426447"/>
                  <a:pt x="3718039" y="6420657"/>
                </a:cubicBezTo>
                <a:cubicBezTo>
                  <a:pt x="3718039" y="6415393"/>
                  <a:pt x="3716045" y="6409253"/>
                  <a:pt x="3712407" y="6405480"/>
                </a:cubicBezTo>
                <a:cubicBezTo>
                  <a:pt x="3710501" y="6403463"/>
                  <a:pt x="3706169" y="6400217"/>
                  <a:pt x="3699064" y="6400217"/>
                </a:cubicBezTo>
                <a:close/>
                <a:moveTo>
                  <a:pt x="6534655" y="6388445"/>
                </a:moveTo>
                <a:lnTo>
                  <a:pt x="6534655" y="6490982"/>
                </a:lnTo>
                <a:cubicBezTo>
                  <a:pt x="6534655" y="6491061"/>
                  <a:pt x="6535506" y="6491843"/>
                  <a:pt x="6535506" y="6491843"/>
                </a:cubicBezTo>
                <a:lnTo>
                  <a:pt x="6559949" y="6491843"/>
                </a:lnTo>
                <a:cubicBezTo>
                  <a:pt x="6560026" y="6491843"/>
                  <a:pt x="6560800" y="6490982"/>
                  <a:pt x="6560800" y="6490982"/>
                </a:cubicBezTo>
                <a:lnTo>
                  <a:pt x="6560800" y="6388445"/>
                </a:lnTo>
                <a:close/>
                <a:moveTo>
                  <a:pt x="6279162" y="6387036"/>
                </a:moveTo>
                <a:cubicBezTo>
                  <a:pt x="6249846" y="6393376"/>
                  <a:pt x="6239094" y="6424764"/>
                  <a:pt x="6243039" y="6452081"/>
                </a:cubicBezTo>
                <a:cubicBezTo>
                  <a:pt x="6249459" y="6496618"/>
                  <a:pt x="6296257" y="6500845"/>
                  <a:pt x="6330756" y="6487304"/>
                </a:cubicBezTo>
                <a:lnTo>
                  <a:pt x="6322402" y="6465387"/>
                </a:lnTo>
                <a:cubicBezTo>
                  <a:pt x="6318844" y="6466248"/>
                  <a:pt x="6315518" y="6468127"/>
                  <a:pt x="6311882" y="6469066"/>
                </a:cubicBezTo>
                <a:cubicBezTo>
                  <a:pt x="6301672" y="6471727"/>
                  <a:pt x="6287362" y="6472119"/>
                  <a:pt x="6278234" y="6466013"/>
                </a:cubicBezTo>
                <a:cubicBezTo>
                  <a:pt x="6272897" y="6462413"/>
                  <a:pt x="6269803" y="6456621"/>
                  <a:pt x="6268565" y="6450281"/>
                </a:cubicBezTo>
                <a:lnTo>
                  <a:pt x="6332999" y="6450281"/>
                </a:lnTo>
                <a:lnTo>
                  <a:pt x="6332922" y="6450124"/>
                </a:lnTo>
                <a:cubicBezTo>
                  <a:pt x="6333541" y="6435565"/>
                  <a:pt x="6334082" y="6420302"/>
                  <a:pt x="6327662" y="6406839"/>
                </a:cubicBezTo>
                <a:cubicBezTo>
                  <a:pt x="6318689" y="6388132"/>
                  <a:pt x="6298268" y="6382888"/>
                  <a:pt x="6279162" y="6387036"/>
                </a:cubicBezTo>
                <a:close/>
                <a:moveTo>
                  <a:pt x="6229145" y="6386009"/>
                </a:moveTo>
                <a:cubicBezTo>
                  <a:pt x="6222503" y="6386156"/>
                  <a:pt x="6216044" y="6388171"/>
                  <a:pt x="6211403" y="6392750"/>
                </a:cubicBezTo>
                <a:lnTo>
                  <a:pt x="6204673" y="6402534"/>
                </a:lnTo>
                <a:lnTo>
                  <a:pt x="6204673" y="6388523"/>
                </a:lnTo>
                <a:lnTo>
                  <a:pt x="6179147" y="6388523"/>
                </a:lnTo>
                <a:lnTo>
                  <a:pt x="6179147" y="6491060"/>
                </a:lnTo>
                <a:cubicBezTo>
                  <a:pt x="6179147" y="6491139"/>
                  <a:pt x="6179998" y="6491921"/>
                  <a:pt x="6179998" y="6491921"/>
                </a:cubicBezTo>
                <a:lnTo>
                  <a:pt x="6204364" y="6491921"/>
                </a:lnTo>
                <a:cubicBezTo>
                  <a:pt x="6204441" y="6491921"/>
                  <a:pt x="6205215" y="6491060"/>
                  <a:pt x="6205215" y="6491060"/>
                </a:cubicBezTo>
                <a:lnTo>
                  <a:pt x="6205215" y="6431495"/>
                </a:lnTo>
                <a:cubicBezTo>
                  <a:pt x="6205215" y="6427346"/>
                  <a:pt x="6207767" y="6421476"/>
                  <a:pt x="6210474" y="6418267"/>
                </a:cubicBezTo>
                <a:cubicBezTo>
                  <a:pt x="6216817" y="6410753"/>
                  <a:pt x="6227105" y="6410831"/>
                  <a:pt x="6235691" y="6413727"/>
                </a:cubicBezTo>
                <a:lnTo>
                  <a:pt x="6247990" y="6390480"/>
                </a:lnTo>
                <a:cubicBezTo>
                  <a:pt x="6242614" y="6387584"/>
                  <a:pt x="6235788" y="6385862"/>
                  <a:pt x="6229145" y="6386009"/>
                </a:cubicBezTo>
                <a:close/>
                <a:moveTo>
                  <a:pt x="6398622" y="6385911"/>
                </a:moveTo>
                <a:cubicBezTo>
                  <a:pt x="6389215" y="6385392"/>
                  <a:pt x="6379720" y="6386644"/>
                  <a:pt x="6371985" y="6389775"/>
                </a:cubicBezTo>
                <a:cubicBezTo>
                  <a:pt x="6345917" y="6400342"/>
                  <a:pt x="6337718" y="6432043"/>
                  <a:pt x="6344215" y="6457716"/>
                </a:cubicBezTo>
                <a:cubicBezTo>
                  <a:pt x="6353498" y="6494348"/>
                  <a:pt x="6393566" y="6501157"/>
                  <a:pt x="6424120" y="6487773"/>
                </a:cubicBezTo>
                <a:lnTo>
                  <a:pt x="6415843" y="6465622"/>
                </a:lnTo>
                <a:cubicBezTo>
                  <a:pt x="6415224" y="6465230"/>
                  <a:pt x="6409036" y="6468361"/>
                  <a:pt x="6407334" y="6468909"/>
                </a:cubicBezTo>
                <a:cubicBezTo>
                  <a:pt x="6387068" y="6475093"/>
                  <a:pt x="6369587" y="6465935"/>
                  <a:pt x="6368040" y="6443783"/>
                </a:cubicBezTo>
                <a:cubicBezTo>
                  <a:pt x="6366261" y="6418736"/>
                  <a:pt x="6381808" y="6404177"/>
                  <a:pt x="6406329" y="6410596"/>
                </a:cubicBezTo>
                <a:cubicBezTo>
                  <a:pt x="6409810" y="6411535"/>
                  <a:pt x="6412826" y="6413414"/>
                  <a:pt x="6416307" y="6414275"/>
                </a:cubicBezTo>
                <a:lnTo>
                  <a:pt x="6416462" y="6414275"/>
                </a:lnTo>
                <a:lnTo>
                  <a:pt x="6424739" y="6392671"/>
                </a:lnTo>
                <a:cubicBezTo>
                  <a:pt x="6417351" y="6388719"/>
                  <a:pt x="6408030" y="6386429"/>
                  <a:pt x="6398622" y="6385911"/>
                </a:cubicBezTo>
                <a:close/>
                <a:moveTo>
                  <a:pt x="10533296" y="6384528"/>
                </a:moveTo>
                <a:cubicBezTo>
                  <a:pt x="10537654" y="6384296"/>
                  <a:pt x="10542169" y="6384605"/>
                  <a:pt x="10546060" y="6386772"/>
                </a:cubicBezTo>
                <a:cubicBezTo>
                  <a:pt x="10556956" y="6392962"/>
                  <a:pt x="10551586" y="6412537"/>
                  <a:pt x="10536954" y="6409287"/>
                </a:cubicBezTo>
                <a:cubicBezTo>
                  <a:pt x="10535786" y="6408978"/>
                  <a:pt x="10533296" y="6406966"/>
                  <a:pt x="10533296" y="6405883"/>
                </a:cubicBezTo>
                <a:close/>
                <a:moveTo>
                  <a:pt x="4228414" y="6380392"/>
                </a:moveTo>
                <a:lnTo>
                  <a:pt x="4231822" y="6380392"/>
                </a:lnTo>
                <a:lnTo>
                  <a:pt x="4231822" y="6382585"/>
                </a:lnTo>
                <a:cubicBezTo>
                  <a:pt x="4231822" y="6387498"/>
                  <a:pt x="4230511" y="6391358"/>
                  <a:pt x="4227715" y="6394252"/>
                </a:cubicBezTo>
                <a:cubicBezTo>
                  <a:pt x="4225006" y="6397147"/>
                  <a:pt x="4220899" y="6398551"/>
                  <a:pt x="4215568" y="6398551"/>
                </a:cubicBezTo>
                <a:cubicBezTo>
                  <a:pt x="4214345" y="6398551"/>
                  <a:pt x="4213034" y="6398463"/>
                  <a:pt x="4211723" y="6398200"/>
                </a:cubicBezTo>
                <a:cubicBezTo>
                  <a:pt x="4210412" y="6397937"/>
                  <a:pt x="4209276" y="6397498"/>
                  <a:pt x="4208227" y="6396884"/>
                </a:cubicBezTo>
                <a:cubicBezTo>
                  <a:pt x="4207179" y="6396270"/>
                  <a:pt x="4206305" y="6395481"/>
                  <a:pt x="4205693" y="6394516"/>
                </a:cubicBezTo>
                <a:cubicBezTo>
                  <a:pt x="4205082" y="6393551"/>
                  <a:pt x="4204732" y="6392322"/>
                  <a:pt x="4204732" y="6390831"/>
                </a:cubicBezTo>
                <a:cubicBezTo>
                  <a:pt x="4204732" y="6388463"/>
                  <a:pt x="4205518" y="6386620"/>
                  <a:pt x="4207091" y="6385305"/>
                </a:cubicBezTo>
                <a:cubicBezTo>
                  <a:pt x="4208664" y="6383901"/>
                  <a:pt x="4210674" y="6382848"/>
                  <a:pt x="4212946" y="6382147"/>
                </a:cubicBezTo>
                <a:cubicBezTo>
                  <a:pt x="4215219" y="6381445"/>
                  <a:pt x="4217753" y="6380918"/>
                  <a:pt x="4220549" y="6380743"/>
                </a:cubicBezTo>
                <a:cubicBezTo>
                  <a:pt x="4223258" y="6380480"/>
                  <a:pt x="4225880" y="6380392"/>
                  <a:pt x="4228414" y="6380392"/>
                </a:cubicBezTo>
                <a:close/>
                <a:moveTo>
                  <a:pt x="10288910" y="6363560"/>
                </a:moveTo>
                <a:cubicBezTo>
                  <a:pt x="10303775" y="6369285"/>
                  <a:pt x="10306733" y="6395669"/>
                  <a:pt x="10296148" y="6406037"/>
                </a:cubicBezTo>
                <a:cubicBezTo>
                  <a:pt x="10290622" y="6411454"/>
                  <a:pt x="10283150" y="6411221"/>
                  <a:pt x="10276690" y="6407662"/>
                </a:cubicBezTo>
                <a:cubicBezTo>
                  <a:pt x="10258400" y="6397372"/>
                  <a:pt x="10263848" y="6353965"/>
                  <a:pt x="10288910" y="6363560"/>
                </a:cubicBezTo>
                <a:close/>
                <a:moveTo>
                  <a:pt x="10533296" y="6362864"/>
                </a:moveTo>
                <a:cubicBezTo>
                  <a:pt x="10543025" y="6361394"/>
                  <a:pt x="10552753" y="6366191"/>
                  <a:pt x="10548161" y="6377332"/>
                </a:cubicBezTo>
                <a:cubicBezTo>
                  <a:pt x="10545126" y="6384683"/>
                  <a:pt x="10539522" y="6378802"/>
                  <a:pt x="10533296" y="6381356"/>
                </a:cubicBezTo>
                <a:close/>
                <a:moveTo>
                  <a:pt x="10413282" y="6362863"/>
                </a:moveTo>
                <a:cubicBezTo>
                  <a:pt x="10436008" y="6358995"/>
                  <a:pt x="10434919" y="6392265"/>
                  <a:pt x="10413282" y="6388397"/>
                </a:cubicBezTo>
                <a:close/>
                <a:moveTo>
                  <a:pt x="9578859" y="6361277"/>
                </a:moveTo>
                <a:cubicBezTo>
                  <a:pt x="9608124" y="6357285"/>
                  <a:pt x="9608202" y="6406049"/>
                  <a:pt x="9585768" y="6408867"/>
                </a:cubicBezTo>
                <a:cubicBezTo>
                  <a:pt x="9555416" y="6412624"/>
                  <a:pt x="9555338" y="6364486"/>
                  <a:pt x="9578859" y="6361277"/>
                </a:cubicBezTo>
                <a:close/>
                <a:moveTo>
                  <a:pt x="9424151" y="6361276"/>
                </a:moveTo>
                <a:cubicBezTo>
                  <a:pt x="9453493" y="6357676"/>
                  <a:pt x="9452950" y="6405970"/>
                  <a:pt x="9431060" y="6408866"/>
                </a:cubicBezTo>
                <a:cubicBezTo>
                  <a:pt x="9400553" y="6412936"/>
                  <a:pt x="9400320" y="6364250"/>
                  <a:pt x="9424151" y="6361276"/>
                </a:cubicBezTo>
                <a:close/>
                <a:moveTo>
                  <a:pt x="10623813" y="6359691"/>
                </a:moveTo>
                <a:lnTo>
                  <a:pt x="10623813" y="6362244"/>
                </a:lnTo>
                <a:lnTo>
                  <a:pt x="10631907" y="6364101"/>
                </a:lnTo>
                <a:lnTo>
                  <a:pt x="10632219" y="6407198"/>
                </a:lnTo>
                <a:cubicBezTo>
                  <a:pt x="10631596" y="6410370"/>
                  <a:pt x="10625914" y="6409442"/>
                  <a:pt x="10624513" y="6410370"/>
                </a:cubicBezTo>
                <a:cubicBezTo>
                  <a:pt x="10623190" y="6411221"/>
                  <a:pt x="10624202" y="6413233"/>
                  <a:pt x="10624825" y="6413233"/>
                </a:cubicBezTo>
                <a:lnTo>
                  <a:pt x="10649886" y="6413233"/>
                </a:lnTo>
                <a:cubicBezTo>
                  <a:pt x="10650509" y="6413233"/>
                  <a:pt x="10651598" y="6411299"/>
                  <a:pt x="10650198" y="6410370"/>
                </a:cubicBezTo>
                <a:cubicBezTo>
                  <a:pt x="10648797" y="6409442"/>
                  <a:pt x="10643115" y="6410448"/>
                  <a:pt x="10642492" y="6407198"/>
                </a:cubicBezTo>
                <a:lnTo>
                  <a:pt x="10642804" y="6364101"/>
                </a:lnTo>
                <a:cubicBezTo>
                  <a:pt x="10642804" y="6364101"/>
                  <a:pt x="10650820" y="6362244"/>
                  <a:pt x="10650820" y="6362244"/>
                </a:cubicBezTo>
                <a:lnTo>
                  <a:pt x="10650820" y="6359691"/>
                </a:lnTo>
                <a:close/>
                <a:moveTo>
                  <a:pt x="10446049" y="6359614"/>
                </a:moveTo>
                <a:lnTo>
                  <a:pt x="10446049" y="6362167"/>
                </a:lnTo>
                <a:cubicBezTo>
                  <a:pt x="10448228" y="6362167"/>
                  <a:pt x="10453599" y="6362786"/>
                  <a:pt x="10454299" y="6365185"/>
                </a:cubicBezTo>
                <a:cubicBezTo>
                  <a:pt x="10455311" y="6375475"/>
                  <a:pt x="10453443" y="6386927"/>
                  <a:pt x="10454455" y="6396985"/>
                </a:cubicBezTo>
                <a:cubicBezTo>
                  <a:pt x="10455933" y="6411299"/>
                  <a:pt x="10469554" y="6416096"/>
                  <a:pt x="10482240" y="6413775"/>
                </a:cubicBezTo>
                <a:cubicBezTo>
                  <a:pt x="10505901" y="6409365"/>
                  <a:pt x="10497884" y="6382439"/>
                  <a:pt x="10499518" y="6365185"/>
                </a:cubicBezTo>
                <a:cubicBezTo>
                  <a:pt x="10500063" y="6363560"/>
                  <a:pt x="10505434" y="6362167"/>
                  <a:pt x="10507146" y="6362167"/>
                </a:cubicBezTo>
                <a:lnTo>
                  <a:pt x="10507146" y="6359691"/>
                </a:lnTo>
                <a:cubicBezTo>
                  <a:pt x="10507146" y="6359691"/>
                  <a:pt x="10484030" y="6359691"/>
                  <a:pt x="10484030" y="6359691"/>
                </a:cubicBezTo>
                <a:lnTo>
                  <a:pt x="10484030" y="6362245"/>
                </a:lnTo>
                <a:cubicBezTo>
                  <a:pt x="10486209" y="6362090"/>
                  <a:pt x="10492825" y="6363637"/>
                  <a:pt x="10493526" y="6365881"/>
                </a:cubicBezTo>
                <a:cubicBezTo>
                  <a:pt x="10494226" y="6368280"/>
                  <a:pt x="10493448" y="6373696"/>
                  <a:pt x="10493603" y="6376636"/>
                </a:cubicBezTo>
                <a:cubicBezTo>
                  <a:pt x="10494304" y="6390873"/>
                  <a:pt x="10497028" y="6409674"/>
                  <a:pt x="10476558" y="6408204"/>
                </a:cubicBezTo>
                <a:cubicBezTo>
                  <a:pt x="10457101" y="6406812"/>
                  <a:pt x="10466129" y="6377332"/>
                  <a:pt x="10464028" y="6364566"/>
                </a:cubicBezTo>
                <a:lnTo>
                  <a:pt x="10471733" y="6361935"/>
                </a:lnTo>
                <a:lnTo>
                  <a:pt x="10472356" y="6359691"/>
                </a:lnTo>
                <a:lnTo>
                  <a:pt x="10472356" y="6359614"/>
                </a:lnTo>
                <a:cubicBezTo>
                  <a:pt x="10472356" y="6359614"/>
                  <a:pt x="10446049" y="6359614"/>
                  <a:pt x="10446049" y="6359614"/>
                </a:cubicBezTo>
                <a:close/>
                <a:moveTo>
                  <a:pt x="10570732" y="6359536"/>
                </a:moveTo>
                <a:lnTo>
                  <a:pt x="10570732" y="6362089"/>
                </a:lnTo>
                <a:cubicBezTo>
                  <a:pt x="10573379" y="6362167"/>
                  <a:pt x="10578515" y="6362631"/>
                  <a:pt x="10579060" y="6365648"/>
                </a:cubicBezTo>
                <a:lnTo>
                  <a:pt x="10578438" y="6407198"/>
                </a:lnTo>
                <a:cubicBezTo>
                  <a:pt x="10576570" y="6410370"/>
                  <a:pt x="10571044" y="6409287"/>
                  <a:pt x="10569409" y="6410370"/>
                </a:cubicBezTo>
                <a:cubicBezTo>
                  <a:pt x="10568086" y="6411221"/>
                  <a:pt x="10569098" y="6413233"/>
                  <a:pt x="10569721" y="6413233"/>
                </a:cubicBezTo>
                <a:lnTo>
                  <a:pt x="10614629" y="6413233"/>
                </a:lnTo>
                <a:lnTo>
                  <a:pt x="10615563" y="6412304"/>
                </a:lnTo>
                <a:lnTo>
                  <a:pt x="10615563" y="6396366"/>
                </a:lnTo>
                <a:cubicBezTo>
                  <a:pt x="10615563" y="6395747"/>
                  <a:pt x="10613695" y="6395205"/>
                  <a:pt x="10612994" y="6395437"/>
                </a:cubicBezTo>
                <a:cubicBezTo>
                  <a:pt x="10612761" y="6411376"/>
                  <a:pt x="10600074" y="6407894"/>
                  <a:pt x="10588556" y="6408823"/>
                </a:cubicBezTo>
                <a:lnTo>
                  <a:pt x="10588556" y="6364178"/>
                </a:lnTo>
                <a:cubicBezTo>
                  <a:pt x="10588556" y="6364178"/>
                  <a:pt x="10596883" y="6362244"/>
                  <a:pt x="10596883" y="6362244"/>
                </a:cubicBezTo>
                <a:lnTo>
                  <a:pt x="10596883" y="6359691"/>
                </a:lnTo>
                <a:lnTo>
                  <a:pt x="10597039" y="6359536"/>
                </a:lnTo>
                <a:cubicBezTo>
                  <a:pt x="10597039" y="6359536"/>
                  <a:pt x="10570732" y="6359536"/>
                  <a:pt x="10570732" y="6359536"/>
                </a:cubicBezTo>
                <a:close/>
                <a:moveTo>
                  <a:pt x="11061581" y="6359100"/>
                </a:moveTo>
                <a:cubicBezTo>
                  <a:pt x="11056613" y="6360367"/>
                  <a:pt x="11053274" y="6363275"/>
                  <a:pt x="11051644" y="6367896"/>
                </a:cubicBezTo>
                <a:cubicBezTo>
                  <a:pt x="11050402" y="6371475"/>
                  <a:pt x="11050324" y="6375127"/>
                  <a:pt x="11051333" y="6378780"/>
                </a:cubicBezTo>
                <a:cubicBezTo>
                  <a:pt x="11052653" y="6383626"/>
                  <a:pt x="11055914" y="6386682"/>
                  <a:pt x="11060883" y="6388247"/>
                </a:cubicBezTo>
                <a:cubicBezTo>
                  <a:pt x="11063988" y="6389216"/>
                  <a:pt x="11067171" y="6389366"/>
                  <a:pt x="11070354" y="6388769"/>
                </a:cubicBezTo>
                <a:cubicBezTo>
                  <a:pt x="11076410" y="6387651"/>
                  <a:pt x="11080292" y="6384296"/>
                  <a:pt x="11081922" y="6378482"/>
                </a:cubicBezTo>
                <a:cubicBezTo>
                  <a:pt x="11082310" y="6376916"/>
                  <a:pt x="11082388" y="6375426"/>
                  <a:pt x="11082465" y="6373786"/>
                </a:cubicBezTo>
                <a:lnTo>
                  <a:pt x="11082543" y="6373711"/>
                </a:lnTo>
                <a:cubicBezTo>
                  <a:pt x="11082543" y="6372965"/>
                  <a:pt x="11082465" y="6372071"/>
                  <a:pt x="11082465" y="6371251"/>
                </a:cubicBezTo>
                <a:cubicBezTo>
                  <a:pt x="11081922" y="6365287"/>
                  <a:pt x="11077885" y="6360665"/>
                  <a:pt x="11071907" y="6359175"/>
                </a:cubicBezTo>
                <a:cubicBezTo>
                  <a:pt x="11068491" y="6358355"/>
                  <a:pt x="11064997" y="6358280"/>
                  <a:pt x="11061581" y="6359100"/>
                </a:cubicBezTo>
                <a:close/>
                <a:moveTo>
                  <a:pt x="10537119" y="6358995"/>
                </a:moveTo>
                <a:cubicBezTo>
                  <a:pt x="10529132" y="6359111"/>
                  <a:pt x="10520804" y="6360194"/>
                  <a:pt x="10515395" y="6359691"/>
                </a:cubicBezTo>
                <a:lnTo>
                  <a:pt x="10516018" y="6361935"/>
                </a:lnTo>
                <a:cubicBezTo>
                  <a:pt x="10518119" y="6362709"/>
                  <a:pt x="10523256" y="6362399"/>
                  <a:pt x="10523723" y="6365107"/>
                </a:cubicBezTo>
                <a:lnTo>
                  <a:pt x="10523411" y="6407585"/>
                </a:lnTo>
                <a:cubicBezTo>
                  <a:pt x="10521699" y="6410139"/>
                  <a:pt x="10515317" y="6409674"/>
                  <a:pt x="10514072" y="6410448"/>
                </a:cubicBezTo>
                <a:cubicBezTo>
                  <a:pt x="10512904" y="6411144"/>
                  <a:pt x="10513449" y="6413079"/>
                  <a:pt x="10514383" y="6413311"/>
                </a:cubicBezTo>
                <a:lnTo>
                  <a:pt x="10514461" y="6413311"/>
                </a:lnTo>
                <a:lnTo>
                  <a:pt x="10541390" y="6413311"/>
                </a:lnTo>
                <a:cubicBezTo>
                  <a:pt x="10544192" y="6413311"/>
                  <a:pt x="10551275" y="6411686"/>
                  <a:pt x="10553843" y="6410371"/>
                </a:cubicBezTo>
                <a:cubicBezTo>
                  <a:pt x="10566218" y="6404026"/>
                  <a:pt x="10564428" y="6384915"/>
                  <a:pt x="10550029" y="6382671"/>
                </a:cubicBezTo>
                <a:cubicBezTo>
                  <a:pt x="10552286" y="6380195"/>
                  <a:pt x="10555867" y="6379499"/>
                  <a:pt x="10557657" y="6376481"/>
                </a:cubicBezTo>
                <a:cubicBezTo>
                  <a:pt x="10559758" y="6372845"/>
                  <a:pt x="10559758" y="6367274"/>
                  <a:pt x="10556801" y="6364102"/>
                </a:cubicBezTo>
                <a:cubicBezTo>
                  <a:pt x="10552753" y="6359730"/>
                  <a:pt x="10545106" y="6358879"/>
                  <a:pt x="10537119" y="6358995"/>
                </a:cubicBezTo>
                <a:close/>
                <a:moveTo>
                  <a:pt x="10419430" y="6358995"/>
                </a:moveTo>
                <a:cubicBezTo>
                  <a:pt x="10416084" y="6358840"/>
                  <a:pt x="10413282" y="6359691"/>
                  <a:pt x="10410402" y="6359691"/>
                </a:cubicBezTo>
                <a:cubicBezTo>
                  <a:pt x="10405187" y="6359769"/>
                  <a:pt x="10399895" y="6359614"/>
                  <a:pt x="10394680" y="6359691"/>
                </a:cubicBezTo>
                <a:lnTo>
                  <a:pt x="10394680" y="6362244"/>
                </a:lnTo>
                <a:cubicBezTo>
                  <a:pt x="10396782" y="6362090"/>
                  <a:pt x="10402385" y="6362786"/>
                  <a:pt x="10403319" y="6364798"/>
                </a:cubicBezTo>
                <a:lnTo>
                  <a:pt x="10403086" y="6407895"/>
                </a:lnTo>
                <a:cubicBezTo>
                  <a:pt x="10401218" y="6410371"/>
                  <a:pt x="10396003" y="6409519"/>
                  <a:pt x="10394680" y="6410371"/>
                </a:cubicBezTo>
                <a:cubicBezTo>
                  <a:pt x="10393357" y="6411222"/>
                  <a:pt x="10394369" y="6413233"/>
                  <a:pt x="10394992" y="6413233"/>
                </a:cubicBezTo>
                <a:lnTo>
                  <a:pt x="10422621" y="6413233"/>
                </a:lnTo>
                <a:cubicBezTo>
                  <a:pt x="10423244" y="6413233"/>
                  <a:pt x="10424256" y="6411222"/>
                  <a:pt x="10422933" y="6410371"/>
                </a:cubicBezTo>
                <a:cubicBezTo>
                  <a:pt x="10421532" y="6409442"/>
                  <a:pt x="10414838" y="6409829"/>
                  <a:pt x="10413282" y="6406579"/>
                </a:cubicBezTo>
                <a:lnTo>
                  <a:pt x="10413282" y="6390950"/>
                </a:lnTo>
                <a:lnTo>
                  <a:pt x="10413360" y="6390950"/>
                </a:lnTo>
                <a:cubicBezTo>
                  <a:pt x="10427213" y="6395747"/>
                  <a:pt x="10444180" y="6385766"/>
                  <a:pt x="10439199" y="6369982"/>
                </a:cubicBezTo>
                <a:cubicBezTo>
                  <a:pt x="10436553" y="6361703"/>
                  <a:pt x="10427369" y="6359382"/>
                  <a:pt x="10419430" y="6358995"/>
                </a:cubicBezTo>
                <a:close/>
                <a:moveTo>
                  <a:pt x="10361914" y="6358995"/>
                </a:moveTo>
                <a:cubicBezTo>
                  <a:pt x="10361914" y="6358995"/>
                  <a:pt x="10319574" y="6359614"/>
                  <a:pt x="10319574" y="6359614"/>
                </a:cubicBezTo>
                <a:lnTo>
                  <a:pt x="10319574" y="6362167"/>
                </a:lnTo>
                <a:cubicBezTo>
                  <a:pt x="10323621" y="6362786"/>
                  <a:pt x="10328135" y="6362245"/>
                  <a:pt x="10328602" y="6366964"/>
                </a:cubicBezTo>
                <a:cubicBezTo>
                  <a:pt x="10329848" y="6379267"/>
                  <a:pt x="10327746" y="6393890"/>
                  <a:pt x="10328447" y="6406425"/>
                </a:cubicBezTo>
                <a:cubicBezTo>
                  <a:pt x="10327824" y="6409520"/>
                  <a:pt x="10322376" y="6410371"/>
                  <a:pt x="10319574" y="6410061"/>
                </a:cubicBezTo>
                <a:lnTo>
                  <a:pt x="10319574" y="6413234"/>
                </a:lnTo>
                <a:lnTo>
                  <a:pt x="10347826" y="6413234"/>
                </a:lnTo>
                <a:lnTo>
                  <a:pt x="10347826" y="6410061"/>
                </a:lnTo>
                <a:cubicBezTo>
                  <a:pt x="10345881" y="6410758"/>
                  <a:pt x="10338175" y="6408514"/>
                  <a:pt x="10338175" y="6406579"/>
                </a:cubicBezTo>
                <a:lnTo>
                  <a:pt x="10338175" y="6388397"/>
                </a:lnTo>
                <a:cubicBezTo>
                  <a:pt x="10341289" y="6388938"/>
                  <a:pt x="10354520" y="6388474"/>
                  <a:pt x="10355999" y="6389867"/>
                </a:cubicBezTo>
                <a:cubicBezTo>
                  <a:pt x="10357088" y="6390873"/>
                  <a:pt x="10357633" y="6393968"/>
                  <a:pt x="10357477" y="6395438"/>
                </a:cubicBezTo>
                <a:lnTo>
                  <a:pt x="10360668" y="6395438"/>
                </a:lnTo>
                <a:lnTo>
                  <a:pt x="10360668" y="6377565"/>
                </a:lnTo>
                <a:cubicBezTo>
                  <a:pt x="10356855" y="6376636"/>
                  <a:pt x="10358100" y="6379886"/>
                  <a:pt x="10356466" y="6382052"/>
                </a:cubicBezTo>
                <a:cubicBezTo>
                  <a:pt x="10353742" y="6385534"/>
                  <a:pt x="10342612" y="6383135"/>
                  <a:pt x="10338175" y="6384605"/>
                </a:cubicBezTo>
                <a:lnTo>
                  <a:pt x="10338175" y="6364179"/>
                </a:lnTo>
                <a:lnTo>
                  <a:pt x="10353897" y="6364179"/>
                </a:lnTo>
                <a:cubicBezTo>
                  <a:pt x="10354520" y="6364179"/>
                  <a:pt x="10357555" y="6366268"/>
                  <a:pt x="10358022" y="6367119"/>
                </a:cubicBezTo>
                <a:cubicBezTo>
                  <a:pt x="10358956" y="6368667"/>
                  <a:pt x="10359190" y="6371220"/>
                  <a:pt x="10359423" y="6373077"/>
                </a:cubicBezTo>
                <a:lnTo>
                  <a:pt x="10361914" y="6373077"/>
                </a:lnTo>
                <a:lnTo>
                  <a:pt x="10361914" y="6359072"/>
                </a:lnTo>
                <a:close/>
                <a:moveTo>
                  <a:pt x="10281516" y="6358608"/>
                </a:moveTo>
                <a:cubicBezTo>
                  <a:pt x="10245947" y="6362708"/>
                  <a:pt x="10247192" y="6414626"/>
                  <a:pt x="10282527" y="6414394"/>
                </a:cubicBezTo>
                <a:cubicBezTo>
                  <a:pt x="10323311" y="6414084"/>
                  <a:pt x="10323155" y="6353888"/>
                  <a:pt x="10281516" y="6358608"/>
                </a:cubicBezTo>
                <a:close/>
                <a:moveTo>
                  <a:pt x="10687012" y="6358511"/>
                </a:moveTo>
                <a:cubicBezTo>
                  <a:pt x="10680163" y="6358685"/>
                  <a:pt x="10673508" y="6360426"/>
                  <a:pt x="10667865" y="6364797"/>
                </a:cubicBezTo>
                <a:cubicBezTo>
                  <a:pt x="10653156" y="6376248"/>
                  <a:pt x="10654245" y="6397449"/>
                  <a:pt x="10668877" y="6408436"/>
                </a:cubicBezTo>
                <a:cubicBezTo>
                  <a:pt x="10678762" y="6415864"/>
                  <a:pt x="10695106" y="6415322"/>
                  <a:pt x="10706158" y="6410989"/>
                </a:cubicBezTo>
                <a:lnTo>
                  <a:pt x="10709271" y="6397371"/>
                </a:lnTo>
                <a:lnTo>
                  <a:pt x="10706703" y="6396984"/>
                </a:lnTo>
                <a:cubicBezTo>
                  <a:pt x="10703200" y="6406424"/>
                  <a:pt x="10698375" y="6411144"/>
                  <a:pt x="10687790" y="6410138"/>
                </a:cubicBezTo>
                <a:cubicBezTo>
                  <a:pt x="10663196" y="6407739"/>
                  <a:pt x="10660627" y="6363250"/>
                  <a:pt x="10686467" y="6362244"/>
                </a:cubicBezTo>
                <a:cubicBezTo>
                  <a:pt x="10695417" y="6361934"/>
                  <a:pt x="10703979" y="6366732"/>
                  <a:pt x="10704835" y="6376326"/>
                </a:cubicBezTo>
                <a:lnTo>
                  <a:pt x="10707325" y="6376326"/>
                </a:lnTo>
                <a:lnTo>
                  <a:pt x="10707325" y="6361625"/>
                </a:lnTo>
                <a:cubicBezTo>
                  <a:pt x="10700904" y="6359730"/>
                  <a:pt x="10693861" y="6358337"/>
                  <a:pt x="10687012" y="6358511"/>
                </a:cubicBezTo>
                <a:close/>
                <a:moveTo>
                  <a:pt x="4409656" y="6356356"/>
                </a:moveTo>
                <a:cubicBezTo>
                  <a:pt x="4412190" y="6356356"/>
                  <a:pt x="4414375" y="6356794"/>
                  <a:pt x="4416210" y="6357584"/>
                </a:cubicBezTo>
                <a:cubicBezTo>
                  <a:pt x="4418133" y="6358461"/>
                  <a:pt x="4419618" y="6359514"/>
                  <a:pt x="4420842" y="6360917"/>
                </a:cubicBezTo>
                <a:cubicBezTo>
                  <a:pt x="4421978" y="6362321"/>
                  <a:pt x="4422939" y="6363900"/>
                  <a:pt x="4423463" y="6365742"/>
                </a:cubicBezTo>
                <a:cubicBezTo>
                  <a:pt x="4424075" y="6367584"/>
                  <a:pt x="4424337" y="6369427"/>
                  <a:pt x="4424337" y="6371444"/>
                </a:cubicBezTo>
                <a:lnTo>
                  <a:pt x="4392528" y="6371444"/>
                </a:lnTo>
                <a:cubicBezTo>
                  <a:pt x="4392878" y="6366970"/>
                  <a:pt x="4394625" y="6363374"/>
                  <a:pt x="4397859" y="6360567"/>
                </a:cubicBezTo>
                <a:cubicBezTo>
                  <a:pt x="4401092" y="6357759"/>
                  <a:pt x="4405024" y="6356356"/>
                  <a:pt x="4409656" y="6356356"/>
                </a:cubicBezTo>
                <a:close/>
                <a:moveTo>
                  <a:pt x="6611620" y="6351891"/>
                </a:moveTo>
                <a:lnTo>
                  <a:pt x="6586094" y="6369346"/>
                </a:lnTo>
                <a:lnTo>
                  <a:pt x="6586094" y="6388444"/>
                </a:lnTo>
                <a:lnTo>
                  <a:pt x="6570005" y="6388444"/>
                </a:lnTo>
                <a:lnTo>
                  <a:pt x="6570005" y="6410361"/>
                </a:lnTo>
                <a:lnTo>
                  <a:pt x="6586094" y="6410361"/>
                </a:lnTo>
                <a:lnTo>
                  <a:pt x="6586094" y="6468517"/>
                </a:lnTo>
                <a:cubicBezTo>
                  <a:pt x="6586094" y="6470944"/>
                  <a:pt x="6588492" y="6477675"/>
                  <a:pt x="6589730" y="6480023"/>
                </a:cubicBezTo>
                <a:cubicBezTo>
                  <a:pt x="6599167" y="6497478"/>
                  <a:pt x="6625389" y="6496696"/>
                  <a:pt x="6641091" y="6489260"/>
                </a:cubicBezTo>
                <a:lnTo>
                  <a:pt x="6633588" y="6468283"/>
                </a:lnTo>
                <a:cubicBezTo>
                  <a:pt x="6632583" y="6466952"/>
                  <a:pt x="6628792" y="6469300"/>
                  <a:pt x="6627245" y="6469691"/>
                </a:cubicBezTo>
                <a:cubicBezTo>
                  <a:pt x="6623300" y="6470709"/>
                  <a:pt x="6617344" y="6470866"/>
                  <a:pt x="6614250" y="6467656"/>
                </a:cubicBezTo>
                <a:cubicBezTo>
                  <a:pt x="6613631" y="6467030"/>
                  <a:pt x="6611698" y="6463586"/>
                  <a:pt x="6611698" y="6462960"/>
                </a:cubicBezTo>
                <a:lnTo>
                  <a:pt x="6611698" y="6410439"/>
                </a:lnTo>
                <a:lnTo>
                  <a:pt x="6646119" y="6410439"/>
                </a:lnTo>
                <a:lnTo>
                  <a:pt x="6646119" y="6468048"/>
                </a:lnTo>
                <a:cubicBezTo>
                  <a:pt x="6646119" y="6469613"/>
                  <a:pt x="6647744" y="6474779"/>
                  <a:pt x="6648362" y="6476501"/>
                </a:cubicBezTo>
                <a:cubicBezTo>
                  <a:pt x="6656175" y="6498183"/>
                  <a:pt x="6684099" y="6496382"/>
                  <a:pt x="6701735" y="6489651"/>
                </a:cubicBezTo>
                <a:lnTo>
                  <a:pt x="6693690" y="6468283"/>
                </a:lnTo>
                <a:cubicBezTo>
                  <a:pt x="6692685" y="6466952"/>
                  <a:pt x="6688895" y="6469300"/>
                  <a:pt x="6687348" y="6469691"/>
                </a:cubicBezTo>
                <a:cubicBezTo>
                  <a:pt x="6682629" y="6470866"/>
                  <a:pt x="6676518" y="6470866"/>
                  <a:pt x="6673424" y="6466326"/>
                </a:cubicBezTo>
                <a:cubicBezTo>
                  <a:pt x="6672960" y="6465621"/>
                  <a:pt x="6671800" y="6463038"/>
                  <a:pt x="6671800" y="6462412"/>
                </a:cubicBezTo>
                <a:lnTo>
                  <a:pt x="6671800" y="6410439"/>
                </a:lnTo>
                <a:lnTo>
                  <a:pt x="6698486" y="6410439"/>
                </a:lnTo>
                <a:lnTo>
                  <a:pt x="6698486" y="6388523"/>
                </a:lnTo>
                <a:lnTo>
                  <a:pt x="6671800" y="6388523"/>
                </a:lnTo>
                <a:lnTo>
                  <a:pt x="6671800" y="6351969"/>
                </a:lnTo>
                <a:lnTo>
                  <a:pt x="6646274" y="6369424"/>
                </a:lnTo>
                <a:lnTo>
                  <a:pt x="6646274" y="6388523"/>
                </a:lnTo>
                <a:lnTo>
                  <a:pt x="6611852" y="6388523"/>
                </a:lnTo>
                <a:lnTo>
                  <a:pt x="6611852" y="6351969"/>
                </a:lnTo>
                <a:close/>
                <a:moveTo>
                  <a:pt x="9343498" y="6350083"/>
                </a:moveTo>
                <a:cubicBezTo>
                  <a:pt x="9313069" y="6361355"/>
                  <a:pt x="9316407" y="6417711"/>
                  <a:pt x="9350019" y="6421781"/>
                </a:cubicBezTo>
                <a:cubicBezTo>
                  <a:pt x="9366243" y="6423738"/>
                  <a:pt x="9378740" y="6417006"/>
                  <a:pt x="9384640" y="6401665"/>
                </a:cubicBezTo>
                <a:lnTo>
                  <a:pt x="9371288" y="6396499"/>
                </a:lnTo>
                <a:cubicBezTo>
                  <a:pt x="9367407" y="6405344"/>
                  <a:pt x="9361818" y="6409571"/>
                  <a:pt x="9351882" y="6408162"/>
                </a:cubicBezTo>
                <a:cubicBezTo>
                  <a:pt x="9335503" y="6405892"/>
                  <a:pt x="9334338" y="6375679"/>
                  <a:pt x="9344585" y="6365894"/>
                </a:cubicBezTo>
                <a:lnTo>
                  <a:pt x="9344507" y="6365816"/>
                </a:lnTo>
                <a:cubicBezTo>
                  <a:pt x="9350485" y="6360024"/>
                  <a:pt x="9360886" y="6360181"/>
                  <a:pt x="9366708" y="6366208"/>
                </a:cubicBezTo>
                <a:cubicBezTo>
                  <a:pt x="9368804" y="6368477"/>
                  <a:pt x="9369580" y="6371530"/>
                  <a:pt x="9371211" y="6374035"/>
                </a:cubicBezTo>
                <a:lnTo>
                  <a:pt x="9385183" y="6367930"/>
                </a:lnTo>
                <a:cubicBezTo>
                  <a:pt x="9378663" y="6350944"/>
                  <a:pt x="9360343" y="6343822"/>
                  <a:pt x="9343498" y="6350083"/>
                </a:cubicBezTo>
                <a:close/>
                <a:moveTo>
                  <a:pt x="9749403" y="6349301"/>
                </a:moveTo>
                <a:lnTo>
                  <a:pt x="9749403" y="6420686"/>
                </a:lnTo>
                <a:lnTo>
                  <a:pt x="9764385" y="6420686"/>
                </a:lnTo>
                <a:lnTo>
                  <a:pt x="9764385" y="6349301"/>
                </a:lnTo>
                <a:close/>
                <a:moveTo>
                  <a:pt x="9577617" y="6348205"/>
                </a:moveTo>
                <a:cubicBezTo>
                  <a:pt x="9535854" y="6352432"/>
                  <a:pt x="9537174" y="6418259"/>
                  <a:pt x="9577462" y="6422016"/>
                </a:cubicBezTo>
                <a:cubicBezTo>
                  <a:pt x="9630635" y="6427026"/>
                  <a:pt x="9630325" y="6342883"/>
                  <a:pt x="9577617" y="6348205"/>
                </a:cubicBezTo>
                <a:close/>
                <a:moveTo>
                  <a:pt x="9422210" y="6348205"/>
                </a:moveTo>
                <a:cubicBezTo>
                  <a:pt x="9380991" y="6352901"/>
                  <a:pt x="9382388" y="6418415"/>
                  <a:pt x="9422676" y="6422016"/>
                </a:cubicBezTo>
                <a:cubicBezTo>
                  <a:pt x="9476238" y="6426790"/>
                  <a:pt x="9474996" y="6342178"/>
                  <a:pt x="9422210" y="6348205"/>
                </a:cubicBezTo>
                <a:close/>
                <a:moveTo>
                  <a:pt x="9813444" y="6348049"/>
                </a:moveTo>
                <a:cubicBezTo>
                  <a:pt x="9763608" y="6343822"/>
                  <a:pt x="9764462" y="6429922"/>
                  <a:pt x="9816394" y="6421781"/>
                </a:cubicBezTo>
                <a:cubicBezTo>
                  <a:pt x="9826020" y="6420294"/>
                  <a:pt x="9836499" y="6411684"/>
                  <a:pt x="9838207" y="6401744"/>
                </a:cubicBezTo>
                <a:lnTo>
                  <a:pt x="9824855" y="6396499"/>
                </a:lnTo>
                <a:cubicBezTo>
                  <a:pt x="9822759" y="6405579"/>
                  <a:pt x="9815851" y="6409101"/>
                  <a:pt x="9806924" y="6408319"/>
                </a:cubicBezTo>
                <a:cubicBezTo>
                  <a:pt x="9790079" y="6406753"/>
                  <a:pt x="9788682" y="6377323"/>
                  <a:pt x="9797841" y="6366991"/>
                </a:cubicBezTo>
                <a:cubicBezTo>
                  <a:pt x="9806380" y="6357285"/>
                  <a:pt x="9822449" y="6361433"/>
                  <a:pt x="9824855" y="6374192"/>
                </a:cubicBezTo>
                <a:lnTo>
                  <a:pt x="9839138" y="6368948"/>
                </a:lnTo>
                <a:cubicBezTo>
                  <a:pt x="9836421" y="6357441"/>
                  <a:pt x="9825010" y="6349066"/>
                  <a:pt x="9813444" y="6348049"/>
                </a:cubicBezTo>
                <a:close/>
                <a:moveTo>
                  <a:pt x="9512557" y="6347981"/>
                </a:moveTo>
                <a:cubicBezTo>
                  <a:pt x="9504222" y="6347697"/>
                  <a:pt x="9495528" y="6351376"/>
                  <a:pt x="9489978" y="6358459"/>
                </a:cubicBezTo>
                <a:lnTo>
                  <a:pt x="9489978" y="6349301"/>
                </a:lnTo>
                <a:lnTo>
                  <a:pt x="9474996" y="6349301"/>
                </a:lnTo>
                <a:lnTo>
                  <a:pt x="9474996" y="6420686"/>
                </a:lnTo>
                <a:lnTo>
                  <a:pt x="9489978" y="6420686"/>
                </a:lnTo>
                <a:lnTo>
                  <a:pt x="9489978" y="6376462"/>
                </a:lnTo>
                <a:cubicBezTo>
                  <a:pt x="9489978" y="6375757"/>
                  <a:pt x="9491763" y="6371139"/>
                  <a:pt x="9492229" y="6370200"/>
                </a:cubicBezTo>
                <a:cubicBezTo>
                  <a:pt x="9496964" y="6360572"/>
                  <a:pt x="9512877" y="6358459"/>
                  <a:pt x="9518699" y="6368478"/>
                </a:cubicBezTo>
                <a:cubicBezTo>
                  <a:pt x="9519243" y="6369417"/>
                  <a:pt x="9521183" y="6374427"/>
                  <a:pt x="9521183" y="6375131"/>
                </a:cubicBezTo>
                <a:lnTo>
                  <a:pt x="9521183" y="6420686"/>
                </a:lnTo>
                <a:lnTo>
                  <a:pt x="9536087" y="6420686"/>
                </a:lnTo>
                <a:lnTo>
                  <a:pt x="9536087" y="6371217"/>
                </a:lnTo>
                <a:cubicBezTo>
                  <a:pt x="9536087" y="6369574"/>
                  <a:pt x="9533836" y="6363077"/>
                  <a:pt x="9532982" y="6361277"/>
                </a:cubicBezTo>
                <a:cubicBezTo>
                  <a:pt x="9528868" y="6352511"/>
                  <a:pt x="9520892" y="6348264"/>
                  <a:pt x="9512557" y="6347981"/>
                </a:cubicBezTo>
                <a:close/>
                <a:moveTo>
                  <a:pt x="9877718" y="6347970"/>
                </a:moveTo>
                <a:cubicBezTo>
                  <a:pt x="9861650" y="6346483"/>
                  <a:pt x="9847444" y="6355250"/>
                  <a:pt x="9849618" y="6373017"/>
                </a:cubicBezTo>
                <a:cubicBezTo>
                  <a:pt x="9851403" y="6388202"/>
                  <a:pt x="9871043" y="6387654"/>
                  <a:pt x="9880513" y="6392977"/>
                </a:cubicBezTo>
                <a:cubicBezTo>
                  <a:pt x="9889983" y="6398299"/>
                  <a:pt x="9884782" y="6408631"/>
                  <a:pt x="9875157" y="6409492"/>
                </a:cubicBezTo>
                <a:cubicBezTo>
                  <a:pt x="9866851" y="6410197"/>
                  <a:pt x="9860097" y="6405735"/>
                  <a:pt x="9857924" y="6397752"/>
                </a:cubicBezTo>
                <a:cubicBezTo>
                  <a:pt x="9857070" y="6397047"/>
                  <a:pt x="9845038" y="6402604"/>
                  <a:pt x="9845038" y="6403309"/>
                </a:cubicBezTo>
                <a:cubicBezTo>
                  <a:pt x="9854586" y="6430783"/>
                  <a:pt x="9904499" y="6428278"/>
                  <a:pt x="9900152" y="6394855"/>
                </a:cubicBezTo>
                <a:cubicBezTo>
                  <a:pt x="9897979" y="6378497"/>
                  <a:pt x="9878107" y="6379358"/>
                  <a:pt x="9867705" y="6373174"/>
                </a:cubicBezTo>
                <a:cubicBezTo>
                  <a:pt x="9860796" y="6369104"/>
                  <a:pt x="9863435" y="6361277"/>
                  <a:pt x="9870577" y="6360416"/>
                </a:cubicBezTo>
                <a:cubicBezTo>
                  <a:pt x="9879193" y="6359398"/>
                  <a:pt x="9884161" y="6362685"/>
                  <a:pt x="9888819" y="6369495"/>
                </a:cubicBezTo>
                <a:lnTo>
                  <a:pt x="9899531" y="6363703"/>
                </a:lnTo>
                <a:lnTo>
                  <a:pt x="9899531" y="6363546"/>
                </a:lnTo>
                <a:cubicBezTo>
                  <a:pt x="9897125" y="6354623"/>
                  <a:pt x="9886490" y="6348753"/>
                  <a:pt x="9877718" y="6347970"/>
                </a:cubicBezTo>
                <a:close/>
                <a:moveTo>
                  <a:pt x="9704010" y="6347957"/>
                </a:moveTo>
                <a:cubicBezTo>
                  <a:pt x="9699305" y="6348333"/>
                  <a:pt x="9694619" y="6350006"/>
                  <a:pt x="9690485" y="6353215"/>
                </a:cubicBezTo>
                <a:cubicBezTo>
                  <a:pt x="9689088" y="6354310"/>
                  <a:pt x="9684120" y="6360416"/>
                  <a:pt x="9683344" y="6360416"/>
                </a:cubicBezTo>
                <a:cubicBezTo>
                  <a:pt x="9677211" y="6347422"/>
                  <a:pt x="9660366" y="6343822"/>
                  <a:pt x="9649266" y="6352902"/>
                </a:cubicBezTo>
                <a:cubicBezTo>
                  <a:pt x="9649266" y="6352902"/>
                  <a:pt x="9644686" y="6357128"/>
                  <a:pt x="9644686" y="6357128"/>
                </a:cubicBezTo>
                <a:lnTo>
                  <a:pt x="9644686" y="6349301"/>
                </a:lnTo>
                <a:lnTo>
                  <a:pt x="9644531" y="6349301"/>
                </a:lnTo>
                <a:lnTo>
                  <a:pt x="9629549" y="6349301"/>
                </a:lnTo>
                <a:lnTo>
                  <a:pt x="9629549" y="6420686"/>
                </a:lnTo>
                <a:lnTo>
                  <a:pt x="9644531" y="6420686"/>
                </a:lnTo>
                <a:lnTo>
                  <a:pt x="9644531" y="6381080"/>
                </a:lnTo>
                <a:cubicBezTo>
                  <a:pt x="9644531" y="6377479"/>
                  <a:pt x="9646859" y="6370983"/>
                  <a:pt x="9649111" y="6368008"/>
                </a:cubicBezTo>
                <a:cubicBezTo>
                  <a:pt x="9654700" y="6360572"/>
                  <a:pt x="9667275" y="6359085"/>
                  <a:pt x="9671234" y="6368634"/>
                </a:cubicBezTo>
                <a:cubicBezTo>
                  <a:pt x="9671777" y="6369887"/>
                  <a:pt x="9673175" y="6374740"/>
                  <a:pt x="9673175" y="6375835"/>
                </a:cubicBezTo>
                <a:lnTo>
                  <a:pt x="9673175" y="6420686"/>
                </a:lnTo>
                <a:lnTo>
                  <a:pt x="9688777" y="6420686"/>
                </a:lnTo>
                <a:lnTo>
                  <a:pt x="9688777" y="6375835"/>
                </a:lnTo>
                <a:cubicBezTo>
                  <a:pt x="9688777" y="6375522"/>
                  <a:pt x="9690873" y="6370513"/>
                  <a:pt x="9691261" y="6369808"/>
                </a:cubicBezTo>
                <a:cubicBezTo>
                  <a:pt x="9696152" y="6361042"/>
                  <a:pt x="9710357" y="6358068"/>
                  <a:pt x="9714937" y="6368478"/>
                </a:cubicBezTo>
                <a:cubicBezTo>
                  <a:pt x="9715403" y="6369495"/>
                  <a:pt x="9716800" y="6373722"/>
                  <a:pt x="9716800" y="6374505"/>
                </a:cubicBezTo>
                <a:lnTo>
                  <a:pt x="9716800" y="6420686"/>
                </a:lnTo>
                <a:lnTo>
                  <a:pt x="9732403" y="6420686"/>
                </a:lnTo>
                <a:lnTo>
                  <a:pt x="9732403" y="6373174"/>
                </a:lnTo>
                <a:cubicBezTo>
                  <a:pt x="9732403" y="6357383"/>
                  <a:pt x="9718125" y="6346831"/>
                  <a:pt x="9704010" y="6347957"/>
                </a:cubicBezTo>
                <a:close/>
                <a:moveTo>
                  <a:pt x="3634690" y="6345040"/>
                </a:moveTo>
                <a:lnTo>
                  <a:pt x="3634690" y="6382936"/>
                </a:lnTo>
                <a:lnTo>
                  <a:pt x="3665967" y="6382936"/>
                </a:lnTo>
                <a:lnTo>
                  <a:pt x="3665967" y="6374691"/>
                </a:lnTo>
                <a:lnTo>
                  <a:pt x="3646559" y="6374691"/>
                </a:lnTo>
                <a:lnTo>
                  <a:pt x="3646559" y="6367234"/>
                </a:lnTo>
                <a:lnTo>
                  <a:pt x="3663195" y="6367234"/>
                </a:lnTo>
                <a:lnTo>
                  <a:pt x="3663195" y="6358988"/>
                </a:lnTo>
                <a:lnTo>
                  <a:pt x="3646645" y="6358988"/>
                </a:lnTo>
                <a:lnTo>
                  <a:pt x="3646645" y="6353374"/>
                </a:lnTo>
                <a:lnTo>
                  <a:pt x="3664406" y="6353374"/>
                </a:lnTo>
                <a:lnTo>
                  <a:pt x="3664406" y="6345040"/>
                </a:lnTo>
                <a:close/>
                <a:moveTo>
                  <a:pt x="3614157" y="6345040"/>
                </a:moveTo>
                <a:lnTo>
                  <a:pt x="3614157" y="6382936"/>
                </a:lnTo>
                <a:lnTo>
                  <a:pt x="3626026" y="6382936"/>
                </a:lnTo>
                <a:lnTo>
                  <a:pt x="3626026" y="6345040"/>
                </a:lnTo>
                <a:close/>
                <a:moveTo>
                  <a:pt x="3576813" y="6345040"/>
                </a:moveTo>
                <a:lnTo>
                  <a:pt x="3576813" y="6354339"/>
                </a:lnTo>
                <a:lnTo>
                  <a:pt x="3586430" y="6354339"/>
                </a:lnTo>
                <a:lnTo>
                  <a:pt x="3586430" y="6382936"/>
                </a:lnTo>
                <a:lnTo>
                  <a:pt x="3598214" y="6382936"/>
                </a:lnTo>
                <a:lnTo>
                  <a:pt x="3598214" y="6354339"/>
                </a:lnTo>
                <a:lnTo>
                  <a:pt x="3607744" y="6354339"/>
                </a:lnTo>
                <a:lnTo>
                  <a:pt x="3607744" y="6345040"/>
                </a:lnTo>
                <a:close/>
                <a:moveTo>
                  <a:pt x="3558619" y="6345040"/>
                </a:moveTo>
                <a:lnTo>
                  <a:pt x="3558619" y="6382936"/>
                </a:lnTo>
                <a:lnTo>
                  <a:pt x="3570490" y="6382936"/>
                </a:lnTo>
                <a:lnTo>
                  <a:pt x="3570490" y="6345040"/>
                </a:lnTo>
                <a:close/>
                <a:moveTo>
                  <a:pt x="4409831" y="6344864"/>
                </a:moveTo>
                <a:cubicBezTo>
                  <a:pt x="4405199" y="6344864"/>
                  <a:pt x="4400830" y="6345654"/>
                  <a:pt x="4396810" y="6347233"/>
                </a:cubicBezTo>
                <a:cubicBezTo>
                  <a:pt x="4392790" y="6348812"/>
                  <a:pt x="4389382" y="6351092"/>
                  <a:pt x="4386411" y="6353987"/>
                </a:cubicBezTo>
                <a:cubicBezTo>
                  <a:pt x="4383527" y="6356882"/>
                  <a:pt x="4381168" y="6360391"/>
                  <a:pt x="4379507" y="6364514"/>
                </a:cubicBezTo>
                <a:cubicBezTo>
                  <a:pt x="4377847" y="6368637"/>
                  <a:pt x="4376973" y="6373111"/>
                  <a:pt x="4376973" y="6378199"/>
                </a:cubicBezTo>
                <a:cubicBezTo>
                  <a:pt x="4376973" y="6383287"/>
                  <a:pt x="4377847" y="6387849"/>
                  <a:pt x="4379507" y="6391884"/>
                </a:cubicBezTo>
                <a:cubicBezTo>
                  <a:pt x="4381168" y="6395919"/>
                  <a:pt x="4383527" y="6399253"/>
                  <a:pt x="4386498" y="6402060"/>
                </a:cubicBezTo>
                <a:cubicBezTo>
                  <a:pt x="4389469" y="6404779"/>
                  <a:pt x="4393052" y="6406972"/>
                  <a:pt x="4397072" y="6408464"/>
                </a:cubicBezTo>
                <a:cubicBezTo>
                  <a:pt x="4401092" y="6409955"/>
                  <a:pt x="4405549" y="6410744"/>
                  <a:pt x="4410355" y="6410744"/>
                </a:cubicBezTo>
                <a:cubicBezTo>
                  <a:pt x="4421978" y="6410744"/>
                  <a:pt x="4430891" y="6406621"/>
                  <a:pt x="4437008" y="6398288"/>
                </a:cubicBezTo>
                <a:lnTo>
                  <a:pt x="4426697" y="6389954"/>
                </a:lnTo>
                <a:cubicBezTo>
                  <a:pt x="4424949" y="6392410"/>
                  <a:pt x="4422764" y="6394428"/>
                  <a:pt x="4420055" y="6395831"/>
                </a:cubicBezTo>
                <a:cubicBezTo>
                  <a:pt x="4417346" y="6397235"/>
                  <a:pt x="4414025" y="6397937"/>
                  <a:pt x="4410180" y="6397937"/>
                </a:cubicBezTo>
                <a:cubicBezTo>
                  <a:pt x="4407908" y="6397937"/>
                  <a:pt x="4405811" y="6397586"/>
                  <a:pt x="4403714" y="6396796"/>
                </a:cubicBezTo>
                <a:cubicBezTo>
                  <a:pt x="4401616" y="6396007"/>
                  <a:pt x="4399781" y="6394954"/>
                  <a:pt x="4398121" y="6393638"/>
                </a:cubicBezTo>
                <a:cubicBezTo>
                  <a:pt x="4396460" y="6392235"/>
                  <a:pt x="4395150" y="6390656"/>
                  <a:pt x="4394188" y="6388814"/>
                </a:cubicBezTo>
                <a:cubicBezTo>
                  <a:pt x="4393227" y="6386971"/>
                  <a:pt x="4392615" y="6384954"/>
                  <a:pt x="4392441" y="6382673"/>
                </a:cubicBezTo>
                <a:lnTo>
                  <a:pt x="4439630" y="6382673"/>
                </a:lnTo>
                <a:cubicBezTo>
                  <a:pt x="4439805" y="6381971"/>
                  <a:pt x="4439805" y="6381269"/>
                  <a:pt x="4439805" y="6380568"/>
                </a:cubicBezTo>
                <a:lnTo>
                  <a:pt x="4439805" y="6378462"/>
                </a:lnTo>
                <a:lnTo>
                  <a:pt x="4439892" y="6378638"/>
                </a:lnTo>
                <a:cubicBezTo>
                  <a:pt x="4439892" y="6373023"/>
                  <a:pt x="4439106" y="6368111"/>
                  <a:pt x="4437620" y="6363900"/>
                </a:cubicBezTo>
                <a:cubicBezTo>
                  <a:pt x="4436134" y="6359689"/>
                  <a:pt x="4434037" y="6356180"/>
                  <a:pt x="4431328" y="6353373"/>
                </a:cubicBezTo>
                <a:cubicBezTo>
                  <a:pt x="4428619" y="6350478"/>
                  <a:pt x="4425473" y="6348373"/>
                  <a:pt x="4421803" y="6346969"/>
                </a:cubicBezTo>
                <a:cubicBezTo>
                  <a:pt x="4418133" y="6345566"/>
                  <a:pt x="4414113" y="6344864"/>
                  <a:pt x="4409831" y="6344864"/>
                </a:cubicBezTo>
                <a:close/>
                <a:moveTo>
                  <a:pt x="4218976" y="6344864"/>
                </a:moveTo>
                <a:cubicBezTo>
                  <a:pt x="4214170" y="6344864"/>
                  <a:pt x="4209538" y="6345654"/>
                  <a:pt x="4204907" y="6347320"/>
                </a:cubicBezTo>
                <a:cubicBezTo>
                  <a:pt x="4200275" y="6348899"/>
                  <a:pt x="4196168" y="6351356"/>
                  <a:pt x="4192673" y="6354689"/>
                </a:cubicBezTo>
                <a:lnTo>
                  <a:pt x="4200712" y="6364163"/>
                </a:lnTo>
                <a:cubicBezTo>
                  <a:pt x="4202722" y="6362146"/>
                  <a:pt x="4205169" y="6360479"/>
                  <a:pt x="4208227" y="6359075"/>
                </a:cubicBezTo>
                <a:cubicBezTo>
                  <a:pt x="4211199" y="6357672"/>
                  <a:pt x="4214345" y="6356970"/>
                  <a:pt x="4217665" y="6356970"/>
                </a:cubicBezTo>
                <a:cubicBezTo>
                  <a:pt x="4221598" y="6356970"/>
                  <a:pt x="4224919" y="6357935"/>
                  <a:pt x="4227715" y="6359777"/>
                </a:cubicBezTo>
                <a:cubicBezTo>
                  <a:pt x="4230511" y="6361619"/>
                  <a:pt x="4231910" y="6364514"/>
                  <a:pt x="4231910" y="6368374"/>
                </a:cubicBezTo>
                <a:lnTo>
                  <a:pt x="4231910" y="6369953"/>
                </a:lnTo>
                <a:cubicBezTo>
                  <a:pt x="4227016" y="6369953"/>
                  <a:pt x="4222122" y="6370216"/>
                  <a:pt x="4217054" y="6370655"/>
                </a:cubicBezTo>
                <a:cubicBezTo>
                  <a:pt x="4211985" y="6371093"/>
                  <a:pt x="4207354" y="6372058"/>
                  <a:pt x="4203246" y="6373550"/>
                </a:cubicBezTo>
                <a:cubicBezTo>
                  <a:pt x="4199139" y="6375041"/>
                  <a:pt x="4195731" y="6377146"/>
                  <a:pt x="4193109" y="6379953"/>
                </a:cubicBezTo>
                <a:cubicBezTo>
                  <a:pt x="4190488" y="6382673"/>
                  <a:pt x="4189177" y="6386445"/>
                  <a:pt x="4189177" y="6391094"/>
                </a:cubicBezTo>
                <a:cubicBezTo>
                  <a:pt x="4189177" y="6394691"/>
                  <a:pt x="4189964" y="6397761"/>
                  <a:pt x="4191450" y="6400218"/>
                </a:cubicBezTo>
                <a:cubicBezTo>
                  <a:pt x="4192935" y="6402674"/>
                  <a:pt x="4194857" y="6404692"/>
                  <a:pt x="4197129" y="6406183"/>
                </a:cubicBezTo>
                <a:cubicBezTo>
                  <a:pt x="4199401" y="6407674"/>
                  <a:pt x="4201936" y="6408815"/>
                  <a:pt x="4204645" y="6409429"/>
                </a:cubicBezTo>
                <a:cubicBezTo>
                  <a:pt x="4207441" y="6410043"/>
                  <a:pt x="4209975" y="6410394"/>
                  <a:pt x="4212509" y="6410394"/>
                </a:cubicBezTo>
                <a:cubicBezTo>
                  <a:pt x="4216966" y="6410394"/>
                  <a:pt x="4220811" y="6409516"/>
                  <a:pt x="4224307" y="6407762"/>
                </a:cubicBezTo>
                <a:cubicBezTo>
                  <a:pt x="4227802" y="6406007"/>
                  <a:pt x="4230249" y="6403727"/>
                  <a:pt x="4231822" y="6400919"/>
                </a:cubicBezTo>
                <a:lnTo>
                  <a:pt x="4232172" y="6400919"/>
                </a:lnTo>
                <a:lnTo>
                  <a:pt x="4232172" y="6401183"/>
                </a:lnTo>
                <a:lnTo>
                  <a:pt x="4232172" y="6409078"/>
                </a:lnTo>
                <a:lnTo>
                  <a:pt x="4246678" y="6409078"/>
                </a:lnTo>
                <a:lnTo>
                  <a:pt x="4246678" y="6371181"/>
                </a:lnTo>
                <a:cubicBezTo>
                  <a:pt x="4246678" y="6368023"/>
                  <a:pt x="4246328" y="6364865"/>
                  <a:pt x="4245455" y="6361795"/>
                </a:cubicBezTo>
                <a:cubicBezTo>
                  <a:pt x="4244581" y="6358724"/>
                  <a:pt x="4243183" y="6355917"/>
                  <a:pt x="4241085" y="6353373"/>
                </a:cubicBezTo>
                <a:cubicBezTo>
                  <a:pt x="4238988" y="6350829"/>
                  <a:pt x="4236192" y="6348812"/>
                  <a:pt x="4232609" y="6347233"/>
                </a:cubicBezTo>
                <a:cubicBezTo>
                  <a:pt x="4229026" y="6345654"/>
                  <a:pt x="4224482" y="6344864"/>
                  <a:pt x="4218976" y="6344864"/>
                </a:cubicBezTo>
                <a:close/>
                <a:moveTo>
                  <a:pt x="4525094" y="6344777"/>
                </a:moveTo>
                <a:cubicBezTo>
                  <a:pt x="4521948" y="6344777"/>
                  <a:pt x="4518977" y="6345128"/>
                  <a:pt x="4516006" y="6345917"/>
                </a:cubicBezTo>
                <a:cubicBezTo>
                  <a:pt x="4513122" y="6346707"/>
                  <a:pt x="4510501" y="6347935"/>
                  <a:pt x="4508141" y="6349514"/>
                </a:cubicBezTo>
                <a:cubicBezTo>
                  <a:pt x="4505869" y="6351093"/>
                  <a:pt x="4503947" y="6353111"/>
                  <a:pt x="4502548" y="6355655"/>
                </a:cubicBezTo>
                <a:cubicBezTo>
                  <a:pt x="4501150" y="6358111"/>
                  <a:pt x="4500451" y="6361181"/>
                  <a:pt x="4500451" y="6364603"/>
                </a:cubicBezTo>
                <a:cubicBezTo>
                  <a:pt x="4500451" y="6367497"/>
                  <a:pt x="4500975" y="6369954"/>
                  <a:pt x="4502024" y="6371971"/>
                </a:cubicBezTo>
                <a:cubicBezTo>
                  <a:pt x="4502985" y="6373989"/>
                  <a:pt x="4504384" y="6375656"/>
                  <a:pt x="4506131" y="6376972"/>
                </a:cubicBezTo>
                <a:cubicBezTo>
                  <a:pt x="4507792" y="6378287"/>
                  <a:pt x="4509802" y="6379428"/>
                  <a:pt x="4511986" y="6380217"/>
                </a:cubicBezTo>
                <a:cubicBezTo>
                  <a:pt x="4514171" y="6381007"/>
                  <a:pt x="4516443" y="6381709"/>
                  <a:pt x="4518803" y="6382235"/>
                </a:cubicBezTo>
                <a:cubicBezTo>
                  <a:pt x="4523521" y="6383288"/>
                  <a:pt x="4527104" y="6384428"/>
                  <a:pt x="4529464" y="6385568"/>
                </a:cubicBezTo>
                <a:cubicBezTo>
                  <a:pt x="4531823" y="6386709"/>
                  <a:pt x="4533047" y="6388551"/>
                  <a:pt x="4533047" y="6391183"/>
                </a:cubicBezTo>
                <a:cubicBezTo>
                  <a:pt x="4533047" y="6392586"/>
                  <a:pt x="4532785" y="6393727"/>
                  <a:pt x="4532173" y="6394692"/>
                </a:cubicBezTo>
                <a:cubicBezTo>
                  <a:pt x="4531561" y="6395657"/>
                  <a:pt x="4530775" y="6396446"/>
                  <a:pt x="4529813" y="6396973"/>
                </a:cubicBezTo>
                <a:cubicBezTo>
                  <a:pt x="4528852" y="6397499"/>
                  <a:pt x="4527716" y="6397938"/>
                  <a:pt x="4526580" y="6398201"/>
                </a:cubicBezTo>
                <a:cubicBezTo>
                  <a:pt x="4525444" y="6398464"/>
                  <a:pt x="4524308" y="6398552"/>
                  <a:pt x="4523172" y="6398552"/>
                </a:cubicBezTo>
                <a:cubicBezTo>
                  <a:pt x="4519851" y="6398552"/>
                  <a:pt x="4516793" y="6397850"/>
                  <a:pt x="4513996" y="6396358"/>
                </a:cubicBezTo>
                <a:cubicBezTo>
                  <a:pt x="4511200" y="6394867"/>
                  <a:pt x="4509015" y="6393025"/>
                  <a:pt x="4507267" y="6390744"/>
                </a:cubicBezTo>
                <a:lnTo>
                  <a:pt x="4497043" y="6400394"/>
                </a:lnTo>
                <a:cubicBezTo>
                  <a:pt x="4500014" y="6403727"/>
                  <a:pt x="4503859" y="6406271"/>
                  <a:pt x="4508403" y="6408026"/>
                </a:cubicBezTo>
                <a:cubicBezTo>
                  <a:pt x="4512948" y="6409780"/>
                  <a:pt x="4517666" y="6410657"/>
                  <a:pt x="4522473" y="6410657"/>
                </a:cubicBezTo>
                <a:cubicBezTo>
                  <a:pt x="4525881" y="6410657"/>
                  <a:pt x="4529114" y="6410219"/>
                  <a:pt x="4532260" y="6409517"/>
                </a:cubicBezTo>
                <a:cubicBezTo>
                  <a:pt x="4535406" y="6408728"/>
                  <a:pt x="4538203" y="6407587"/>
                  <a:pt x="4540562" y="6405920"/>
                </a:cubicBezTo>
                <a:cubicBezTo>
                  <a:pt x="4542921" y="6404341"/>
                  <a:pt x="4544844" y="6402148"/>
                  <a:pt x="4546242" y="6399517"/>
                </a:cubicBezTo>
                <a:cubicBezTo>
                  <a:pt x="4547640" y="6396885"/>
                  <a:pt x="4548340" y="6393639"/>
                  <a:pt x="4548340" y="6389867"/>
                </a:cubicBezTo>
                <a:cubicBezTo>
                  <a:pt x="4548340" y="6386884"/>
                  <a:pt x="4547728" y="6384253"/>
                  <a:pt x="4546504" y="6382147"/>
                </a:cubicBezTo>
                <a:cubicBezTo>
                  <a:pt x="4545281" y="6380042"/>
                  <a:pt x="4543708" y="6378200"/>
                  <a:pt x="4541785" y="6376796"/>
                </a:cubicBezTo>
                <a:cubicBezTo>
                  <a:pt x="4539863" y="6375393"/>
                  <a:pt x="4537678" y="6374252"/>
                  <a:pt x="4535319" y="6373375"/>
                </a:cubicBezTo>
                <a:cubicBezTo>
                  <a:pt x="4532959" y="6372498"/>
                  <a:pt x="4530600" y="6371796"/>
                  <a:pt x="4528240" y="6371270"/>
                </a:cubicBezTo>
                <a:cubicBezTo>
                  <a:pt x="4523784" y="6370217"/>
                  <a:pt x="4520463" y="6369164"/>
                  <a:pt x="4518191" y="6368199"/>
                </a:cubicBezTo>
                <a:cubicBezTo>
                  <a:pt x="4515919" y="6367234"/>
                  <a:pt x="4514783" y="6365480"/>
                  <a:pt x="4514783" y="6363111"/>
                </a:cubicBezTo>
                <a:cubicBezTo>
                  <a:pt x="4514783" y="6360743"/>
                  <a:pt x="4515919" y="6358988"/>
                  <a:pt x="4517929" y="6357936"/>
                </a:cubicBezTo>
                <a:cubicBezTo>
                  <a:pt x="4519939" y="6356883"/>
                  <a:pt x="4522211" y="6356357"/>
                  <a:pt x="4524745" y="6356357"/>
                </a:cubicBezTo>
                <a:cubicBezTo>
                  <a:pt x="4527541" y="6356357"/>
                  <a:pt x="4530163" y="6357058"/>
                  <a:pt x="4532610" y="6358374"/>
                </a:cubicBezTo>
                <a:cubicBezTo>
                  <a:pt x="4534969" y="6359690"/>
                  <a:pt x="4536892" y="6361269"/>
                  <a:pt x="4538290" y="6363111"/>
                </a:cubicBezTo>
                <a:lnTo>
                  <a:pt x="4538290" y="6363199"/>
                </a:lnTo>
                <a:lnTo>
                  <a:pt x="4548340" y="6354251"/>
                </a:lnTo>
                <a:cubicBezTo>
                  <a:pt x="4545893" y="6351093"/>
                  <a:pt x="4542485" y="6348725"/>
                  <a:pt x="4538203" y="6347146"/>
                </a:cubicBezTo>
                <a:cubicBezTo>
                  <a:pt x="4533921" y="6345567"/>
                  <a:pt x="4529551" y="6344777"/>
                  <a:pt x="4525094" y="6344777"/>
                </a:cubicBezTo>
                <a:close/>
                <a:moveTo>
                  <a:pt x="6545640" y="6344769"/>
                </a:moveTo>
                <a:cubicBezTo>
                  <a:pt x="6525141" y="6347508"/>
                  <a:pt x="6528467" y="6379678"/>
                  <a:pt x="6549894" y="6377173"/>
                </a:cubicBezTo>
                <a:cubicBezTo>
                  <a:pt x="6570315" y="6374747"/>
                  <a:pt x="6566834" y="6341951"/>
                  <a:pt x="6545640" y="6344769"/>
                </a:cubicBezTo>
                <a:close/>
                <a:moveTo>
                  <a:pt x="4297974" y="6344601"/>
                </a:moveTo>
                <a:cubicBezTo>
                  <a:pt x="4293867" y="6344601"/>
                  <a:pt x="4290284" y="6345654"/>
                  <a:pt x="4287138" y="6347935"/>
                </a:cubicBezTo>
                <a:cubicBezTo>
                  <a:pt x="4283992" y="6350215"/>
                  <a:pt x="4281633" y="6353198"/>
                  <a:pt x="4279885" y="6356795"/>
                </a:cubicBezTo>
                <a:lnTo>
                  <a:pt x="4279623" y="6356795"/>
                </a:lnTo>
                <a:lnTo>
                  <a:pt x="4279623" y="6346443"/>
                </a:lnTo>
                <a:lnTo>
                  <a:pt x="4264767" y="6346443"/>
                </a:lnTo>
                <a:lnTo>
                  <a:pt x="4264767" y="6408815"/>
                </a:lnTo>
                <a:lnTo>
                  <a:pt x="4280322" y="6408815"/>
                </a:lnTo>
                <a:lnTo>
                  <a:pt x="4280322" y="6375392"/>
                </a:lnTo>
                <a:cubicBezTo>
                  <a:pt x="4280322" y="6374252"/>
                  <a:pt x="4280497" y="6372760"/>
                  <a:pt x="4280934" y="6370830"/>
                </a:cubicBezTo>
                <a:cubicBezTo>
                  <a:pt x="4281371" y="6368900"/>
                  <a:pt x="4282157" y="6367058"/>
                  <a:pt x="4283381" y="6365216"/>
                </a:cubicBezTo>
                <a:cubicBezTo>
                  <a:pt x="4284604" y="6363462"/>
                  <a:pt x="4286264" y="6361883"/>
                  <a:pt x="4288449" y="6360567"/>
                </a:cubicBezTo>
                <a:cubicBezTo>
                  <a:pt x="4290634" y="6359251"/>
                  <a:pt x="4293518" y="6358637"/>
                  <a:pt x="4297013" y="6358637"/>
                </a:cubicBezTo>
                <a:cubicBezTo>
                  <a:pt x="4297625" y="6358637"/>
                  <a:pt x="4298411" y="6358725"/>
                  <a:pt x="4299110" y="6358725"/>
                </a:cubicBezTo>
                <a:cubicBezTo>
                  <a:pt x="4299809" y="6358812"/>
                  <a:pt x="4300683" y="6358988"/>
                  <a:pt x="4301732" y="6359251"/>
                </a:cubicBezTo>
                <a:lnTo>
                  <a:pt x="4301732" y="6344952"/>
                </a:lnTo>
                <a:cubicBezTo>
                  <a:pt x="4301208" y="6344776"/>
                  <a:pt x="4300596" y="6344601"/>
                  <a:pt x="4299897" y="6344601"/>
                </a:cubicBezTo>
                <a:cubicBezTo>
                  <a:pt x="4299198" y="6344601"/>
                  <a:pt x="4298586" y="6344601"/>
                  <a:pt x="4297974" y="6344601"/>
                </a:cubicBezTo>
                <a:close/>
                <a:moveTo>
                  <a:pt x="3691006" y="6343724"/>
                </a:moveTo>
                <a:cubicBezTo>
                  <a:pt x="3689619" y="6343724"/>
                  <a:pt x="3679656" y="6343636"/>
                  <a:pt x="3675843" y="6350743"/>
                </a:cubicBezTo>
                <a:cubicBezTo>
                  <a:pt x="3674458" y="6353199"/>
                  <a:pt x="3674458" y="6355479"/>
                  <a:pt x="3674458" y="6356532"/>
                </a:cubicBezTo>
                <a:cubicBezTo>
                  <a:pt x="3674372" y="6360743"/>
                  <a:pt x="3676537" y="6363199"/>
                  <a:pt x="3677664" y="6364252"/>
                </a:cubicBezTo>
                <a:cubicBezTo>
                  <a:pt x="3679483" y="6365919"/>
                  <a:pt x="3682256" y="6367147"/>
                  <a:pt x="3687367" y="6368199"/>
                </a:cubicBezTo>
                <a:cubicBezTo>
                  <a:pt x="3690659" y="6368901"/>
                  <a:pt x="3693085" y="6369252"/>
                  <a:pt x="3694385" y="6369691"/>
                </a:cubicBezTo>
                <a:cubicBezTo>
                  <a:pt x="3695512" y="6370041"/>
                  <a:pt x="3695945" y="6370568"/>
                  <a:pt x="3696205" y="6371094"/>
                </a:cubicBezTo>
                <a:cubicBezTo>
                  <a:pt x="3696291" y="6371182"/>
                  <a:pt x="3696465" y="6371533"/>
                  <a:pt x="3696465" y="6371972"/>
                </a:cubicBezTo>
                <a:cubicBezTo>
                  <a:pt x="3696465" y="6373814"/>
                  <a:pt x="3694124" y="6374866"/>
                  <a:pt x="3690746" y="6374866"/>
                </a:cubicBezTo>
                <a:cubicBezTo>
                  <a:pt x="3688147" y="6374866"/>
                  <a:pt x="3684247" y="6373989"/>
                  <a:pt x="3682082" y="6372147"/>
                </a:cubicBezTo>
                <a:cubicBezTo>
                  <a:pt x="3681562" y="6371708"/>
                  <a:pt x="3681043" y="6371182"/>
                  <a:pt x="3680262" y="6369866"/>
                </a:cubicBezTo>
                <a:lnTo>
                  <a:pt x="3671166" y="6375744"/>
                </a:lnTo>
                <a:cubicBezTo>
                  <a:pt x="3672464" y="6377322"/>
                  <a:pt x="3673418" y="6378463"/>
                  <a:pt x="3675152" y="6379779"/>
                </a:cubicBezTo>
                <a:cubicBezTo>
                  <a:pt x="3679569" y="6383200"/>
                  <a:pt x="3684768" y="6384077"/>
                  <a:pt x="3690226" y="6384077"/>
                </a:cubicBezTo>
                <a:cubicBezTo>
                  <a:pt x="3691786" y="6384077"/>
                  <a:pt x="3698110" y="6384165"/>
                  <a:pt x="3702962" y="6380569"/>
                </a:cubicBezTo>
                <a:lnTo>
                  <a:pt x="3703309" y="6380569"/>
                </a:lnTo>
                <a:cubicBezTo>
                  <a:pt x="3704955" y="6379340"/>
                  <a:pt x="3708247" y="6376270"/>
                  <a:pt x="3708247" y="6370656"/>
                </a:cubicBezTo>
                <a:cubicBezTo>
                  <a:pt x="3708247" y="6363024"/>
                  <a:pt x="3702443" y="6361006"/>
                  <a:pt x="3700104" y="6360216"/>
                </a:cubicBezTo>
                <a:cubicBezTo>
                  <a:pt x="3696377" y="6358988"/>
                  <a:pt x="3692825" y="6358462"/>
                  <a:pt x="3691525" y="6358286"/>
                </a:cubicBezTo>
                <a:cubicBezTo>
                  <a:pt x="3690572" y="6358198"/>
                  <a:pt x="3688319" y="6357760"/>
                  <a:pt x="3687367" y="6357146"/>
                </a:cubicBezTo>
                <a:cubicBezTo>
                  <a:pt x="3686847" y="6356708"/>
                  <a:pt x="3686414" y="6356094"/>
                  <a:pt x="3686414" y="6355392"/>
                </a:cubicBezTo>
                <a:cubicBezTo>
                  <a:pt x="3686414" y="6354076"/>
                  <a:pt x="3687714" y="6353462"/>
                  <a:pt x="3687887" y="6353374"/>
                </a:cubicBezTo>
                <a:cubicBezTo>
                  <a:pt x="3688927" y="6352935"/>
                  <a:pt x="3690399" y="6352935"/>
                  <a:pt x="3690659" y="6352935"/>
                </a:cubicBezTo>
                <a:cubicBezTo>
                  <a:pt x="3693431" y="6352935"/>
                  <a:pt x="3697244" y="6353549"/>
                  <a:pt x="3699410" y="6355567"/>
                </a:cubicBezTo>
                <a:cubicBezTo>
                  <a:pt x="3699671" y="6355830"/>
                  <a:pt x="3700016" y="6356181"/>
                  <a:pt x="3700451" y="6356795"/>
                </a:cubicBezTo>
                <a:lnTo>
                  <a:pt x="3707900" y="6350479"/>
                </a:lnTo>
                <a:cubicBezTo>
                  <a:pt x="3706862" y="6349427"/>
                  <a:pt x="3706167" y="6348725"/>
                  <a:pt x="3705041" y="6347847"/>
                </a:cubicBezTo>
                <a:cubicBezTo>
                  <a:pt x="3699671" y="6343812"/>
                  <a:pt x="3692913" y="6343724"/>
                  <a:pt x="3691006" y="6343724"/>
                </a:cubicBezTo>
                <a:close/>
                <a:moveTo>
                  <a:pt x="3533580" y="6343636"/>
                </a:moveTo>
                <a:cubicBezTo>
                  <a:pt x="3530288" y="6343636"/>
                  <a:pt x="3523097" y="6344162"/>
                  <a:pt x="3517985" y="6351531"/>
                </a:cubicBezTo>
                <a:cubicBezTo>
                  <a:pt x="3514346" y="6356620"/>
                  <a:pt x="3514087" y="6361883"/>
                  <a:pt x="3514087" y="6364163"/>
                </a:cubicBezTo>
                <a:cubicBezTo>
                  <a:pt x="3514087" y="6366883"/>
                  <a:pt x="3514606" y="6374428"/>
                  <a:pt x="3520844" y="6379779"/>
                </a:cubicBezTo>
                <a:cubicBezTo>
                  <a:pt x="3524483" y="6383025"/>
                  <a:pt x="3528728" y="6384165"/>
                  <a:pt x="3533493" y="6384165"/>
                </a:cubicBezTo>
                <a:cubicBezTo>
                  <a:pt x="3541812" y="6384165"/>
                  <a:pt x="3546578" y="6380217"/>
                  <a:pt x="3548829" y="6377673"/>
                </a:cubicBezTo>
                <a:lnTo>
                  <a:pt x="3548743" y="6377586"/>
                </a:lnTo>
                <a:cubicBezTo>
                  <a:pt x="3549695" y="6376533"/>
                  <a:pt x="3550388" y="6375568"/>
                  <a:pt x="3551688" y="6373112"/>
                </a:cubicBezTo>
                <a:lnTo>
                  <a:pt x="3541552" y="6368199"/>
                </a:lnTo>
                <a:cubicBezTo>
                  <a:pt x="3541118" y="6369339"/>
                  <a:pt x="3540945" y="6369866"/>
                  <a:pt x="3540685" y="6370392"/>
                </a:cubicBezTo>
                <a:cubicBezTo>
                  <a:pt x="3539905" y="6371620"/>
                  <a:pt x="3538000" y="6374428"/>
                  <a:pt x="3533927" y="6374428"/>
                </a:cubicBezTo>
                <a:cubicBezTo>
                  <a:pt x="3533061" y="6374428"/>
                  <a:pt x="3531328" y="6374428"/>
                  <a:pt x="3529508" y="6372936"/>
                </a:cubicBezTo>
                <a:cubicBezTo>
                  <a:pt x="3527689" y="6371445"/>
                  <a:pt x="3526042" y="6368638"/>
                  <a:pt x="3526042" y="6363462"/>
                </a:cubicBezTo>
                <a:cubicBezTo>
                  <a:pt x="3526042" y="6362497"/>
                  <a:pt x="3525869" y="6357058"/>
                  <a:pt x="3529594" y="6354251"/>
                </a:cubicBezTo>
                <a:cubicBezTo>
                  <a:pt x="3530375" y="6353725"/>
                  <a:pt x="3531762" y="6352935"/>
                  <a:pt x="3533927" y="6352935"/>
                </a:cubicBezTo>
                <a:cubicBezTo>
                  <a:pt x="3538692" y="6352935"/>
                  <a:pt x="3540598" y="6356795"/>
                  <a:pt x="3541205" y="6358110"/>
                </a:cubicBezTo>
                <a:cubicBezTo>
                  <a:pt x="3541379" y="6358462"/>
                  <a:pt x="3541725" y="6359252"/>
                  <a:pt x="3541725" y="6359252"/>
                </a:cubicBezTo>
                <a:lnTo>
                  <a:pt x="3551688" y="6354251"/>
                </a:lnTo>
                <a:cubicBezTo>
                  <a:pt x="3550909" y="6352760"/>
                  <a:pt x="3550388" y="6351883"/>
                  <a:pt x="3549262" y="6350567"/>
                </a:cubicBezTo>
                <a:cubicBezTo>
                  <a:pt x="3547182" y="6348110"/>
                  <a:pt x="3542157" y="6343636"/>
                  <a:pt x="3533580" y="6343636"/>
                </a:cubicBezTo>
                <a:close/>
                <a:moveTo>
                  <a:pt x="6460784" y="6340150"/>
                </a:moveTo>
                <a:lnTo>
                  <a:pt x="6434639" y="6358388"/>
                </a:lnTo>
                <a:lnTo>
                  <a:pt x="6434639" y="6491295"/>
                </a:lnTo>
                <a:lnTo>
                  <a:pt x="6460784" y="6491295"/>
                </a:lnTo>
                <a:lnTo>
                  <a:pt x="6460784" y="6444096"/>
                </a:lnTo>
                <a:lnTo>
                  <a:pt x="6492730" y="6491295"/>
                </a:lnTo>
                <a:lnTo>
                  <a:pt x="6524676" y="6491295"/>
                </a:lnTo>
                <a:lnTo>
                  <a:pt x="6485227" y="6434234"/>
                </a:lnTo>
                <a:lnTo>
                  <a:pt x="6525218" y="6388444"/>
                </a:lnTo>
                <a:lnTo>
                  <a:pt x="6492730" y="6388444"/>
                </a:lnTo>
                <a:lnTo>
                  <a:pt x="6460784" y="6425546"/>
                </a:lnTo>
                <a:close/>
                <a:moveTo>
                  <a:pt x="4458593" y="6328372"/>
                </a:moveTo>
                <a:lnTo>
                  <a:pt x="4458593" y="6346443"/>
                </a:lnTo>
                <a:lnTo>
                  <a:pt x="4447757" y="6346443"/>
                </a:lnTo>
                <a:lnTo>
                  <a:pt x="4447757" y="6358724"/>
                </a:lnTo>
                <a:lnTo>
                  <a:pt x="4458593" y="6358724"/>
                </a:lnTo>
                <a:lnTo>
                  <a:pt x="4458593" y="6387849"/>
                </a:lnTo>
                <a:cubicBezTo>
                  <a:pt x="4458593" y="6390919"/>
                  <a:pt x="4458943" y="6393726"/>
                  <a:pt x="4459467" y="6396358"/>
                </a:cubicBezTo>
                <a:cubicBezTo>
                  <a:pt x="4460079" y="6398990"/>
                  <a:pt x="4461127" y="6401358"/>
                  <a:pt x="4462613" y="6403376"/>
                </a:cubicBezTo>
                <a:cubicBezTo>
                  <a:pt x="4464098" y="6405393"/>
                  <a:pt x="4466108" y="6407060"/>
                  <a:pt x="4468730" y="6408201"/>
                </a:cubicBezTo>
                <a:cubicBezTo>
                  <a:pt x="4471264" y="6409341"/>
                  <a:pt x="4474672" y="6409955"/>
                  <a:pt x="4478780" y="6409955"/>
                </a:cubicBezTo>
                <a:cubicBezTo>
                  <a:pt x="4480527" y="6409955"/>
                  <a:pt x="4482275" y="6409780"/>
                  <a:pt x="4484198" y="6409516"/>
                </a:cubicBezTo>
                <a:cubicBezTo>
                  <a:pt x="4486033" y="6409253"/>
                  <a:pt x="4487693" y="6408815"/>
                  <a:pt x="4489091" y="6408288"/>
                </a:cubicBezTo>
                <a:lnTo>
                  <a:pt x="4488567" y="6396095"/>
                </a:lnTo>
                <a:cubicBezTo>
                  <a:pt x="4487606" y="6396533"/>
                  <a:pt x="4486557" y="6396884"/>
                  <a:pt x="4485334" y="6397060"/>
                </a:cubicBezTo>
                <a:cubicBezTo>
                  <a:pt x="4484198" y="6397323"/>
                  <a:pt x="4483062" y="6397411"/>
                  <a:pt x="4482013" y="6397411"/>
                </a:cubicBezTo>
                <a:cubicBezTo>
                  <a:pt x="4478605" y="6397411"/>
                  <a:pt x="4476333" y="6396533"/>
                  <a:pt x="4475371" y="6394691"/>
                </a:cubicBezTo>
                <a:cubicBezTo>
                  <a:pt x="4474410" y="6392937"/>
                  <a:pt x="4473886" y="6390656"/>
                  <a:pt x="4473886" y="6387849"/>
                </a:cubicBezTo>
                <a:lnTo>
                  <a:pt x="4473886" y="6358900"/>
                </a:lnTo>
                <a:lnTo>
                  <a:pt x="4489441" y="6358900"/>
                </a:lnTo>
                <a:lnTo>
                  <a:pt x="4489441" y="6346443"/>
                </a:lnTo>
                <a:lnTo>
                  <a:pt x="4473886" y="6346443"/>
                </a:lnTo>
                <a:lnTo>
                  <a:pt x="4473886" y="6328372"/>
                </a:lnTo>
                <a:close/>
                <a:moveTo>
                  <a:pt x="9748782" y="6319870"/>
                </a:moveTo>
                <a:lnTo>
                  <a:pt x="9748782" y="6335525"/>
                </a:lnTo>
                <a:lnTo>
                  <a:pt x="9763997" y="6335525"/>
                </a:lnTo>
                <a:lnTo>
                  <a:pt x="9765006" y="6334585"/>
                </a:lnTo>
                <a:lnTo>
                  <a:pt x="9765006" y="6320809"/>
                </a:lnTo>
                <a:lnTo>
                  <a:pt x="9763997" y="6319870"/>
                </a:lnTo>
                <a:close/>
                <a:moveTo>
                  <a:pt x="9248096" y="6319870"/>
                </a:moveTo>
                <a:lnTo>
                  <a:pt x="9248096" y="6420685"/>
                </a:lnTo>
                <a:lnTo>
                  <a:pt x="9314388" y="6420685"/>
                </a:lnTo>
                <a:lnTo>
                  <a:pt x="9314388" y="6405657"/>
                </a:lnTo>
                <a:lnTo>
                  <a:pt x="9264320" y="6405657"/>
                </a:lnTo>
                <a:lnTo>
                  <a:pt x="9264320" y="6377479"/>
                </a:lnTo>
                <a:lnTo>
                  <a:pt x="9309886" y="6377479"/>
                </a:lnTo>
                <a:lnTo>
                  <a:pt x="9309886" y="6363076"/>
                </a:lnTo>
                <a:lnTo>
                  <a:pt x="9264320" y="6363076"/>
                </a:lnTo>
                <a:lnTo>
                  <a:pt x="9264320" y="6334272"/>
                </a:lnTo>
                <a:lnTo>
                  <a:pt x="9314388" y="6334272"/>
                </a:lnTo>
                <a:lnTo>
                  <a:pt x="9314388" y="6319870"/>
                </a:lnTo>
                <a:close/>
                <a:moveTo>
                  <a:pt x="4075312" y="6316880"/>
                </a:moveTo>
                <a:lnTo>
                  <a:pt x="4075312" y="6408814"/>
                </a:lnTo>
                <a:lnTo>
                  <a:pt x="4090866" y="6408814"/>
                </a:lnTo>
                <a:lnTo>
                  <a:pt x="4090866" y="6334951"/>
                </a:lnTo>
                <a:lnTo>
                  <a:pt x="4091128" y="6334951"/>
                </a:lnTo>
                <a:lnTo>
                  <a:pt x="4118568" y="6408814"/>
                </a:lnTo>
                <a:lnTo>
                  <a:pt x="4129929" y="6408814"/>
                </a:lnTo>
                <a:lnTo>
                  <a:pt x="4157718" y="6334951"/>
                </a:lnTo>
                <a:lnTo>
                  <a:pt x="4157980" y="6334951"/>
                </a:lnTo>
                <a:lnTo>
                  <a:pt x="4157980" y="6408814"/>
                </a:lnTo>
                <a:lnTo>
                  <a:pt x="4174146" y="6408814"/>
                </a:lnTo>
                <a:lnTo>
                  <a:pt x="4174146" y="6316880"/>
                </a:lnTo>
                <a:lnTo>
                  <a:pt x="4148543" y="6316880"/>
                </a:lnTo>
                <a:lnTo>
                  <a:pt x="4125035" y="6382234"/>
                </a:lnTo>
                <a:lnTo>
                  <a:pt x="4124686" y="6382234"/>
                </a:lnTo>
                <a:lnTo>
                  <a:pt x="4100916" y="6316880"/>
                </a:lnTo>
                <a:lnTo>
                  <a:pt x="4075399" y="6316880"/>
                </a:lnTo>
                <a:close/>
                <a:moveTo>
                  <a:pt x="4312394" y="6310652"/>
                </a:moveTo>
                <a:lnTo>
                  <a:pt x="4312394" y="6408815"/>
                </a:lnTo>
                <a:lnTo>
                  <a:pt x="4327949" y="6408815"/>
                </a:lnTo>
                <a:lnTo>
                  <a:pt x="4327949" y="6376883"/>
                </a:lnTo>
                <a:lnTo>
                  <a:pt x="4328299" y="6376883"/>
                </a:lnTo>
                <a:lnTo>
                  <a:pt x="4352854" y="6408815"/>
                </a:lnTo>
                <a:lnTo>
                  <a:pt x="4373391" y="6408815"/>
                </a:lnTo>
                <a:lnTo>
                  <a:pt x="4344815" y="6374690"/>
                </a:lnTo>
                <a:lnTo>
                  <a:pt x="4371730" y="6346531"/>
                </a:lnTo>
                <a:lnTo>
                  <a:pt x="4351806" y="6346531"/>
                </a:lnTo>
                <a:lnTo>
                  <a:pt x="4328299" y="6372760"/>
                </a:lnTo>
                <a:lnTo>
                  <a:pt x="4327949" y="6372760"/>
                </a:lnTo>
                <a:lnTo>
                  <a:pt x="4327949" y="6310652"/>
                </a:lnTo>
                <a:close/>
                <a:moveTo>
                  <a:pt x="7532188" y="6305048"/>
                </a:moveTo>
                <a:lnTo>
                  <a:pt x="7532266" y="6305048"/>
                </a:lnTo>
                <a:lnTo>
                  <a:pt x="7532266" y="6491177"/>
                </a:lnTo>
                <a:lnTo>
                  <a:pt x="7201795" y="6491177"/>
                </a:lnTo>
                <a:lnTo>
                  <a:pt x="7201795" y="6491176"/>
                </a:lnTo>
                <a:lnTo>
                  <a:pt x="7532188" y="6491176"/>
                </a:lnTo>
                <a:close/>
                <a:moveTo>
                  <a:pt x="11227334" y="6301177"/>
                </a:moveTo>
                <a:cubicBezTo>
                  <a:pt x="11233312" y="6300730"/>
                  <a:pt x="11239213" y="6301177"/>
                  <a:pt x="11245035" y="6302743"/>
                </a:cubicBezTo>
                <a:cubicBezTo>
                  <a:pt x="11245734" y="6302892"/>
                  <a:pt x="11246433" y="6303115"/>
                  <a:pt x="11247054" y="6303339"/>
                </a:cubicBezTo>
                <a:cubicBezTo>
                  <a:pt x="11250470" y="6304532"/>
                  <a:pt x="11251635" y="6306097"/>
                  <a:pt x="11251712" y="6309675"/>
                </a:cubicBezTo>
                <a:cubicBezTo>
                  <a:pt x="11251712" y="6317130"/>
                  <a:pt x="11251712" y="6324510"/>
                  <a:pt x="11251712" y="6331965"/>
                </a:cubicBezTo>
                <a:cubicBezTo>
                  <a:pt x="11251712" y="6339419"/>
                  <a:pt x="11251712" y="6346650"/>
                  <a:pt x="11251712" y="6353956"/>
                </a:cubicBezTo>
                <a:cubicBezTo>
                  <a:pt x="11251712" y="6357012"/>
                  <a:pt x="11250392" y="6359174"/>
                  <a:pt x="11247442" y="6360068"/>
                </a:cubicBezTo>
                <a:cubicBezTo>
                  <a:pt x="11239058" y="6362603"/>
                  <a:pt x="11230362" y="6363721"/>
                  <a:pt x="11221667" y="6361485"/>
                </a:cubicBezTo>
                <a:cubicBezTo>
                  <a:pt x="11213049" y="6359323"/>
                  <a:pt x="11207149" y="6353956"/>
                  <a:pt x="11204276" y="6345979"/>
                </a:cubicBezTo>
                <a:cubicBezTo>
                  <a:pt x="11200860" y="6336661"/>
                  <a:pt x="11200860" y="6327119"/>
                  <a:pt x="11204276" y="6317801"/>
                </a:cubicBezTo>
                <a:cubicBezTo>
                  <a:pt x="11208081" y="6307514"/>
                  <a:pt x="11216077" y="6302072"/>
                  <a:pt x="11227334" y="6301177"/>
                </a:cubicBezTo>
                <a:close/>
                <a:moveTo>
                  <a:pt x="11493160" y="6301029"/>
                </a:moveTo>
                <a:cubicBezTo>
                  <a:pt x="11495800" y="6301029"/>
                  <a:pt x="11498517" y="6301327"/>
                  <a:pt x="11501079" y="6301923"/>
                </a:cubicBezTo>
                <a:cubicBezTo>
                  <a:pt x="11509542" y="6304085"/>
                  <a:pt x="11515364" y="6309080"/>
                  <a:pt x="11518392" y="6316907"/>
                </a:cubicBezTo>
                <a:cubicBezTo>
                  <a:pt x="11522196" y="6326822"/>
                  <a:pt x="11522196" y="6336885"/>
                  <a:pt x="11518392" y="6346725"/>
                </a:cubicBezTo>
                <a:lnTo>
                  <a:pt x="11518315" y="6346725"/>
                </a:lnTo>
                <a:cubicBezTo>
                  <a:pt x="11513812" y="6358504"/>
                  <a:pt x="11503098" y="6363498"/>
                  <a:pt x="11491375" y="6362455"/>
                </a:cubicBezTo>
                <a:cubicBezTo>
                  <a:pt x="11488347" y="6362156"/>
                  <a:pt x="11485397" y="6361635"/>
                  <a:pt x="11482602" y="6360516"/>
                </a:cubicBezTo>
                <a:cubicBezTo>
                  <a:pt x="11475770" y="6357833"/>
                  <a:pt x="11471189" y="6352987"/>
                  <a:pt x="11468783" y="6346427"/>
                </a:cubicBezTo>
                <a:cubicBezTo>
                  <a:pt x="11465211" y="6336587"/>
                  <a:pt x="11465211" y="6326598"/>
                  <a:pt x="11468860" y="6316833"/>
                </a:cubicBezTo>
                <a:cubicBezTo>
                  <a:pt x="11472742" y="6306545"/>
                  <a:pt x="11481748" y="6300880"/>
                  <a:pt x="11493160" y="6301029"/>
                </a:cubicBezTo>
                <a:close/>
                <a:moveTo>
                  <a:pt x="7512597" y="6295635"/>
                </a:moveTo>
                <a:lnTo>
                  <a:pt x="7526907" y="6305047"/>
                </a:lnTo>
                <a:lnTo>
                  <a:pt x="7526831" y="6305047"/>
                </a:lnTo>
                <a:lnTo>
                  <a:pt x="7512579" y="6295673"/>
                </a:lnTo>
                <a:close/>
                <a:moveTo>
                  <a:pt x="7521321" y="6292315"/>
                </a:moveTo>
                <a:lnTo>
                  <a:pt x="7521322" y="6292315"/>
                </a:lnTo>
                <a:lnTo>
                  <a:pt x="7523466" y="6293686"/>
                </a:lnTo>
                <a:close/>
                <a:moveTo>
                  <a:pt x="7438053" y="6289282"/>
                </a:moveTo>
                <a:lnTo>
                  <a:pt x="7448156" y="6307880"/>
                </a:lnTo>
                <a:lnTo>
                  <a:pt x="7452699" y="6310227"/>
                </a:lnTo>
                <a:lnTo>
                  <a:pt x="7452670" y="6310252"/>
                </a:lnTo>
                <a:cubicBezTo>
                  <a:pt x="7450833" y="6310481"/>
                  <a:pt x="7448997" y="6309563"/>
                  <a:pt x="7448078" y="6307879"/>
                </a:cubicBezTo>
                <a:lnTo>
                  <a:pt x="7438002" y="6289329"/>
                </a:lnTo>
                <a:close/>
                <a:moveTo>
                  <a:pt x="7516792" y="6284930"/>
                </a:moveTo>
                <a:lnTo>
                  <a:pt x="7517724" y="6286373"/>
                </a:lnTo>
                <a:lnTo>
                  <a:pt x="7520616" y="6291150"/>
                </a:lnTo>
                <a:lnTo>
                  <a:pt x="7517724" y="6286374"/>
                </a:lnTo>
                <a:close/>
                <a:moveTo>
                  <a:pt x="7511448" y="6281475"/>
                </a:moveTo>
                <a:lnTo>
                  <a:pt x="7514131" y="6282317"/>
                </a:lnTo>
                <a:lnTo>
                  <a:pt x="7511449" y="6281476"/>
                </a:lnTo>
                <a:cubicBezTo>
                  <a:pt x="7509995" y="6281706"/>
                  <a:pt x="7508770" y="6282624"/>
                  <a:pt x="7508158" y="6283848"/>
                </a:cubicBezTo>
                <a:lnTo>
                  <a:pt x="7494688" y="6312702"/>
                </a:lnTo>
                <a:lnTo>
                  <a:pt x="7494688" y="6312700"/>
                </a:lnTo>
                <a:lnTo>
                  <a:pt x="7508157" y="6283848"/>
                </a:lnTo>
                <a:cubicBezTo>
                  <a:pt x="7508769" y="6282623"/>
                  <a:pt x="7509994" y="6281705"/>
                  <a:pt x="7511448" y="6281475"/>
                </a:cubicBezTo>
                <a:close/>
                <a:moveTo>
                  <a:pt x="11660311" y="6276727"/>
                </a:moveTo>
                <a:cubicBezTo>
                  <a:pt x="11655032" y="6276727"/>
                  <a:pt x="11653789" y="6277845"/>
                  <a:pt x="11653789" y="6283063"/>
                </a:cubicBezTo>
                <a:lnTo>
                  <a:pt x="11653789" y="6380420"/>
                </a:lnTo>
                <a:cubicBezTo>
                  <a:pt x="11653789" y="6381166"/>
                  <a:pt x="11653712" y="6381986"/>
                  <a:pt x="11653789" y="6382731"/>
                </a:cubicBezTo>
                <a:cubicBezTo>
                  <a:pt x="11654100" y="6385340"/>
                  <a:pt x="11655653" y="6386756"/>
                  <a:pt x="11658370" y="6386831"/>
                </a:cubicBezTo>
                <a:cubicBezTo>
                  <a:pt x="11659845" y="6386831"/>
                  <a:pt x="11661165" y="6386831"/>
                  <a:pt x="11662640" y="6386831"/>
                </a:cubicBezTo>
                <a:lnTo>
                  <a:pt x="11678167" y="6386831"/>
                </a:lnTo>
                <a:cubicBezTo>
                  <a:pt x="11682204" y="6386831"/>
                  <a:pt x="11683679" y="6385489"/>
                  <a:pt x="11683679" y="6381687"/>
                </a:cubicBezTo>
                <a:lnTo>
                  <a:pt x="11683679" y="6331742"/>
                </a:lnTo>
                <a:lnTo>
                  <a:pt x="11683757" y="6331742"/>
                </a:lnTo>
                <a:cubicBezTo>
                  <a:pt x="11683757" y="6315193"/>
                  <a:pt x="11683757" y="6298643"/>
                  <a:pt x="11683757" y="6282020"/>
                </a:cubicBezTo>
                <a:cubicBezTo>
                  <a:pt x="11683679" y="6278143"/>
                  <a:pt x="11682204" y="6276727"/>
                  <a:pt x="11678245" y="6276727"/>
                </a:cubicBezTo>
                <a:close/>
                <a:moveTo>
                  <a:pt x="7439583" y="6275965"/>
                </a:moveTo>
                <a:cubicBezTo>
                  <a:pt x="7440808" y="6276347"/>
                  <a:pt x="7441879" y="6277113"/>
                  <a:pt x="7442491" y="6278261"/>
                </a:cubicBezTo>
                <a:lnTo>
                  <a:pt x="7442491" y="6278262"/>
                </a:lnTo>
                <a:lnTo>
                  <a:pt x="7439584" y="6275966"/>
                </a:lnTo>
                <a:cubicBezTo>
                  <a:pt x="7438359" y="6275659"/>
                  <a:pt x="7436982" y="6275889"/>
                  <a:pt x="7435910" y="6276578"/>
                </a:cubicBezTo>
                <a:cubicBezTo>
                  <a:pt x="7434915" y="6277267"/>
                  <a:pt x="7434380" y="6278108"/>
                  <a:pt x="7433538" y="6279486"/>
                </a:cubicBezTo>
                <a:cubicBezTo>
                  <a:pt x="7430783" y="6283925"/>
                  <a:pt x="7423435" y="6295788"/>
                  <a:pt x="7406292" y="6295788"/>
                </a:cubicBezTo>
                <a:lnTo>
                  <a:pt x="7325473" y="6295788"/>
                </a:lnTo>
                <a:lnTo>
                  <a:pt x="7324325" y="6304971"/>
                </a:lnTo>
                <a:lnTo>
                  <a:pt x="7324247" y="6304971"/>
                </a:lnTo>
                <a:lnTo>
                  <a:pt x="7325395" y="6295787"/>
                </a:lnTo>
                <a:lnTo>
                  <a:pt x="7325472" y="6295787"/>
                </a:lnTo>
                <a:lnTo>
                  <a:pt x="7406291" y="6295787"/>
                </a:lnTo>
                <a:cubicBezTo>
                  <a:pt x="7423435" y="6295787"/>
                  <a:pt x="7430782" y="6283924"/>
                  <a:pt x="7433537" y="6279485"/>
                </a:cubicBezTo>
                <a:cubicBezTo>
                  <a:pt x="7434379" y="6278108"/>
                  <a:pt x="7434915" y="6277266"/>
                  <a:pt x="7435909" y="6276577"/>
                </a:cubicBezTo>
                <a:cubicBezTo>
                  <a:pt x="7436981" y="6275888"/>
                  <a:pt x="7438359" y="6275659"/>
                  <a:pt x="7439583" y="6275965"/>
                </a:cubicBezTo>
                <a:close/>
                <a:moveTo>
                  <a:pt x="11481282" y="6275460"/>
                </a:moveTo>
                <a:cubicBezTo>
                  <a:pt x="11463736" y="6278516"/>
                  <a:pt x="11450538" y="6287462"/>
                  <a:pt x="11442697" y="6302818"/>
                </a:cubicBezTo>
                <a:cubicBezTo>
                  <a:pt x="11433924" y="6319964"/>
                  <a:pt x="11433536" y="6337705"/>
                  <a:pt x="11440368" y="6355522"/>
                </a:cubicBezTo>
                <a:cubicBezTo>
                  <a:pt x="11446268" y="6370878"/>
                  <a:pt x="11457836" y="6381016"/>
                  <a:pt x="11473984" y="6386086"/>
                </a:cubicBezTo>
                <a:cubicBezTo>
                  <a:pt x="11483689" y="6389142"/>
                  <a:pt x="11493704" y="6389738"/>
                  <a:pt x="11503797" y="6388322"/>
                </a:cubicBezTo>
                <a:cubicBezTo>
                  <a:pt x="11521808" y="6385787"/>
                  <a:pt x="11535472" y="6377066"/>
                  <a:pt x="11544090" y="6361635"/>
                </a:cubicBezTo>
                <a:cubicBezTo>
                  <a:pt x="11549291" y="6352316"/>
                  <a:pt x="11551310" y="6342253"/>
                  <a:pt x="11551388" y="6329580"/>
                </a:cubicBezTo>
                <a:cubicBezTo>
                  <a:pt x="11551388" y="6325554"/>
                  <a:pt x="11550689" y="6319516"/>
                  <a:pt x="11548903" y="6313553"/>
                </a:cubicBezTo>
                <a:lnTo>
                  <a:pt x="11548826" y="6313553"/>
                </a:lnTo>
                <a:cubicBezTo>
                  <a:pt x="11543702" y="6296556"/>
                  <a:pt x="11532832" y="6284405"/>
                  <a:pt x="11515442" y="6278143"/>
                </a:cubicBezTo>
                <a:cubicBezTo>
                  <a:pt x="11504340" y="6274192"/>
                  <a:pt x="11492927" y="6273447"/>
                  <a:pt x="11481282" y="6275460"/>
                </a:cubicBezTo>
                <a:close/>
                <a:moveTo>
                  <a:pt x="11350775" y="6275012"/>
                </a:moveTo>
                <a:cubicBezTo>
                  <a:pt x="11338664" y="6275907"/>
                  <a:pt x="11326941" y="6278516"/>
                  <a:pt x="11315451" y="6282318"/>
                </a:cubicBezTo>
                <a:cubicBezTo>
                  <a:pt x="11311880" y="6283436"/>
                  <a:pt x="11309939" y="6285970"/>
                  <a:pt x="11309473" y="6289474"/>
                </a:cubicBezTo>
                <a:cubicBezTo>
                  <a:pt x="11309395" y="6290369"/>
                  <a:pt x="11309395" y="6291338"/>
                  <a:pt x="11309395" y="6292307"/>
                </a:cubicBezTo>
                <a:lnTo>
                  <a:pt x="11309395" y="6336140"/>
                </a:lnTo>
                <a:lnTo>
                  <a:pt x="11309240" y="6336065"/>
                </a:lnTo>
                <a:cubicBezTo>
                  <a:pt x="11309240" y="6351272"/>
                  <a:pt x="11309240" y="6366480"/>
                  <a:pt x="11309240" y="6381762"/>
                </a:cubicBezTo>
                <a:cubicBezTo>
                  <a:pt x="11309240" y="6385265"/>
                  <a:pt x="11310715" y="6386831"/>
                  <a:pt x="11314364" y="6386831"/>
                </a:cubicBezTo>
                <a:cubicBezTo>
                  <a:pt x="11317469" y="6386831"/>
                  <a:pt x="11320653" y="6386831"/>
                  <a:pt x="11323758" y="6386831"/>
                </a:cubicBezTo>
                <a:cubicBezTo>
                  <a:pt x="11327329" y="6386831"/>
                  <a:pt x="11330901" y="6386831"/>
                  <a:pt x="11334472" y="6386831"/>
                </a:cubicBezTo>
                <a:cubicBezTo>
                  <a:pt x="11337577" y="6386756"/>
                  <a:pt x="11339130" y="6385265"/>
                  <a:pt x="11339208" y="6382358"/>
                </a:cubicBezTo>
                <a:lnTo>
                  <a:pt x="11339208" y="6309527"/>
                </a:lnTo>
                <a:cubicBezTo>
                  <a:pt x="11339208" y="6305278"/>
                  <a:pt x="11340450" y="6303712"/>
                  <a:pt x="11344797" y="6302743"/>
                </a:cubicBezTo>
                <a:cubicBezTo>
                  <a:pt x="11347282" y="6302147"/>
                  <a:pt x="11349844" y="6301625"/>
                  <a:pt x="11352406" y="6301401"/>
                </a:cubicBezTo>
                <a:cubicBezTo>
                  <a:pt x="11357996" y="6300879"/>
                  <a:pt x="11363430" y="6300507"/>
                  <a:pt x="11368942" y="6301699"/>
                </a:cubicBezTo>
                <a:cubicBezTo>
                  <a:pt x="11375619" y="6303116"/>
                  <a:pt x="11380665" y="6306545"/>
                  <a:pt x="11382917" y="6313030"/>
                </a:cubicBezTo>
                <a:cubicBezTo>
                  <a:pt x="11383771" y="6315490"/>
                  <a:pt x="11383926" y="6318100"/>
                  <a:pt x="11383926" y="6320634"/>
                </a:cubicBezTo>
                <a:lnTo>
                  <a:pt x="11383926" y="6380122"/>
                </a:lnTo>
                <a:cubicBezTo>
                  <a:pt x="11383926" y="6380867"/>
                  <a:pt x="11383926" y="6381687"/>
                  <a:pt x="11383926" y="6382433"/>
                </a:cubicBezTo>
                <a:cubicBezTo>
                  <a:pt x="11384081" y="6385340"/>
                  <a:pt x="11385634" y="6386831"/>
                  <a:pt x="11388662" y="6386831"/>
                </a:cubicBezTo>
                <a:cubicBezTo>
                  <a:pt x="11395416" y="6386831"/>
                  <a:pt x="11402171" y="6386831"/>
                  <a:pt x="11408925" y="6386831"/>
                </a:cubicBezTo>
                <a:cubicBezTo>
                  <a:pt x="11412108" y="6386756"/>
                  <a:pt x="11413583" y="6385265"/>
                  <a:pt x="11413661" y="6382209"/>
                </a:cubicBezTo>
                <a:lnTo>
                  <a:pt x="11413661" y="6315565"/>
                </a:lnTo>
                <a:cubicBezTo>
                  <a:pt x="11413661" y="6312583"/>
                  <a:pt x="11413505" y="6309601"/>
                  <a:pt x="11412962" y="6306620"/>
                </a:cubicBezTo>
                <a:cubicBezTo>
                  <a:pt x="11410943" y="6295139"/>
                  <a:pt x="11404888" y="6286418"/>
                  <a:pt x="11394019" y="6280901"/>
                </a:cubicBezTo>
                <a:cubicBezTo>
                  <a:pt x="11388507" y="6278143"/>
                  <a:pt x="11382529" y="6276503"/>
                  <a:pt x="11376318" y="6275608"/>
                </a:cubicBezTo>
                <a:cubicBezTo>
                  <a:pt x="11367855" y="6274341"/>
                  <a:pt x="11359315" y="6274341"/>
                  <a:pt x="11350775" y="6275012"/>
                </a:cubicBezTo>
                <a:close/>
                <a:moveTo>
                  <a:pt x="11240222" y="6274788"/>
                </a:moveTo>
                <a:cubicBezTo>
                  <a:pt x="11231837" y="6274192"/>
                  <a:pt x="11223453" y="6274117"/>
                  <a:pt x="11215301" y="6275981"/>
                </a:cubicBezTo>
                <a:cubicBezTo>
                  <a:pt x="11195038" y="6280528"/>
                  <a:pt x="11181219" y="6292083"/>
                  <a:pt x="11174775" y="6311166"/>
                </a:cubicBezTo>
                <a:cubicBezTo>
                  <a:pt x="11169806" y="6326001"/>
                  <a:pt x="11170349" y="6340985"/>
                  <a:pt x="11175473" y="6355670"/>
                </a:cubicBezTo>
                <a:cubicBezTo>
                  <a:pt x="11179278" y="6366628"/>
                  <a:pt x="11186420" y="6375276"/>
                  <a:pt x="11196901" y="6381239"/>
                </a:cubicBezTo>
                <a:cubicBezTo>
                  <a:pt x="11205208" y="6385936"/>
                  <a:pt x="11214292" y="6388172"/>
                  <a:pt x="11223763" y="6388694"/>
                </a:cubicBezTo>
                <a:cubicBezTo>
                  <a:pt x="11234710" y="6389365"/>
                  <a:pt x="11245424" y="6388545"/>
                  <a:pt x="11256137" y="6386159"/>
                </a:cubicBezTo>
                <a:cubicBezTo>
                  <a:pt x="11262814" y="6384668"/>
                  <a:pt x="11269336" y="6382656"/>
                  <a:pt x="11275624" y="6380121"/>
                </a:cubicBezTo>
                <a:cubicBezTo>
                  <a:pt x="11279195" y="6378705"/>
                  <a:pt x="11281136" y="6376170"/>
                  <a:pt x="11281447" y="6372518"/>
                </a:cubicBezTo>
                <a:cubicBezTo>
                  <a:pt x="11281447" y="6371698"/>
                  <a:pt x="11281447" y="6370803"/>
                  <a:pt x="11281447" y="6369983"/>
                </a:cubicBezTo>
                <a:lnTo>
                  <a:pt x="11281447" y="6292903"/>
                </a:lnTo>
                <a:cubicBezTo>
                  <a:pt x="11281447" y="6292232"/>
                  <a:pt x="11281447" y="6291412"/>
                  <a:pt x="11281447" y="6290666"/>
                </a:cubicBezTo>
                <a:lnTo>
                  <a:pt x="11281525" y="6290666"/>
                </a:lnTo>
                <a:cubicBezTo>
                  <a:pt x="11281292" y="6286566"/>
                  <a:pt x="11279428" y="6283659"/>
                  <a:pt x="11275236" y="6282392"/>
                </a:cubicBezTo>
                <a:cubicBezTo>
                  <a:pt x="11274925" y="6282392"/>
                  <a:pt x="11274770" y="6282243"/>
                  <a:pt x="11274460" y="6282094"/>
                </a:cubicBezTo>
                <a:cubicBezTo>
                  <a:pt x="11263358" y="6278143"/>
                  <a:pt x="11252023" y="6275608"/>
                  <a:pt x="11240222" y="6274788"/>
                </a:cubicBezTo>
                <a:close/>
                <a:moveTo>
                  <a:pt x="11105057" y="6273521"/>
                </a:moveTo>
                <a:cubicBezTo>
                  <a:pt x="11096440" y="6273297"/>
                  <a:pt x="11087977" y="6274266"/>
                  <a:pt x="11079825" y="6277025"/>
                </a:cubicBezTo>
                <a:cubicBezTo>
                  <a:pt x="11062124" y="6283063"/>
                  <a:pt x="11051411" y="6296779"/>
                  <a:pt x="11052342" y="6315341"/>
                </a:cubicBezTo>
                <a:cubicBezTo>
                  <a:pt x="11052886" y="6325628"/>
                  <a:pt x="11057311" y="6333679"/>
                  <a:pt x="11066161" y="6339568"/>
                </a:cubicBezTo>
                <a:cubicBezTo>
                  <a:pt x="11071441" y="6343072"/>
                  <a:pt x="11077186" y="6345383"/>
                  <a:pt x="11083241" y="6347247"/>
                </a:cubicBezTo>
                <a:cubicBezTo>
                  <a:pt x="11090617" y="6349558"/>
                  <a:pt x="11098148" y="6351645"/>
                  <a:pt x="11105601" y="6353956"/>
                </a:cubicBezTo>
                <a:cubicBezTo>
                  <a:pt x="11110026" y="6355372"/>
                  <a:pt x="11114374" y="6357161"/>
                  <a:pt x="11118255" y="6359845"/>
                </a:cubicBezTo>
                <a:cubicBezTo>
                  <a:pt x="11123457" y="6363423"/>
                  <a:pt x="11126174" y="6368343"/>
                  <a:pt x="11126097" y="6374680"/>
                </a:cubicBezTo>
                <a:cubicBezTo>
                  <a:pt x="11126097" y="6377214"/>
                  <a:pt x="11125553" y="6379600"/>
                  <a:pt x="11124854" y="6381985"/>
                </a:cubicBezTo>
                <a:cubicBezTo>
                  <a:pt x="11123923" y="6385265"/>
                  <a:pt x="11125087" y="6386830"/>
                  <a:pt x="11128503" y="6386830"/>
                </a:cubicBezTo>
                <a:lnTo>
                  <a:pt x="11138596" y="6386830"/>
                </a:lnTo>
                <a:lnTo>
                  <a:pt x="11138674" y="6386830"/>
                </a:lnTo>
                <a:lnTo>
                  <a:pt x="11148766" y="6386830"/>
                </a:lnTo>
                <a:cubicBezTo>
                  <a:pt x="11151949" y="6386830"/>
                  <a:pt x="11153269" y="6385936"/>
                  <a:pt x="11154356" y="6383029"/>
                </a:cubicBezTo>
                <a:cubicBezTo>
                  <a:pt x="11154589" y="6382432"/>
                  <a:pt x="11154822" y="6381761"/>
                  <a:pt x="11154977" y="6381090"/>
                </a:cubicBezTo>
                <a:cubicBezTo>
                  <a:pt x="11156219" y="6376916"/>
                  <a:pt x="11156608" y="6372667"/>
                  <a:pt x="11156452" y="6368418"/>
                </a:cubicBezTo>
                <a:cubicBezTo>
                  <a:pt x="11156219" y="6358950"/>
                  <a:pt x="11153192" y="6350452"/>
                  <a:pt x="11146127" y="6343594"/>
                </a:cubicBezTo>
                <a:cubicBezTo>
                  <a:pt x="11142788" y="6340388"/>
                  <a:pt x="11138984" y="6337779"/>
                  <a:pt x="11134792" y="6335618"/>
                </a:cubicBezTo>
                <a:cubicBezTo>
                  <a:pt x="11128736" y="6332487"/>
                  <a:pt x="11122215" y="6330325"/>
                  <a:pt x="11115693" y="6328387"/>
                </a:cubicBezTo>
                <a:cubicBezTo>
                  <a:pt x="11108628" y="6326299"/>
                  <a:pt x="11101408" y="6324659"/>
                  <a:pt x="11094499" y="6322199"/>
                </a:cubicBezTo>
                <a:cubicBezTo>
                  <a:pt x="11091626" y="6321156"/>
                  <a:pt x="11088909" y="6319963"/>
                  <a:pt x="11086502" y="6318174"/>
                </a:cubicBezTo>
                <a:cubicBezTo>
                  <a:pt x="11081068" y="6314074"/>
                  <a:pt x="11081301" y="6307514"/>
                  <a:pt x="11086968" y="6303712"/>
                </a:cubicBezTo>
                <a:cubicBezTo>
                  <a:pt x="11088909" y="6302445"/>
                  <a:pt x="11091083" y="6301625"/>
                  <a:pt x="11093334" y="6301177"/>
                </a:cubicBezTo>
                <a:cubicBezTo>
                  <a:pt x="11100710" y="6299612"/>
                  <a:pt x="11108007" y="6300283"/>
                  <a:pt x="11115305" y="6301923"/>
                </a:cubicBezTo>
                <a:cubicBezTo>
                  <a:pt x="11122758" y="6303637"/>
                  <a:pt x="11129590" y="6306619"/>
                  <a:pt x="11136267" y="6310048"/>
                </a:cubicBezTo>
                <a:cubicBezTo>
                  <a:pt x="11140226" y="6312136"/>
                  <a:pt x="11143409" y="6311092"/>
                  <a:pt x="11145428" y="6307141"/>
                </a:cubicBezTo>
                <a:cubicBezTo>
                  <a:pt x="11147136" y="6303712"/>
                  <a:pt x="11148844" y="6300134"/>
                  <a:pt x="11150552" y="6296705"/>
                </a:cubicBezTo>
                <a:cubicBezTo>
                  <a:pt x="11151173" y="6295363"/>
                  <a:pt x="11151872" y="6294021"/>
                  <a:pt x="11152415" y="6292679"/>
                </a:cubicBezTo>
                <a:cubicBezTo>
                  <a:pt x="11153890" y="6289101"/>
                  <a:pt x="11153036" y="6286716"/>
                  <a:pt x="11149465" y="6284777"/>
                </a:cubicBezTo>
                <a:cubicBezTo>
                  <a:pt x="11147757" y="6283808"/>
                  <a:pt x="11146049" y="6282988"/>
                  <a:pt x="11144263" y="6282168"/>
                </a:cubicBezTo>
                <a:cubicBezTo>
                  <a:pt x="11131842" y="6276503"/>
                  <a:pt x="11118721" y="6273894"/>
                  <a:pt x="11105057" y="6273521"/>
                </a:cubicBezTo>
                <a:close/>
                <a:moveTo>
                  <a:pt x="7224601" y="6255454"/>
                </a:moveTo>
                <a:lnTo>
                  <a:pt x="7224602" y="6255454"/>
                </a:lnTo>
                <a:lnTo>
                  <a:pt x="7224602" y="6255455"/>
                </a:lnTo>
                <a:lnTo>
                  <a:pt x="7224610" y="6255455"/>
                </a:lnTo>
                <a:lnTo>
                  <a:pt x="7224601" y="6255530"/>
                </a:lnTo>
                <a:close/>
                <a:moveTo>
                  <a:pt x="10467296" y="6244327"/>
                </a:moveTo>
                <a:cubicBezTo>
                  <a:pt x="10489555" y="6251059"/>
                  <a:pt x="10485664" y="6299185"/>
                  <a:pt x="10458968" y="6290209"/>
                </a:cubicBezTo>
                <a:cubicBezTo>
                  <a:pt x="10443791" y="6285103"/>
                  <a:pt x="10440989" y="6258022"/>
                  <a:pt x="10451341" y="6247577"/>
                </a:cubicBezTo>
                <a:cubicBezTo>
                  <a:pt x="10455699" y="6243167"/>
                  <a:pt x="10461459" y="6242548"/>
                  <a:pt x="10467296" y="6244327"/>
                </a:cubicBezTo>
                <a:close/>
                <a:moveTo>
                  <a:pt x="10524190" y="6243631"/>
                </a:moveTo>
                <a:cubicBezTo>
                  <a:pt x="10553221" y="6238292"/>
                  <a:pt x="10556101" y="6292453"/>
                  <a:pt x="10530494" y="6291370"/>
                </a:cubicBezTo>
                <a:cubicBezTo>
                  <a:pt x="10511504" y="6290519"/>
                  <a:pt x="10506367" y="6261891"/>
                  <a:pt x="10516329" y="6249202"/>
                </a:cubicBezTo>
                <a:cubicBezTo>
                  <a:pt x="10517964" y="6247113"/>
                  <a:pt x="10521544" y="6244095"/>
                  <a:pt x="10524190" y="6243631"/>
                </a:cubicBezTo>
                <a:close/>
                <a:moveTo>
                  <a:pt x="10270231" y="6241030"/>
                </a:moveTo>
                <a:cubicBezTo>
                  <a:pt x="10262525" y="6243670"/>
                  <a:pt x="10256844" y="6249511"/>
                  <a:pt x="10258789" y="6258796"/>
                </a:cubicBezTo>
                <a:cubicBezTo>
                  <a:pt x="10261747" y="6272878"/>
                  <a:pt x="10292879" y="6271331"/>
                  <a:pt x="10284940" y="6286651"/>
                </a:cubicBezTo>
                <a:cubicBezTo>
                  <a:pt x="10279181" y="6297715"/>
                  <a:pt x="10259801" y="6288121"/>
                  <a:pt x="10259023" y="6277289"/>
                </a:cubicBezTo>
                <a:lnTo>
                  <a:pt x="10256532" y="6277289"/>
                </a:lnTo>
                <a:lnTo>
                  <a:pt x="10258166" y="6292067"/>
                </a:lnTo>
                <a:cubicBezTo>
                  <a:pt x="10271164" y="6298334"/>
                  <a:pt x="10297082" y="6296245"/>
                  <a:pt x="10295058" y="6276979"/>
                </a:cubicBezTo>
                <a:cubicBezTo>
                  <a:pt x="10293501" y="6261659"/>
                  <a:pt x="10266183" y="6264522"/>
                  <a:pt x="10267506" y="6250904"/>
                </a:cubicBezTo>
                <a:cubicBezTo>
                  <a:pt x="10267895" y="6247268"/>
                  <a:pt x="10272020" y="6243941"/>
                  <a:pt x="10275523" y="6243477"/>
                </a:cubicBezTo>
                <a:cubicBezTo>
                  <a:pt x="10283773" y="6242471"/>
                  <a:pt x="10291089" y="6247655"/>
                  <a:pt x="10291322" y="6256243"/>
                </a:cubicBezTo>
                <a:lnTo>
                  <a:pt x="10293813" y="6256243"/>
                </a:lnTo>
                <a:lnTo>
                  <a:pt x="10293813" y="6256166"/>
                </a:lnTo>
                <a:lnTo>
                  <a:pt x="10293813" y="6242471"/>
                </a:lnTo>
                <a:cubicBezTo>
                  <a:pt x="10287664" y="6238950"/>
                  <a:pt x="10277936" y="6238389"/>
                  <a:pt x="10270231" y="6241030"/>
                </a:cubicBezTo>
                <a:close/>
                <a:moveTo>
                  <a:pt x="10566063" y="6240923"/>
                </a:moveTo>
                <a:lnTo>
                  <a:pt x="10566685" y="6243167"/>
                </a:lnTo>
                <a:cubicBezTo>
                  <a:pt x="10569176" y="6243863"/>
                  <a:pt x="10573612" y="6243322"/>
                  <a:pt x="10574235" y="6246494"/>
                </a:cubicBezTo>
                <a:lnTo>
                  <a:pt x="10574391" y="6285954"/>
                </a:lnTo>
                <a:cubicBezTo>
                  <a:pt x="10574157" y="6290829"/>
                  <a:pt x="10568009" y="6291061"/>
                  <a:pt x="10564117" y="6291370"/>
                </a:cubicBezTo>
                <a:lnTo>
                  <a:pt x="10564117" y="6293924"/>
                </a:lnTo>
                <a:lnTo>
                  <a:pt x="10610971" y="6293924"/>
                </a:lnTo>
                <a:cubicBezTo>
                  <a:pt x="10610971" y="6293924"/>
                  <a:pt x="10610971" y="6276747"/>
                  <a:pt x="10610971" y="6276747"/>
                </a:cubicBezTo>
                <a:lnTo>
                  <a:pt x="10608480" y="6276747"/>
                </a:lnTo>
                <a:cubicBezTo>
                  <a:pt x="10608869" y="6280693"/>
                  <a:pt x="10604822" y="6289436"/>
                  <a:pt x="10600386" y="6289436"/>
                </a:cubicBezTo>
                <a:lnTo>
                  <a:pt x="10584042" y="6289436"/>
                </a:lnTo>
                <a:lnTo>
                  <a:pt x="10584042" y="6245720"/>
                </a:lnTo>
                <a:cubicBezTo>
                  <a:pt x="10586299" y="6243631"/>
                  <a:pt x="10589490" y="6243322"/>
                  <a:pt x="10592369" y="6243476"/>
                </a:cubicBezTo>
                <a:lnTo>
                  <a:pt x="10592369" y="6240923"/>
                </a:lnTo>
                <a:close/>
                <a:moveTo>
                  <a:pt x="10388843" y="6240923"/>
                </a:moveTo>
                <a:lnTo>
                  <a:pt x="10388822" y="6241000"/>
                </a:lnTo>
                <a:lnTo>
                  <a:pt x="10363159" y="6241000"/>
                </a:lnTo>
                <a:lnTo>
                  <a:pt x="10363548" y="6242935"/>
                </a:lnTo>
                <a:cubicBezTo>
                  <a:pt x="10365805" y="6243631"/>
                  <a:pt x="10370942" y="6243554"/>
                  <a:pt x="10371487" y="6246416"/>
                </a:cubicBezTo>
                <a:lnTo>
                  <a:pt x="10371176" y="6288894"/>
                </a:lnTo>
                <a:cubicBezTo>
                  <a:pt x="10370242" y="6290751"/>
                  <a:pt x="10365183" y="6291448"/>
                  <a:pt x="10363159" y="6291448"/>
                </a:cubicBezTo>
                <a:lnTo>
                  <a:pt x="10363159" y="6294001"/>
                </a:lnTo>
                <a:cubicBezTo>
                  <a:pt x="10363159" y="6294001"/>
                  <a:pt x="10388843" y="6294001"/>
                  <a:pt x="10388843" y="6294001"/>
                </a:cubicBezTo>
                <a:lnTo>
                  <a:pt x="10388843" y="6291448"/>
                </a:lnTo>
                <a:cubicBezTo>
                  <a:pt x="10386197" y="6291370"/>
                  <a:pt x="10383084" y="6291061"/>
                  <a:pt x="10381138" y="6289204"/>
                </a:cubicBezTo>
                <a:lnTo>
                  <a:pt x="10381138" y="6269087"/>
                </a:lnTo>
                <a:lnTo>
                  <a:pt x="10409390" y="6269087"/>
                </a:lnTo>
                <a:lnTo>
                  <a:pt x="10409390" y="6288585"/>
                </a:lnTo>
                <a:cubicBezTo>
                  <a:pt x="10407367" y="6290983"/>
                  <a:pt x="10404098" y="6291680"/>
                  <a:pt x="10401062" y="6291448"/>
                </a:cubicBezTo>
                <a:lnTo>
                  <a:pt x="10401062" y="6294001"/>
                </a:lnTo>
                <a:lnTo>
                  <a:pt x="10427369" y="6294001"/>
                </a:lnTo>
                <a:lnTo>
                  <a:pt x="10427369" y="6291448"/>
                </a:lnTo>
                <a:cubicBezTo>
                  <a:pt x="10424567" y="6291602"/>
                  <a:pt x="10421376" y="6291061"/>
                  <a:pt x="10419353" y="6288894"/>
                </a:cubicBezTo>
                <a:lnTo>
                  <a:pt x="10419041" y="6246416"/>
                </a:lnTo>
                <a:cubicBezTo>
                  <a:pt x="10419508" y="6243554"/>
                  <a:pt x="10424723" y="6243631"/>
                  <a:pt x="10426980" y="6242935"/>
                </a:cubicBezTo>
                <a:lnTo>
                  <a:pt x="10427369" y="6241000"/>
                </a:lnTo>
                <a:lnTo>
                  <a:pt x="10401062" y="6241000"/>
                </a:lnTo>
                <a:lnTo>
                  <a:pt x="10401452" y="6242935"/>
                </a:lnTo>
                <a:cubicBezTo>
                  <a:pt x="10404253" y="6243631"/>
                  <a:pt x="10407211" y="6243399"/>
                  <a:pt x="10409390" y="6245720"/>
                </a:cubicBezTo>
                <a:lnTo>
                  <a:pt x="10409390" y="6264522"/>
                </a:lnTo>
                <a:lnTo>
                  <a:pt x="10381138" y="6264522"/>
                </a:lnTo>
                <a:lnTo>
                  <a:pt x="10381138" y="6245720"/>
                </a:lnTo>
                <a:cubicBezTo>
                  <a:pt x="10381138" y="6244482"/>
                  <a:pt x="10386975" y="6243167"/>
                  <a:pt x="10388220" y="6243167"/>
                </a:cubicBezTo>
                <a:lnTo>
                  <a:pt x="10388822" y="6241000"/>
                </a:lnTo>
                <a:lnTo>
                  <a:pt x="10388843" y="6241000"/>
                </a:lnTo>
                <a:close/>
                <a:moveTo>
                  <a:pt x="10525513" y="6239840"/>
                </a:moveTo>
                <a:cubicBezTo>
                  <a:pt x="10491424" y="6244405"/>
                  <a:pt x="10492357" y="6298721"/>
                  <a:pt x="10531740" y="6295161"/>
                </a:cubicBezTo>
                <a:cubicBezTo>
                  <a:pt x="10568398" y="6291912"/>
                  <a:pt x="10568320" y="6234114"/>
                  <a:pt x="10525513" y="6239840"/>
                </a:cubicBezTo>
                <a:close/>
                <a:moveTo>
                  <a:pt x="10459357" y="6239840"/>
                </a:moveTo>
                <a:cubicBezTo>
                  <a:pt x="10425268" y="6244405"/>
                  <a:pt x="10426201" y="6298721"/>
                  <a:pt x="10465584" y="6295161"/>
                </a:cubicBezTo>
                <a:cubicBezTo>
                  <a:pt x="10502242" y="6291912"/>
                  <a:pt x="10502164" y="6234114"/>
                  <a:pt x="10459357" y="6239840"/>
                </a:cubicBezTo>
                <a:close/>
                <a:moveTo>
                  <a:pt x="10337131" y="6239489"/>
                </a:moveTo>
                <a:cubicBezTo>
                  <a:pt x="10318732" y="6239729"/>
                  <a:pt x="10300914" y="6251698"/>
                  <a:pt x="10305642" y="6273111"/>
                </a:cubicBezTo>
                <a:cubicBezTo>
                  <a:pt x="10310312" y="6294388"/>
                  <a:pt x="10335685" y="6300037"/>
                  <a:pt x="10353663" y="6291835"/>
                </a:cubicBezTo>
                <a:lnTo>
                  <a:pt x="10356543" y="6278682"/>
                </a:lnTo>
                <a:lnTo>
                  <a:pt x="10353586" y="6278063"/>
                </a:lnTo>
                <a:cubicBezTo>
                  <a:pt x="10350939" y="6294311"/>
                  <a:pt x="10331326" y="6295239"/>
                  <a:pt x="10321753" y="6283788"/>
                </a:cubicBezTo>
                <a:cubicBezTo>
                  <a:pt x="10313892" y="6274349"/>
                  <a:pt x="10313192" y="6255083"/>
                  <a:pt x="10323387" y="6247036"/>
                </a:cubicBezTo>
                <a:cubicBezTo>
                  <a:pt x="10332961" y="6239453"/>
                  <a:pt x="10351873" y="6243709"/>
                  <a:pt x="10352340" y="6257559"/>
                </a:cubicBezTo>
                <a:lnTo>
                  <a:pt x="10354831" y="6257559"/>
                </a:lnTo>
                <a:lnTo>
                  <a:pt x="10354909" y="6257636"/>
                </a:lnTo>
                <a:lnTo>
                  <a:pt x="10354909" y="6243245"/>
                </a:lnTo>
                <a:cubicBezTo>
                  <a:pt x="10349461" y="6240633"/>
                  <a:pt x="10343263" y="6239410"/>
                  <a:pt x="10337131" y="6239489"/>
                </a:cubicBezTo>
                <a:close/>
                <a:moveTo>
                  <a:pt x="9544025" y="6238457"/>
                </a:moveTo>
                <a:cubicBezTo>
                  <a:pt x="9554058" y="6238428"/>
                  <a:pt x="9564072" y="6246099"/>
                  <a:pt x="9563490" y="6261558"/>
                </a:cubicBezTo>
                <a:lnTo>
                  <a:pt x="9524444" y="6261558"/>
                </a:lnTo>
                <a:cubicBezTo>
                  <a:pt x="9523940" y="6246216"/>
                  <a:pt x="9533992" y="6238487"/>
                  <a:pt x="9544025" y="6238457"/>
                </a:cubicBezTo>
                <a:close/>
                <a:moveTo>
                  <a:pt x="4546417" y="6238368"/>
                </a:moveTo>
                <a:lnTo>
                  <a:pt x="4549825" y="6238368"/>
                </a:lnTo>
                <a:lnTo>
                  <a:pt x="4549825" y="6240561"/>
                </a:lnTo>
                <a:cubicBezTo>
                  <a:pt x="4549825" y="6245474"/>
                  <a:pt x="4548514" y="6249334"/>
                  <a:pt x="4545718" y="6252228"/>
                </a:cubicBezTo>
                <a:cubicBezTo>
                  <a:pt x="4543009" y="6255123"/>
                  <a:pt x="4538902" y="6256527"/>
                  <a:pt x="4533571" y="6256527"/>
                </a:cubicBezTo>
                <a:cubicBezTo>
                  <a:pt x="4532348" y="6256527"/>
                  <a:pt x="4531037" y="6256439"/>
                  <a:pt x="4529726" y="6256176"/>
                </a:cubicBezTo>
                <a:cubicBezTo>
                  <a:pt x="4528415" y="6255913"/>
                  <a:pt x="4527279" y="6255474"/>
                  <a:pt x="4526230" y="6254860"/>
                </a:cubicBezTo>
                <a:cubicBezTo>
                  <a:pt x="4525182" y="6254246"/>
                  <a:pt x="4524308" y="6253457"/>
                  <a:pt x="4523696" y="6252492"/>
                </a:cubicBezTo>
                <a:cubicBezTo>
                  <a:pt x="4523085" y="6251527"/>
                  <a:pt x="4522735" y="6250298"/>
                  <a:pt x="4522735" y="6248807"/>
                </a:cubicBezTo>
                <a:cubicBezTo>
                  <a:pt x="4522735" y="6246439"/>
                  <a:pt x="4523522" y="6244596"/>
                  <a:pt x="4525094" y="6243281"/>
                </a:cubicBezTo>
                <a:cubicBezTo>
                  <a:pt x="4526667" y="6241877"/>
                  <a:pt x="4528677" y="6240824"/>
                  <a:pt x="4530949" y="6240123"/>
                </a:cubicBezTo>
                <a:cubicBezTo>
                  <a:pt x="4533222" y="6239421"/>
                  <a:pt x="4535756" y="6238894"/>
                  <a:pt x="4538552" y="6238719"/>
                </a:cubicBezTo>
                <a:cubicBezTo>
                  <a:pt x="4541261" y="6238456"/>
                  <a:pt x="4543883" y="6238368"/>
                  <a:pt x="4546417" y="6238368"/>
                </a:cubicBezTo>
                <a:close/>
                <a:moveTo>
                  <a:pt x="4364564" y="6238368"/>
                </a:moveTo>
                <a:lnTo>
                  <a:pt x="4367972" y="6238368"/>
                </a:lnTo>
                <a:lnTo>
                  <a:pt x="4367972" y="6240561"/>
                </a:lnTo>
                <a:cubicBezTo>
                  <a:pt x="4367972" y="6245474"/>
                  <a:pt x="4366661" y="6249334"/>
                  <a:pt x="4363865" y="6252228"/>
                </a:cubicBezTo>
                <a:cubicBezTo>
                  <a:pt x="4361156" y="6255123"/>
                  <a:pt x="4357049" y="6256527"/>
                  <a:pt x="4351718" y="6256527"/>
                </a:cubicBezTo>
                <a:cubicBezTo>
                  <a:pt x="4350495" y="6256527"/>
                  <a:pt x="4349184" y="6256439"/>
                  <a:pt x="4347873" y="6256176"/>
                </a:cubicBezTo>
                <a:cubicBezTo>
                  <a:pt x="4346562" y="6255913"/>
                  <a:pt x="4345426" y="6255474"/>
                  <a:pt x="4344377" y="6254860"/>
                </a:cubicBezTo>
                <a:cubicBezTo>
                  <a:pt x="4343329" y="6254246"/>
                  <a:pt x="4342455" y="6253457"/>
                  <a:pt x="4341843" y="6252492"/>
                </a:cubicBezTo>
                <a:cubicBezTo>
                  <a:pt x="4341232" y="6251527"/>
                  <a:pt x="4340882" y="6250298"/>
                  <a:pt x="4340882" y="6248807"/>
                </a:cubicBezTo>
                <a:cubicBezTo>
                  <a:pt x="4340882" y="6246439"/>
                  <a:pt x="4341668" y="6244596"/>
                  <a:pt x="4343241" y="6243281"/>
                </a:cubicBezTo>
                <a:cubicBezTo>
                  <a:pt x="4344814" y="6241877"/>
                  <a:pt x="4346824" y="6240824"/>
                  <a:pt x="4349096" y="6240123"/>
                </a:cubicBezTo>
                <a:cubicBezTo>
                  <a:pt x="4351368" y="6239421"/>
                  <a:pt x="4353903" y="6238894"/>
                  <a:pt x="4356699" y="6238719"/>
                </a:cubicBezTo>
                <a:cubicBezTo>
                  <a:pt x="4359408" y="6238456"/>
                  <a:pt x="4362030" y="6238368"/>
                  <a:pt x="4364564" y="6238368"/>
                </a:cubicBezTo>
                <a:close/>
                <a:moveTo>
                  <a:pt x="9467078" y="6238154"/>
                </a:moveTo>
                <a:cubicBezTo>
                  <a:pt x="9493160" y="6237606"/>
                  <a:pt x="9493703" y="6286762"/>
                  <a:pt x="9474375" y="6293336"/>
                </a:cubicBezTo>
                <a:cubicBezTo>
                  <a:pt x="9441151" y="6304608"/>
                  <a:pt x="9437813" y="6238781"/>
                  <a:pt x="9467078" y="6238154"/>
                </a:cubicBezTo>
                <a:close/>
                <a:moveTo>
                  <a:pt x="9390385" y="6238154"/>
                </a:moveTo>
                <a:cubicBezTo>
                  <a:pt x="9425006" y="6235102"/>
                  <a:pt x="9423686" y="6301712"/>
                  <a:pt x="9386581" y="6293963"/>
                </a:cubicBezTo>
                <a:cubicBezTo>
                  <a:pt x="9363837" y="6289266"/>
                  <a:pt x="9362750" y="6240581"/>
                  <a:pt x="9390385" y="6238154"/>
                </a:cubicBezTo>
                <a:close/>
                <a:moveTo>
                  <a:pt x="11634071" y="6233938"/>
                </a:moveTo>
                <a:cubicBezTo>
                  <a:pt x="11624832" y="6232074"/>
                  <a:pt x="11615515" y="6232074"/>
                  <a:pt x="11606277" y="6234012"/>
                </a:cubicBezTo>
                <a:cubicBezTo>
                  <a:pt x="11593156" y="6236845"/>
                  <a:pt x="11583296" y="6243778"/>
                  <a:pt x="11577862" y="6255854"/>
                </a:cubicBezTo>
                <a:cubicBezTo>
                  <a:pt x="11574756" y="6262861"/>
                  <a:pt x="11573514" y="6270092"/>
                  <a:pt x="11573514" y="6277621"/>
                </a:cubicBezTo>
                <a:cubicBezTo>
                  <a:pt x="11573514" y="6294543"/>
                  <a:pt x="11573514" y="6311465"/>
                  <a:pt x="11573514" y="6328387"/>
                </a:cubicBezTo>
                <a:lnTo>
                  <a:pt x="11573437" y="6328462"/>
                </a:lnTo>
                <a:cubicBezTo>
                  <a:pt x="11573437" y="6346129"/>
                  <a:pt x="11573437" y="6363871"/>
                  <a:pt x="11573437" y="6381464"/>
                </a:cubicBezTo>
                <a:cubicBezTo>
                  <a:pt x="11573359" y="6384744"/>
                  <a:pt x="11574989" y="6386980"/>
                  <a:pt x="11579104" y="6386905"/>
                </a:cubicBezTo>
                <a:cubicBezTo>
                  <a:pt x="11585004" y="6386756"/>
                  <a:pt x="11590827" y="6386756"/>
                  <a:pt x="11596728" y="6386905"/>
                </a:cubicBezTo>
                <a:cubicBezTo>
                  <a:pt x="11602084" y="6387054"/>
                  <a:pt x="11603171" y="6384893"/>
                  <a:pt x="11603171" y="6380644"/>
                </a:cubicBezTo>
                <a:cubicBezTo>
                  <a:pt x="11603171" y="6355000"/>
                  <a:pt x="11603171" y="6329505"/>
                  <a:pt x="11603171" y="6303936"/>
                </a:cubicBezTo>
                <a:lnTo>
                  <a:pt x="11603171" y="6301849"/>
                </a:lnTo>
                <a:cubicBezTo>
                  <a:pt x="11603171" y="6301178"/>
                  <a:pt x="11603404" y="6300880"/>
                  <a:pt x="11604103" y="6300880"/>
                </a:cubicBezTo>
                <a:lnTo>
                  <a:pt x="11631353" y="6300880"/>
                </a:lnTo>
                <a:cubicBezTo>
                  <a:pt x="11635390" y="6300880"/>
                  <a:pt x="11636865" y="6299612"/>
                  <a:pt x="11636865" y="6295736"/>
                </a:cubicBezTo>
                <a:cubicBezTo>
                  <a:pt x="11636865" y="6291040"/>
                  <a:pt x="11636865" y="6286492"/>
                  <a:pt x="11636865" y="6281870"/>
                </a:cubicBezTo>
                <a:cubicBezTo>
                  <a:pt x="11636788" y="6277994"/>
                  <a:pt x="11635390" y="6276578"/>
                  <a:pt x="11631353" y="6276578"/>
                </a:cubicBezTo>
                <a:lnTo>
                  <a:pt x="11604879" y="6276578"/>
                </a:lnTo>
                <a:cubicBezTo>
                  <a:pt x="11603016" y="6276578"/>
                  <a:pt x="11603016" y="6276503"/>
                  <a:pt x="11603016" y="6274714"/>
                </a:cubicBezTo>
                <a:cubicBezTo>
                  <a:pt x="11603094" y="6273149"/>
                  <a:pt x="11603171" y="6271658"/>
                  <a:pt x="11603327" y="6270092"/>
                </a:cubicBezTo>
                <a:cubicBezTo>
                  <a:pt x="11604103" y="6262861"/>
                  <a:pt x="11608062" y="6258165"/>
                  <a:pt x="11614817" y="6256599"/>
                </a:cubicBezTo>
                <a:cubicBezTo>
                  <a:pt x="11616525" y="6256227"/>
                  <a:pt x="11618466" y="6255929"/>
                  <a:pt x="11620329" y="6255929"/>
                </a:cubicBezTo>
                <a:cubicBezTo>
                  <a:pt x="11623745" y="6255854"/>
                  <a:pt x="11627083" y="6256450"/>
                  <a:pt x="11630422" y="6256898"/>
                </a:cubicBezTo>
                <a:cubicBezTo>
                  <a:pt x="11634692" y="6257494"/>
                  <a:pt x="11636167" y="6256525"/>
                  <a:pt x="11636943" y="6252499"/>
                </a:cubicBezTo>
                <a:cubicBezTo>
                  <a:pt x="11637719" y="6248623"/>
                  <a:pt x="11638418" y="6244821"/>
                  <a:pt x="11639195" y="6240945"/>
                </a:cubicBezTo>
                <a:cubicBezTo>
                  <a:pt x="11640049" y="6236472"/>
                  <a:pt x="11639117" y="6235056"/>
                  <a:pt x="11634536" y="6234012"/>
                </a:cubicBezTo>
                <a:cubicBezTo>
                  <a:pt x="11634381" y="6233938"/>
                  <a:pt x="11634226" y="6233938"/>
                  <a:pt x="11634071" y="6233938"/>
                </a:cubicBezTo>
                <a:close/>
                <a:moveTo>
                  <a:pt x="11663805" y="6233192"/>
                </a:moveTo>
                <a:cubicBezTo>
                  <a:pt x="11658138" y="6234459"/>
                  <a:pt x="11654566" y="6237963"/>
                  <a:pt x="11653169" y="6243479"/>
                </a:cubicBezTo>
                <a:cubicBezTo>
                  <a:pt x="11652936" y="6244672"/>
                  <a:pt x="11652703" y="6245864"/>
                  <a:pt x="11652703" y="6247057"/>
                </a:cubicBezTo>
                <a:cubicBezTo>
                  <a:pt x="11652548" y="6254437"/>
                  <a:pt x="11655886" y="6260326"/>
                  <a:pt x="11663262" y="6262414"/>
                </a:cubicBezTo>
                <a:cubicBezTo>
                  <a:pt x="11666911" y="6263383"/>
                  <a:pt x="11670637" y="6263457"/>
                  <a:pt x="11674286" y="6262414"/>
                </a:cubicBezTo>
                <a:cubicBezTo>
                  <a:pt x="11680885" y="6260624"/>
                  <a:pt x="11684612" y="6255332"/>
                  <a:pt x="11684612" y="6248026"/>
                </a:cubicBezTo>
                <a:lnTo>
                  <a:pt x="11684534" y="6248101"/>
                </a:lnTo>
                <a:cubicBezTo>
                  <a:pt x="11684534" y="6247355"/>
                  <a:pt x="11684612" y="6246535"/>
                  <a:pt x="11684534" y="6245790"/>
                </a:cubicBezTo>
                <a:cubicBezTo>
                  <a:pt x="11683758" y="6240050"/>
                  <a:pt x="11680963" y="6235801"/>
                  <a:pt x="11675140" y="6233788"/>
                </a:cubicBezTo>
                <a:cubicBezTo>
                  <a:pt x="11671414" y="6232521"/>
                  <a:pt x="11667609" y="6232372"/>
                  <a:pt x="11663805" y="6233192"/>
                </a:cubicBezTo>
                <a:close/>
                <a:moveTo>
                  <a:pt x="7254356" y="6230164"/>
                </a:moveTo>
                <a:lnTo>
                  <a:pt x="7265394" y="6237951"/>
                </a:lnTo>
                <a:lnTo>
                  <a:pt x="7265394" y="6238005"/>
                </a:lnTo>
                <a:lnTo>
                  <a:pt x="7265394" y="6238158"/>
                </a:lnTo>
                <a:lnTo>
                  <a:pt x="7265393" y="6238159"/>
                </a:lnTo>
                <a:lnTo>
                  <a:pt x="7265393" y="6238157"/>
                </a:lnTo>
                <a:lnTo>
                  <a:pt x="7265393" y="6238004"/>
                </a:lnTo>
                <a:close/>
                <a:moveTo>
                  <a:pt x="7237842" y="6230046"/>
                </a:moveTo>
                <a:lnTo>
                  <a:pt x="7235852" y="6246194"/>
                </a:lnTo>
                <a:lnTo>
                  <a:pt x="7235929" y="6246194"/>
                </a:lnTo>
                <a:lnTo>
                  <a:pt x="7237919" y="6230046"/>
                </a:lnTo>
                <a:lnTo>
                  <a:pt x="7237919" y="6230121"/>
                </a:lnTo>
                <a:lnTo>
                  <a:pt x="7237918" y="6230121"/>
                </a:lnTo>
                <a:lnTo>
                  <a:pt x="7235928" y="6246270"/>
                </a:lnTo>
                <a:lnTo>
                  <a:pt x="7253071" y="6246270"/>
                </a:lnTo>
                <a:cubicBezTo>
                  <a:pt x="7260112" y="6246270"/>
                  <a:pt x="7264781" y="6243515"/>
                  <a:pt x="7265393" y="6238234"/>
                </a:cubicBezTo>
                <a:lnTo>
                  <a:pt x="7265393" y="6238209"/>
                </a:lnTo>
                <a:lnTo>
                  <a:pt x="7265471" y="6238158"/>
                </a:lnTo>
                <a:lnTo>
                  <a:pt x="7265471" y="6238005"/>
                </a:lnTo>
                <a:lnTo>
                  <a:pt x="7265394" y="6237951"/>
                </a:lnTo>
                <a:lnTo>
                  <a:pt x="7265394" y="6237928"/>
                </a:lnTo>
                <a:cubicBezTo>
                  <a:pt x="7265930" y="6232954"/>
                  <a:pt x="7262409" y="6230046"/>
                  <a:pt x="7254220" y="6230046"/>
                </a:cubicBezTo>
                <a:lnTo>
                  <a:pt x="7237919" y="6230046"/>
                </a:lnTo>
                <a:close/>
                <a:moveTo>
                  <a:pt x="9543617" y="6229779"/>
                </a:moveTo>
                <a:cubicBezTo>
                  <a:pt x="9515983" y="6229935"/>
                  <a:pt x="9507056" y="6262888"/>
                  <a:pt x="9516526" y="6284883"/>
                </a:cubicBezTo>
                <a:cubicBezTo>
                  <a:pt x="9526152" y="6307425"/>
                  <a:pt x="9556115" y="6308365"/>
                  <a:pt x="9571873" y="6292006"/>
                </a:cubicBezTo>
                <a:lnTo>
                  <a:pt x="9564964" y="6286526"/>
                </a:lnTo>
                <a:cubicBezTo>
                  <a:pt x="9548974" y="6300459"/>
                  <a:pt x="9522814" y="6294197"/>
                  <a:pt x="9524444" y="6270089"/>
                </a:cubicBezTo>
                <a:lnTo>
                  <a:pt x="9573193" y="6270089"/>
                </a:lnTo>
                <a:lnTo>
                  <a:pt x="9573193" y="6270011"/>
                </a:lnTo>
                <a:cubicBezTo>
                  <a:pt x="9575832" y="6249191"/>
                  <a:pt x="9566595" y="6229622"/>
                  <a:pt x="9543617" y="6229779"/>
                </a:cubicBezTo>
                <a:close/>
                <a:moveTo>
                  <a:pt x="9386426" y="6229623"/>
                </a:moveTo>
                <a:cubicBezTo>
                  <a:pt x="9346837" y="6234945"/>
                  <a:pt x="9350485" y="6307895"/>
                  <a:pt x="9395896" y="6303355"/>
                </a:cubicBezTo>
                <a:cubicBezTo>
                  <a:pt x="9438901" y="6299129"/>
                  <a:pt x="9435097" y="6222969"/>
                  <a:pt x="9386426" y="6229623"/>
                </a:cubicBezTo>
                <a:close/>
                <a:moveTo>
                  <a:pt x="7409123" y="6218871"/>
                </a:moveTo>
                <a:cubicBezTo>
                  <a:pt x="7402311" y="6218871"/>
                  <a:pt x="7395653" y="6224228"/>
                  <a:pt x="7394581" y="6233106"/>
                </a:cubicBezTo>
                <a:lnTo>
                  <a:pt x="7394581" y="6233259"/>
                </a:lnTo>
                <a:cubicBezTo>
                  <a:pt x="7393510" y="6241831"/>
                  <a:pt x="7398714" y="6247494"/>
                  <a:pt x="7405602" y="6247494"/>
                </a:cubicBezTo>
                <a:cubicBezTo>
                  <a:pt x="7412414" y="6247494"/>
                  <a:pt x="7419149" y="6241754"/>
                  <a:pt x="7420220" y="6233259"/>
                </a:cubicBezTo>
                <a:lnTo>
                  <a:pt x="7420220" y="6233106"/>
                </a:lnTo>
                <a:cubicBezTo>
                  <a:pt x="7421292" y="6224534"/>
                  <a:pt x="7415934" y="6218871"/>
                  <a:pt x="7409123" y="6218871"/>
                </a:cubicBezTo>
                <a:close/>
                <a:moveTo>
                  <a:pt x="7357692" y="6218871"/>
                </a:moveTo>
                <a:cubicBezTo>
                  <a:pt x="7350804" y="6218871"/>
                  <a:pt x="7344069" y="6224611"/>
                  <a:pt x="7342998" y="6233106"/>
                </a:cubicBezTo>
                <a:lnTo>
                  <a:pt x="7342998" y="6233259"/>
                </a:lnTo>
                <a:cubicBezTo>
                  <a:pt x="7341927" y="6241754"/>
                  <a:pt x="7347284" y="6247494"/>
                  <a:pt x="7354172" y="6247494"/>
                </a:cubicBezTo>
                <a:cubicBezTo>
                  <a:pt x="7361136" y="6247494"/>
                  <a:pt x="7367565" y="6242060"/>
                  <a:pt x="7368637" y="6233259"/>
                </a:cubicBezTo>
                <a:lnTo>
                  <a:pt x="7368637" y="6233106"/>
                </a:lnTo>
                <a:cubicBezTo>
                  <a:pt x="7369708" y="6224534"/>
                  <a:pt x="7364580" y="6218871"/>
                  <a:pt x="7357692" y="6218871"/>
                </a:cubicBezTo>
                <a:close/>
                <a:moveTo>
                  <a:pt x="7477238" y="6216499"/>
                </a:moveTo>
                <a:lnTo>
                  <a:pt x="7486882" y="6325865"/>
                </a:lnTo>
                <a:lnTo>
                  <a:pt x="7492208" y="6330734"/>
                </a:lnTo>
                <a:lnTo>
                  <a:pt x="7492161" y="6330763"/>
                </a:lnTo>
                <a:cubicBezTo>
                  <a:pt x="7489330" y="6330763"/>
                  <a:pt x="7487034" y="6328620"/>
                  <a:pt x="7486804" y="6325864"/>
                </a:cubicBezTo>
                <a:lnTo>
                  <a:pt x="7477183" y="6216742"/>
                </a:lnTo>
                <a:close/>
                <a:moveTo>
                  <a:pt x="4616240" y="6215385"/>
                </a:moveTo>
                <a:cubicBezTo>
                  <a:pt x="4619211" y="6215385"/>
                  <a:pt x="4621833" y="6215999"/>
                  <a:pt x="4624105" y="6217139"/>
                </a:cubicBezTo>
                <a:cubicBezTo>
                  <a:pt x="4626377" y="6218367"/>
                  <a:pt x="4628212" y="6219859"/>
                  <a:pt x="4629697" y="6221789"/>
                </a:cubicBezTo>
                <a:cubicBezTo>
                  <a:pt x="4631183" y="6223631"/>
                  <a:pt x="4632319" y="6225824"/>
                  <a:pt x="4633018" y="6228192"/>
                </a:cubicBezTo>
                <a:cubicBezTo>
                  <a:pt x="4633805" y="6230561"/>
                  <a:pt x="4634154" y="6232929"/>
                  <a:pt x="4634154" y="6235386"/>
                </a:cubicBezTo>
                <a:cubicBezTo>
                  <a:pt x="4634154" y="6237842"/>
                  <a:pt x="4633717" y="6240210"/>
                  <a:pt x="4633018" y="6242667"/>
                </a:cubicBezTo>
                <a:cubicBezTo>
                  <a:pt x="4632232" y="6245123"/>
                  <a:pt x="4631183" y="6247228"/>
                  <a:pt x="4629697" y="6249158"/>
                </a:cubicBezTo>
                <a:cubicBezTo>
                  <a:pt x="4628212" y="6251001"/>
                  <a:pt x="4626377" y="6252580"/>
                  <a:pt x="4624105" y="6253808"/>
                </a:cubicBezTo>
                <a:cubicBezTo>
                  <a:pt x="4621920" y="6255036"/>
                  <a:pt x="4619298" y="6255650"/>
                  <a:pt x="4616240" y="6255650"/>
                </a:cubicBezTo>
                <a:cubicBezTo>
                  <a:pt x="4613443" y="6255650"/>
                  <a:pt x="4610909" y="6255036"/>
                  <a:pt x="4608637" y="6253895"/>
                </a:cubicBezTo>
                <a:cubicBezTo>
                  <a:pt x="4606365" y="6252667"/>
                  <a:pt x="4604442" y="6251176"/>
                  <a:pt x="4602869" y="6249246"/>
                </a:cubicBezTo>
                <a:cubicBezTo>
                  <a:pt x="4601296" y="6247404"/>
                  <a:pt x="4600073" y="6245211"/>
                  <a:pt x="4599287" y="6242842"/>
                </a:cubicBezTo>
                <a:cubicBezTo>
                  <a:pt x="4598500" y="6240474"/>
                  <a:pt x="4598063" y="6238105"/>
                  <a:pt x="4598063" y="6235649"/>
                </a:cubicBezTo>
                <a:cubicBezTo>
                  <a:pt x="4598063" y="6233193"/>
                  <a:pt x="4598500" y="6230824"/>
                  <a:pt x="4599287" y="6228368"/>
                </a:cubicBezTo>
                <a:cubicBezTo>
                  <a:pt x="4600073" y="6225912"/>
                  <a:pt x="4601296" y="6223806"/>
                  <a:pt x="4602869" y="6221876"/>
                </a:cubicBezTo>
                <a:cubicBezTo>
                  <a:pt x="4604442" y="6220034"/>
                  <a:pt x="4606365" y="6218455"/>
                  <a:pt x="4608637" y="6217227"/>
                </a:cubicBezTo>
                <a:cubicBezTo>
                  <a:pt x="4610822" y="6215999"/>
                  <a:pt x="4613356" y="6215385"/>
                  <a:pt x="4616240" y="6215385"/>
                </a:cubicBezTo>
                <a:close/>
                <a:moveTo>
                  <a:pt x="4726873" y="6214332"/>
                </a:moveTo>
                <a:cubicBezTo>
                  <a:pt x="4729407" y="6214332"/>
                  <a:pt x="4731591" y="6214770"/>
                  <a:pt x="4733427" y="6215560"/>
                </a:cubicBezTo>
                <a:cubicBezTo>
                  <a:pt x="4735349" y="6216437"/>
                  <a:pt x="4736835" y="6217490"/>
                  <a:pt x="4738058" y="6218893"/>
                </a:cubicBezTo>
                <a:cubicBezTo>
                  <a:pt x="4739194" y="6220297"/>
                  <a:pt x="4740155" y="6221876"/>
                  <a:pt x="4740680" y="6223718"/>
                </a:cubicBezTo>
                <a:cubicBezTo>
                  <a:pt x="4741291" y="6225560"/>
                  <a:pt x="4741554" y="6227403"/>
                  <a:pt x="4741554" y="6229420"/>
                </a:cubicBezTo>
                <a:lnTo>
                  <a:pt x="4709745" y="6229420"/>
                </a:lnTo>
                <a:cubicBezTo>
                  <a:pt x="4710094" y="6224946"/>
                  <a:pt x="4711842" y="6221350"/>
                  <a:pt x="4715075" y="6218543"/>
                </a:cubicBezTo>
                <a:cubicBezTo>
                  <a:pt x="4718309" y="6215735"/>
                  <a:pt x="4722241" y="6214332"/>
                  <a:pt x="4726873" y="6214332"/>
                </a:cubicBezTo>
                <a:close/>
                <a:moveTo>
                  <a:pt x="7326084" y="6210988"/>
                </a:moveTo>
                <a:lnTo>
                  <a:pt x="7326084" y="6211064"/>
                </a:lnTo>
                <a:lnTo>
                  <a:pt x="7326075" y="6211064"/>
                </a:lnTo>
                <a:close/>
                <a:moveTo>
                  <a:pt x="7286134" y="6210988"/>
                </a:moveTo>
                <a:lnTo>
                  <a:pt x="7296313" y="6210988"/>
                </a:lnTo>
                <a:lnTo>
                  <a:pt x="7293251" y="6236244"/>
                </a:lnTo>
                <a:cubicBezTo>
                  <a:pt x="7292409" y="6243132"/>
                  <a:pt x="7295547" y="6247035"/>
                  <a:pt x="7301440" y="6247035"/>
                </a:cubicBezTo>
                <a:cubicBezTo>
                  <a:pt x="7307333" y="6247035"/>
                  <a:pt x="7311925" y="6242979"/>
                  <a:pt x="7312767" y="6236091"/>
                </a:cubicBezTo>
                <a:lnTo>
                  <a:pt x="7315829" y="6211064"/>
                </a:lnTo>
                <a:lnTo>
                  <a:pt x="7326075" y="6211064"/>
                </a:lnTo>
                <a:lnTo>
                  <a:pt x="7320650" y="6255377"/>
                </a:lnTo>
                <a:lnTo>
                  <a:pt x="7310395" y="6255377"/>
                </a:lnTo>
                <a:lnTo>
                  <a:pt x="7311237" y="6248489"/>
                </a:lnTo>
                <a:cubicBezTo>
                  <a:pt x="7307869" y="6252699"/>
                  <a:pt x="7303277" y="6256296"/>
                  <a:pt x="7296389" y="6256296"/>
                </a:cubicBezTo>
                <a:cubicBezTo>
                  <a:pt x="7286363" y="6256296"/>
                  <a:pt x="7281389" y="6249561"/>
                  <a:pt x="7282690" y="6239229"/>
                </a:cubicBezTo>
                <a:close/>
                <a:moveTo>
                  <a:pt x="7407745" y="6210146"/>
                </a:moveTo>
                <a:cubicBezTo>
                  <a:pt x="7415016" y="6210146"/>
                  <a:pt x="7419225" y="6213743"/>
                  <a:pt x="7421904" y="6217952"/>
                </a:cubicBezTo>
                <a:lnTo>
                  <a:pt x="7422746" y="6211064"/>
                </a:lnTo>
                <a:lnTo>
                  <a:pt x="7432925" y="6211064"/>
                </a:lnTo>
                <a:lnTo>
                  <a:pt x="7427491" y="6255454"/>
                </a:lnTo>
                <a:lnTo>
                  <a:pt x="7417312" y="6255454"/>
                </a:lnTo>
                <a:lnTo>
                  <a:pt x="7418230" y="6248030"/>
                </a:lnTo>
                <a:cubicBezTo>
                  <a:pt x="7414404" y="6252699"/>
                  <a:pt x="7409276" y="6256372"/>
                  <a:pt x="7402082" y="6256372"/>
                </a:cubicBezTo>
                <a:cubicBezTo>
                  <a:pt x="7391673" y="6256372"/>
                  <a:pt x="7382489" y="6248030"/>
                  <a:pt x="7384326" y="6233336"/>
                </a:cubicBezTo>
                <a:lnTo>
                  <a:pt x="7384326" y="6233183"/>
                </a:lnTo>
                <a:cubicBezTo>
                  <a:pt x="7386163" y="6218488"/>
                  <a:pt x="7397184" y="6210146"/>
                  <a:pt x="7407745" y="6210146"/>
                </a:cubicBezTo>
                <a:close/>
                <a:moveTo>
                  <a:pt x="7361213" y="6210069"/>
                </a:moveTo>
                <a:cubicBezTo>
                  <a:pt x="7371621" y="6210069"/>
                  <a:pt x="7380805" y="6218335"/>
                  <a:pt x="7378969" y="6233106"/>
                </a:cubicBezTo>
                <a:lnTo>
                  <a:pt x="7378969" y="6233259"/>
                </a:lnTo>
                <a:cubicBezTo>
                  <a:pt x="7377132" y="6247953"/>
                  <a:pt x="7366035" y="6256296"/>
                  <a:pt x="7355549" y="6256296"/>
                </a:cubicBezTo>
                <a:cubicBezTo>
                  <a:pt x="7348126" y="6256296"/>
                  <a:pt x="7343993" y="6252622"/>
                  <a:pt x="7341391" y="6248489"/>
                </a:cubicBezTo>
                <a:lnTo>
                  <a:pt x="7338865" y="6268847"/>
                </a:lnTo>
                <a:lnTo>
                  <a:pt x="7328686" y="6268847"/>
                </a:lnTo>
                <a:lnTo>
                  <a:pt x="7335804" y="6210988"/>
                </a:lnTo>
                <a:lnTo>
                  <a:pt x="7345983" y="6210988"/>
                </a:lnTo>
                <a:lnTo>
                  <a:pt x="7345064" y="6218412"/>
                </a:lnTo>
                <a:cubicBezTo>
                  <a:pt x="7348891" y="6213743"/>
                  <a:pt x="7354019" y="6210069"/>
                  <a:pt x="7361213" y="6210069"/>
                </a:cubicBezTo>
                <a:close/>
                <a:moveTo>
                  <a:pt x="7240826" y="6205784"/>
                </a:moveTo>
                <a:lnTo>
                  <a:pt x="7238913" y="6221396"/>
                </a:lnTo>
                <a:lnTo>
                  <a:pt x="7252995" y="6221396"/>
                </a:lnTo>
                <a:cubicBezTo>
                  <a:pt x="7259653" y="6221396"/>
                  <a:pt x="7264398" y="6218794"/>
                  <a:pt x="7265087" y="6213437"/>
                </a:cubicBezTo>
                <a:lnTo>
                  <a:pt x="7265087" y="6213284"/>
                </a:lnTo>
                <a:cubicBezTo>
                  <a:pt x="7265699" y="6208615"/>
                  <a:pt x="7262332" y="6205784"/>
                  <a:pt x="7255673" y="6205784"/>
                </a:cubicBezTo>
                <a:close/>
                <a:moveTo>
                  <a:pt x="4401441" y="6204507"/>
                </a:moveTo>
                <a:lnTo>
                  <a:pt x="4401441" y="6266878"/>
                </a:lnTo>
                <a:lnTo>
                  <a:pt x="4416996" y="6266878"/>
                </a:lnTo>
                <a:lnTo>
                  <a:pt x="4416996" y="6204507"/>
                </a:lnTo>
                <a:close/>
                <a:moveTo>
                  <a:pt x="4147318" y="6204506"/>
                </a:moveTo>
                <a:lnTo>
                  <a:pt x="4147318" y="6243455"/>
                </a:lnTo>
                <a:cubicBezTo>
                  <a:pt x="4147318" y="6246701"/>
                  <a:pt x="4147756" y="6249771"/>
                  <a:pt x="4148630" y="6252842"/>
                </a:cubicBezTo>
                <a:cubicBezTo>
                  <a:pt x="4149503" y="6255912"/>
                  <a:pt x="4150901" y="6258544"/>
                  <a:pt x="4152736" y="6260912"/>
                </a:cubicBezTo>
                <a:cubicBezTo>
                  <a:pt x="4154572" y="6263193"/>
                  <a:pt x="4156932" y="6265123"/>
                  <a:pt x="4159814" y="6266527"/>
                </a:cubicBezTo>
                <a:cubicBezTo>
                  <a:pt x="4162698" y="6267930"/>
                  <a:pt x="4166195" y="6268632"/>
                  <a:pt x="4170214" y="6268632"/>
                </a:cubicBezTo>
                <a:cubicBezTo>
                  <a:pt x="4174846" y="6268632"/>
                  <a:pt x="4178865" y="6267404"/>
                  <a:pt x="4182274" y="6265035"/>
                </a:cubicBezTo>
                <a:cubicBezTo>
                  <a:pt x="4185681" y="6262667"/>
                  <a:pt x="4188041" y="6259947"/>
                  <a:pt x="4189440" y="6256789"/>
                </a:cubicBezTo>
                <a:lnTo>
                  <a:pt x="4189701" y="6256789"/>
                </a:lnTo>
                <a:lnTo>
                  <a:pt x="4189701" y="6266790"/>
                </a:lnTo>
                <a:lnTo>
                  <a:pt x="4204469" y="6266790"/>
                </a:lnTo>
                <a:lnTo>
                  <a:pt x="4204469" y="6204506"/>
                </a:lnTo>
                <a:lnTo>
                  <a:pt x="4188914" y="6204506"/>
                </a:lnTo>
                <a:lnTo>
                  <a:pt x="4188914" y="6238806"/>
                </a:lnTo>
                <a:cubicBezTo>
                  <a:pt x="4188914" y="6240824"/>
                  <a:pt x="4188653" y="6242929"/>
                  <a:pt x="4188041" y="6244947"/>
                </a:cubicBezTo>
                <a:cubicBezTo>
                  <a:pt x="4187429" y="6246964"/>
                  <a:pt x="4186555" y="6248719"/>
                  <a:pt x="4185419" y="6250298"/>
                </a:cubicBezTo>
                <a:cubicBezTo>
                  <a:pt x="4184196" y="6251877"/>
                  <a:pt x="4182710" y="6253193"/>
                  <a:pt x="4180876" y="6254158"/>
                </a:cubicBezTo>
                <a:cubicBezTo>
                  <a:pt x="4179040" y="6255123"/>
                  <a:pt x="4177031" y="6255649"/>
                  <a:pt x="4174497" y="6255649"/>
                </a:cubicBezTo>
                <a:cubicBezTo>
                  <a:pt x="4171961" y="6255649"/>
                  <a:pt x="4169952" y="6255123"/>
                  <a:pt x="4168467" y="6254070"/>
                </a:cubicBezTo>
                <a:cubicBezTo>
                  <a:pt x="4166894" y="6253017"/>
                  <a:pt x="4165757" y="6251701"/>
                  <a:pt x="4164883" y="6250122"/>
                </a:cubicBezTo>
                <a:cubicBezTo>
                  <a:pt x="4164010" y="6248543"/>
                  <a:pt x="4163485" y="6246789"/>
                  <a:pt x="4163223" y="6244771"/>
                </a:cubicBezTo>
                <a:cubicBezTo>
                  <a:pt x="4162960" y="6242754"/>
                  <a:pt x="4162873" y="6240911"/>
                  <a:pt x="4162873" y="6239069"/>
                </a:cubicBezTo>
                <a:lnTo>
                  <a:pt x="4162873" y="6204506"/>
                </a:lnTo>
                <a:close/>
                <a:moveTo>
                  <a:pt x="4727135" y="6202840"/>
                </a:moveTo>
                <a:cubicBezTo>
                  <a:pt x="4722503" y="6202840"/>
                  <a:pt x="4718134" y="6203630"/>
                  <a:pt x="4714114" y="6205209"/>
                </a:cubicBezTo>
                <a:cubicBezTo>
                  <a:pt x="4710094" y="6206788"/>
                  <a:pt x="4706686" y="6209068"/>
                  <a:pt x="4703715" y="6211963"/>
                </a:cubicBezTo>
                <a:cubicBezTo>
                  <a:pt x="4700831" y="6214858"/>
                  <a:pt x="4698472" y="6218367"/>
                  <a:pt x="4696811" y="6222490"/>
                </a:cubicBezTo>
                <a:cubicBezTo>
                  <a:pt x="4695151" y="6226613"/>
                  <a:pt x="4694277" y="6231087"/>
                  <a:pt x="4694277" y="6236175"/>
                </a:cubicBezTo>
                <a:cubicBezTo>
                  <a:pt x="4694277" y="6241263"/>
                  <a:pt x="4695151" y="6245825"/>
                  <a:pt x="4696811" y="6249860"/>
                </a:cubicBezTo>
                <a:cubicBezTo>
                  <a:pt x="4698472" y="6253895"/>
                  <a:pt x="4700831" y="6257229"/>
                  <a:pt x="4703802" y="6260036"/>
                </a:cubicBezTo>
                <a:cubicBezTo>
                  <a:pt x="4706773" y="6262755"/>
                  <a:pt x="4710356" y="6264948"/>
                  <a:pt x="4714376" y="6266440"/>
                </a:cubicBezTo>
                <a:cubicBezTo>
                  <a:pt x="4718396" y="6267931"/>
                  <a:pt x="4722853" y="6268720"/>
                  <a:pt x="4727659" y="6268720"/>
                </a:cubicBezTo>
                <a:cubicBezTo>
                  <a:pt x="4739282" y="6268720"/>
                  <a:pt x="4748195" y="6264597"/>
                  <a:pt x="4754312" y="6256264"/>
                </a:cubicBezTo>
                <a:lnTo>
                  <a:pt x="4744000" y="6247930"/>
                </a:lnTo>
                <a:cubicBezTo>
                  <a:pt x="4742253" y="6250386"/>
                  <a:pt x="4740068" y="6252404"/>
                  <a:pt x="4737359" y="6253807"/>
                </a:cubicBezTo>
                <a:cubicBezTo>
                  <a:pt x="4734650" y="6255211"/>
                  <a:pt x="4731329" y="6255913"/>
                  <a:pt x="4727484" y="6255913"/>
                </a:cubicBezTo>
                <a:cubicBezTo>
                  <a:pt x="4725212" y="6255913"/>
                  <a:pt x="4723115" y="6255562"/>
                  <a:pt x="4721018" y="6254772"/>
                </a:cubicBezTo>
                <a:cubicBezTo>
                  <a:pt x="4718920" y="6253983"/>
                  <a:pt x="4717085" y="6252930"/>
                  <a:pt x="4715425" y="6251614"/>
                </a:cubicBezTo>
                <a:cubicBezTo>
                  <a:pt x="4713764" y="6250211"/>
                  <a:pt x="4712454" y="6248632"/>
                  <a:pt x="4711492" y="6246790"/>
                </a:cubicBezTo>
                <a:cubicBezTo>
                  <a:pt x="4710531" y="6244947"/>
                  <a:pt x="4709919" y="6242930"/>
                  <a:pt x="4709745" y="6240649"/>
                </a:cubicBezTo>
                <a:lnTo>
                  <a:pt x="4756934" y="6240649"/>
                </a:lnTo>
                <a:cubicBezTo>
                  <a:pt x="4757109" y="6239947"/>
                  <a:pt x="4757109" y="6239245"/>
                  <a:pt x="4757109" y="6238544"/>
                </a:cubicBezTo>
                <a:lnTo>
                  <a:pt x="4757109" y="6236438"/>
                </a:lnTo>
                <a:lnTo>
                  <a:pt x="4757196" y="6236614"/>
                </a:lnTo>
                <a:cubicBezTo>
                  <a:pt x="4757196" y="6230999"/>
                  <a:pt x="4756410" y="6226087"/>
                  <a:pt x="4754924" y="6221876"/>
                </a:cubicBezTo>
                <a:cubicBezTo>
                  <a:pt x="4753438" y="6217665"/>
                  <a:pt x="4751341" y="6214156"/>
                  <a:pt x="4748632" y="6211349"/>
                </a:cubicBezTo>
                <a:cubicBezTo>
                  <a:pt x="4745923" y="6208454"/>
                  <a:pt x="4742777" y="6206349"/>
                  <a:pt x="4739107" y="6204945"/>
                </a:cubicBezTo>
                <a:cubicBezTo>
                  <a:pt x="4735437" y="6203542"/>
                  <a:pt x="4731417" y="6202840"/>
                  <a:pt x="4727135" y="6202840"/>
                </a:cubicBezTo>
                <a:close/>
                <a:moveTo>
                  <a:pt x="4536979" y="6202840"/>
                </a:moveTo>
                <a:cubicBezTo>
                  <a:pt x="4532173" y="6202840"/>
                  <a:pt x="4527541" y="6203630"/>
                  <a:pt x="4522910" y="6205296"/>
                </a:cubicBezTo>
                <a:cubicBezTo>
                  <a:pt x="4518278" y="6206875"/>
                  <a:pt x="4514171" y="6209332"/>
                  <a:pt x="4510676" y="6212665"/>
                </a:cubicBezTo>
                <a:lnTo>
                  <a:pt x="4518715" y="6222139"/>
                </a:lnTo>
                <a:cubicBezTo>
                  <a:pt x="4520725" y="6220122"/>
                  <a:pt x="4523172" y="6218455"/>
                  <a:pt x="4526230" y="6217051"/>
                </a:cubicBezTo>
                <a:cubicBezTo>
                  <a:pt x="4529202" y="6215648"/>
                  <a:pt x="4532348" y="6214946"/>
                  <a:pt x="4535668" y="6214946"/>
                </a:cubicBezTo>
                <a:cubicBezTo>
                  <a:pt x="4539601" y="6214946"/>
                  <a:pt x="4542922" y="6215911"/>
                  <a:pt x="4545718" y="6217753"/>
                </a:cubicBezTo>
                <a:cubicBezTo>
                  <a:pt x="4548514" y="6219595"/>
                  <a:pt x="4549913" y="6222490"/>
                  <a:pt x="4549913" y="6226350"/>
                </a:cubicBezTo>
                <a:lnTo>
                  <a:pt x="4549913" y="6227929"/>
                </a:lnTo>
                <a:cubicBezTo>
                  <a:pt x="4545019" y="6227929"/>
                  <a:pt x="4540125" y="6228192"/>
                  <a:pt x="4535057" y="6228631"/>
                </a:cubicBezTo>
                <a:cubicBezTo>
                  <a:pt x="4529988" y="6229069"/>
                  <a:pt x="4525357" y="6230034"/>
                  <a:pt x="4521249" y="6231526"/>
                </a:cubicBezTo>
                <a:cubicBezTo>
                  <a:pt x="4517142" y="6233017"/>
                  <a:pt x="4513734" y="6235122"/>
                  <a:pt x="4511112" y="6237929"/>
                </a:cubicBezTo>
                <a:cubicBezTo>
                  <a:pt x="4508491" y="6240649"/>
                  <a:pt x="4507180" y="6244421"/>
                  <a:pt x="4507180" y="6249070"/>
                </a:cubicBezTo>
                <a:cubicBezTo>
                  <a:pt x="4507180" y="6252667"/>
                  <a:pt x="4507966" y="6255737"/>
                  <a:pt x="4509452" y="6258194"/>
                </a:cubicBezTo>
                <a:cubicBezTo>
                  <a:pt x="4510938" y="6260650"/>
                  <a:pt x="4512860" y="6262668"/>
                  <a:pt x="4515132" y="6264159"/>
                </a:cubicBezTo>
                <a:cubicBezTo>
                  <a:pt x="4517404" y="6265650"/>
                  <a:pt x="4519939" y="6266791"/>
                  <a:pt x="4522648" y="6267405"/>
                </a:cubicBezTo>
                <a:cubicBezTo>
                  <a:pt x="4525444" y="6268019"/>
                  <a:pt x="4527978" y="6268370"/>
                  <a:pt x="4530513" y="6268370"/>
                </a:cubicBezTo>
                <a:cubicBezTo>
                  <a:pt x="4534969" y="6268370"/>
                  <a:pt x="4538814" y="6267492"/>
                  <a:pt x="4542310" y="6265738"/>
                </a:cubicBezTo>
                <a:cubicBezTo>
                  <a:pt x="4545805" y="6263983"/>
                  <a:pt x="4548252" y="6261703"/>
                  <a:pt x="4549825" y="6258895"/>
                </a:cubicBezTo>
                <a:lnTo>
                  <a:pt x="4550175" y="6258895"/>
                </a:lnTo>
                <a:lnTo>
                  <a:pt x="4550175" y="6259159"/>
                </a:lnTo>
                <a:lnTo>
                  <a:pt x="4550175" y="6267054"/>
                </a:lnTo>
                <a:lnTo>
                  <a:pt x="4564681" y="6267054"/>
                </a:lnTo>
                <a:lnTo>
                  <a:pt x="4564681" y="6229157"/>
                </a:lnTo>
                <a:cubicBezTo>
                  <a:pt x="4564681" y="6225999"/>
                  <a:pt x="4564331" y="6222841"/>
                  <a:pt x="4563458" y="6219771"/>
                </a:cubicBezTo>
                <a:cubicBezTo>
                  <a:pt x="4562584" y="6216700"/>
                  <a:pt x="4561186" y="6213893"/>
                  <a:pt x="4559088" y="6211349"/>
                </a:cubicBezTo>
                <a:cubicBezTo>
                  <a:pt x="4556991" y="6208805"/>
                  <a:pt x="4554195" y="6206788"/>
                  <a:pt x="4550612" y="6205209"/>
                </a:cubicBezTo>
                <a:cubicBezTo>
                  <a:pt x="4547029" y="6203630"/>
                  <a:pt x="4542485" y="6202840"/>
                  <a:pt x="4536979" y="6202840"/>
                </a:cubicBezTo>
                <a:close/>
                <a:moveTo>
                  <a:pt x="4355126" y="6202840"/>
                </a:moveTo>
                <a:cubicBezTo>
                  <a:pt x="4350320" y="6202840"/>
                  <a:pt x="4345688" y="6203630"/>
                  <a:pt x="4341057" y="6205296"/>
                </a:cubicBezTo>
                <a:cubicBezTo>
                  <a:pt x="4336425" y="6206875"/>
                  <a:pt x="4332318" y="6209332"/>
                  <a:pt x="4328822" y="6212665"/>
                </a:cubicBezTo>
                <a:lnTo>
                  <a:pt x="4336862" y="6222139"/>
                </a:lnTo>
                <a:cubicBezTo>
                  <a:pt x="4338872" y="6220122"/>
                  <a:pt x="4341319" y="6218455"/>
                  <a:pt x="4344377" y="6217051"/>
                </a:cubicBezTo>
                <a:cubicBezTo>
                  <a:pt x="4347349" y="6215648"/>
                  <a:pt x="4350495" y="6214946"/>
                  <a:pt x="4353815" y="6214946"/>
                </a:cubicBezTo>
                <a:cubicBezTo>
                  <a:pt x="4357748" y="6214946"/>
                  <a:pt x="4361069" y="6215911"/>
                  <a:pt x="4363865" y="6217753"/>
                </a:cubicBezTo>
                <a:cubicBezTo>
                  <a:pt x="4366661" y="6219595"/>
                  <a:pt x="4368060" y="6222490"/>
                  <a:pt x="4368060" y="6226350"/>
                </a:cubicBezTo>
                <a:lnTo>
                  <a:pt x="4368060" y="6227929"/>
                </a:lnTo>
                <a:cubicBezTo>
                  <a:pt x="4363166" y="6227929"/>
                  <a:pt x="4358272" y="6228192"/>
                  <a:pt x="4353204" y="6228631"/>
                </a:cubicBezTo>
                <a:cubicBezTo>
                  <a:pt x="4348135" y="6229069"/>
                  <a:pt x="4343504" y="6230034"/>
                  <a:pt x="4339396" y="6231526"/>
                </a:cubicBezTo>
                <a:cubicBezTo>
                  <a:pt x="4335289" y="6233017"/>
                  <a:pt x="4331881" y="6235122"/>
                  <a:pt x="4329259" y="6237929"/>
                </a:cubicBezTo>
                <a:cubicBezTo>
                  <a:pt x="4326638" y="6240649"/>
                  <a:pt x="4325327" y="6244421"/>
                  <a:pt x="4325327" y="6249070"/>
                </a:cubicBezTo>
                <a:cubicBezTo>
                  <a:pt x="4325327" y="6252667"/>
                  <a:pt x="4326113" y="6255737"/>
                  <a:pt x="4327599" y="6258194"/>
                </a:cubicBezTo>
                <a:cubicBezTo>
                  <a:pt x="4329085" y="6260650"/>
                  <a:pt x="4331007" y="6262668"/>
                  <a:pt x="4333279" y="6264159"/>
                </a:cubicBezTo>
                <a:cubicBezTo>
                  <a:pt x="4335551" y="6265650"/>
                  <a:pt x="4338086" y="6266791"/>
                  <a:pt x="4340795" y="6267405"/>
                </a:cubicBezTo>
                <a:cubicBezTo>
                  <a:pt x="4343591" y="6268019"/>
                  <a:pt x="4346125" y="6268370"/>
                  <a:pt x="4348659" y="6268370"/>
                </a:cubicBezTo>
                <a:cubicBezTo>
                  <a:pt x="4353116" y="6268370"/>
                  <a:pt x="4356961" y="6267492"/>
                  <a:pt x="4360457" y="6265738"/>
                </a:cubicBezTo>
                <a:cubicBezTo>
                  <a:pt x="4363952" y="6263983"/>
                  <a:pt x="4366399" y="6261703"/>
                  <a:pt x="4367972" y="6258895"/>
                </a:cubicBezTo>
                <a:lnTo>
                  <a:pt x="4368322" y="6258895"/>
                </a:lnTo>
                <a:lnTo>
                  <a:pt x="4368322" y="6259159"/>
                </a:lnTo>
                <a:lnTo>
                  <a:pt x="4368322" y="6267054"/>
                </a:lnTo>
                <a:lnTo>
                  <a:pt x="4382828" y="6267054"/>
                </a:lnTo>
                <a:lnTo>
                  <a:pt x="4382828" y="6229157"/>
                </a:lnTo>
                <a:cubicBezTo>
                  <a:pt x="4382828" y="6225999"/>
                  <a:pt x="4382478" y="6222841"/>
                  <a:pt x="4381605" y="6219771"/>
                </a:cubicBezTo>
                <a:cubicBezTo>
                  <a:pt x="4380731" y="6216700"/>
                  <a:pt x="4379333" y="6213893"/>
                  <a:pt x="4377235" y="6211349"/>
                </a:cubicBezTo>
                <a:cubicBezTo>
                  <a:pt x="4375138" y="6208805"/>
                  <a:pt x="4372341" y="6206788"/>
                  <a:pt x="4368759" y="6205209"/>
                </a:cubicBezTo>
                <a:cubicBezTo>
                  <a:pt x="4365176" y="6203630"/>
                  <a:pt x="4360632" y="6202840"/>
                  <a:pt x="4355126" y="6202840"/>
                </a:cubicBezTo>
                <a:close/>
                <a:moveTo>
                  <a:pt x="4244231" y="6202752"/>
                </a:moveTo>
                <a:cubicBezTo>
                  <a:pt x="4241085" y="6202752"/>
                  <a:pt x="4238114" y="6203103"/>
                  <a:pt x="4235143" y="6203892"/>
                </a:cubicBezTo>
                <a:cubicBezTo>
                  <a:pt x="4232259" y="6204682"/>
                  <a:pt x="4229638" y="6205910"/>
                  <a:pt x="4227278" y="6207489"/>
                </a:cubicBezTo>
                <a:cubicBezTo>
                  <a:pt x="4225006" y="6209068"/>
                  <a:pt x="4223084" y="6211086"/>
                  <a:pt x="4221685" y="6213630"/>
                </a:cubicBezTo>
                <a:cubicBezTo>
                  <a:pt x="4220287" y="6216086"/>
                  <a:pt x="4219588" y="6219156"/>
                  <a:pt x="4219588" y="6222578"/>
                </a:cubicBezTo>
                <a:cubicBezTo>
                  <a:pt x="4219588" y="6225472"/>
                  <a:pt x="4220112" y="6227929"/>
                  <a:pt x="4221161" y="6229946"/>
                </a:cubicBezTo>
                <a:cubicBezTo>
                  <a:pt x="4222122" y="6231964"/>
                  <a:pt x="4223521" y="6233631"/>
                  <a:pt x="4225268" y="6234947"/>
                </a:cubicBezTo>
                <a:cubicBezTo>
                  <a:pt x="4226929" y="6236262"/>
                  <a:pt x="4228939" y="6237403"/>
                  <a:pt x="4231123" y="6238192"/>
                </a:cubicBezTo>
                <a:cubicBezTo>
                  <a:pt x="4233308" y="6238982"/>
                  <a:pt x="4235580" y="6239684"/>
                  <a:pt x="4237940" y="6240210"/>
                </a:cubicBezTo>
                <a:cubicBezTo>
                  <a:pt x="4242658" y="6241263"/>
                  <a:pt x="4246241" y="6242403"/>
                  <a:pt x="4248601" y="6243543"/>
                </a:cubicBezTo>
                <a:cubicBezTo>
                  <a:pt x="4250960" y="6244684"/>
                  <a:pt x="4252184" y="6246526"/>
                  <a:pt x="4252184" y="6249158"/>
                </a:cubicBezTo>
                <a:cubicBezTo>
                  <a:pt x="4252184" y="6250561"/>
                  <a:pt x="4251922" y="6251702"/>
                  <a:pt x="4251310" y="6252667"/>
                </a:cubicBezTo>
                <a:cubicBezTo>
                  <a:pt x="4250698" y="6253632"/>
                  <a:pt x="4249912" y="6254421"/>
                  <a:pt x="4248950" y="6254948"/>
                </a:cubicBezTo>
                <a:cubicBezTo>
                  <a:pt x="4247989" y="6255474"/>
                  <a:pt x="4246853" y="6255913"/>
                  <a:pt x="4245717" y="6256176"/>
                </a:cubicBezTo>
                <a:cubicBezTo>
                  <a:pt x="4244581" y="6256439"/>
                  <a:pt x="4243445" y="6256527"/>
                  <a:pt x="4242309" y="6256527"/>
                </a:cubicBezTo>
                <a:cubicBezTo>
                  <a:pt x="4238988" y="6256527"/>
                  <a:pt x="4235930" y="6255825"/>
                  <a:pt x="4233133" y="6254334"/>
                </a:cubicBezTo>
                <a:cubicBezTo>
                  <a:pt x="4230337" y="6252842"/>
                  <a:pt x="4228152" y="6251000"/>
                  <a:pt x="4226404" y="6248719"/>
                </a:cubicBezTo>
                <a:lnTo>
                  <a:pt x="4216180" y="6258369"/>
                </a:lnTo>
                <a:cubicBezTo>
                  <a:pt x="4219151" y="6261702"/>
                  <a:pt x="4222996" y="6264246"/>
                  <a:pt x="4227540" y="6266001"/>
                </a:cubicBezTo>
                <a:cubicBezTo>
                  <a:pt x="4232085" y="6267755"/>
                  <a:pt x="4236803" y="6268632"/>
                  <a:pt x="4241610" y="6268632"/>
                </a:cubicBezTo>
                <a:cubicBezTo>
                  <a:pt x="4245018" y="6268632"/>
                  <a:pt x="4248251" y="6268194"/>
                  <a:pt x="4251397" y="6267492"/>
                </a:cubicBezTo>
                <a:cubicBezTo>
                  <a:pt x="4254543" y="6266703"/>
                  <a:pt x="4257340" y="6265562"/>
                  <a:pt x="4259699" y="6263895"/>
                </a:cubicBezTo>
                <a:cubicBezTo>
                  <a:pt x="4262058" y="6262316"/>
                  <a:pt x="4263981" y="6260123"/>
                  <a:pt x="4265379" y="6257492"/>
                </a:cubicBezTo>
                <a:cubicBezTo>
                  <a:pt x="4266777" y="6254860"/>
                  <a:pt x="4267477" y="6251614"/>
                  <a:pt x="4267477" y="6247842"/>
                </a:cubicBezTo>
                <a:cubicBezTo>
                  <a:pt x="4267477" y="6244859"/>
                  <a:pt x="4266865" y="6242228"/>
                  <a:pt x="4265641" y="6240122"/>
                </a:cubicBezTo>
                <a:cubicBezTo>
                  <a:pt x="4264418" y="6238017"/>
                  <a:pt x="4262845" y="6236175"/>
                  <a:pt x="4260922" y="6234771"/>
                </a:cubicBezTo>
                <a:cubicBezTo>
                  <a:pt x="4259000" y="6233368"/>
                  <a:pt x="4256815" y="6232227"/>
                  <a:pt x="4254456" y="6231350"/>
                </a:cubicBezTo>
                <a:cubicBezTo>
                  <a:pt x="4252096" y="6230473"/>
                  <a:pt x="4249737" y="6229771"/>
                  <a:pt x="4247377" y="6229245"/>
                </a:cubicBezTo>
                <a:cubicBezTo>
                  <a:pt x="4242921" y="6228192"/>
                  <a:pt x="4239600" y="6227139"/>
                  <a:pt x="4237328" y="6226174"/>
                </a:cubicBezTo>
                <a:cubicBezTo>
                  <a:pt x="4235056" y="6225209"/>
                  <a:pt x="4233920" y="6223455"/>
                  <a:pt x="4233920" y="6221086"/>
                </a:cubicBezTo>
                <a:cubicBezTo>
                  <a:pt x="4233920" y="6218718"/>
                  <a:pt x="4235056" y="6216963"/>
                  <a:pt x="4237066" y="6215911"/>
                </a:cubicBezTo>
                <a:cubicBezTo>
                  <a:pt x="4239076" y="6214858"/>
                  <a:pt x="4241348" y="6214332"/>
                  <a:pt x="4243882" y="6214332"/>
                </a:cubicBezTo>
                <a:cubicBezTo>
                  <a:pt x="4246678" y="6214332"/>
                  <a:pt x="4249300" y="6215033"/>
                  <a:pt x="4251747" y="6216349"/>
                </a:cubicBezTo>
                <a:cubicBezTo>
                  <a:pt x="4254106" y="6217665"/>
                  <a:pt x="4256029" y="6219244"/>
                  <a:pt x="4257427" y="6221086"/>
                </a:cubicBezTo>
                <a:lnTo>
                  <a:pt x="4257427" y="6221174"/>
                </a:lnTo>
                <a:lnTo>
                  <a:pt x="4267477" y="6212226"/>
                </a:lnTo>
                <a:cubicBezTo>
                  <a:pt x="4265030" y="6209068"/>
                  <a:pt x="4261622" y="6206700"/>
                  <a:pt x="4257340" y="6205121"/>
                </a:cubicBezTo>
                <a:cubicBezTo>
                  <a:pt x="4253058" y="6203542"/>
                  <a:pt x="4248688" y="6202752"/>
                  <a:pt x="4244231" y="6202752"/>
                </a:cubicBezTo>
                <a:close/>
                <a:moveTo>
                  <a:pt x="4470303" y="6202664"/>
                </a:moveTo>
                <a:cubicBezTo>
                  <a:pt x="4465671" y="6202664"/>
                  <a:pt x="4461652" y="6203892"/>
                  <a:pt x="4458243" y="6206261"/>
                </a:cubicBezTo>
                <a:cubicBezTo>
                  <a:pt x="4454835" y="6208629"/>
                  <a:pt x="4452476" y="6211349"/>
                  <a:pt x="4451078" y="6214507"/>
                </a:cubicBezTo>
                <a:lnTo>
                  <a:pt x="4450816" y="6214507"/>
                </a:lnTo>
                <a:lnTo>
                  <a:pt x="4450816" y="6204506"/>
                </a:lnTo>
                <a:lnTo>
                  <a:pt x="4436047" y="6204506"/>
                </a:lnTo>
                <a:lnTo>
                  <a:pt x="4436047" y="6266790"/>
                </a:lnTo>
                <a:lnTo>
                  <a:pt x="4451602" y="6266790"/>
                </a:lnTo>
                <a:lnTo>
                  <a:pt x="4451602" y="6232490"/>
                </a:lnTo>
                <a:cubicBezTo>
                  <a:pt x="4451602" y="6230472"/>
                  <a:pt x="4451864" y="6228367"/>
                  <a:pt x="4452476" y="6226349"/>
                </a:cubicBezTo>
                <a:cubicBezTo>
                  <a:pt x="4453088" y="6224332"/>
                  <a:pt x="4453961" y="6222577"/>
                  <a:pt x="4455097" y="6220998"/>
                </a:cubicBezTo>
                <a:cubicBezTo>
                  <a:pt x="4456234" y="6219419"/>
                  <a:pt x="4457719" y="6218103"/>
                  <a:pt x="4459554" y="6217138"/>
                </a:cubicBezTo>
                <a:cubicBezTo>
                  <a:pt x="4461389" y="6216173"/>
                  <a:pt x="4463487" y="6215647"/>
                  <a:pt x="4466021" y="6215647"/>
                </a:cubicBezTo>
                <a:cubicBezTo>
                  <a:pt x="4468555" y="6215647"/>
                  <a:pt x="4470565" y="6216173"/>
                  <a:pt x="4472051" y="6217226"/>
                </a:cubicBezTo>
                <a:cubicBezTo>
                  <a:pt x="4473624" y="6218279"/>
                  <a:pt x="4474760" y="6219595"/>
                  <a:pt x="4475634" y="6221174"/>
                </a:cubicBezTo>
                <a:cubicBezTo>
                  <a:pt x="4476507" y="6222753"/>
                  <a:pt x="4477032" y="6224507"/>
                  <a:pt x="4477294" y="6226525"/>
                </a:cubicBezTo>
                <a:cubicBezTo>
                  <a:pt x="4477556" y="6228542"/>
                  <a:pt x="4477644" y="6230385"/>
                  <a:pt x="4477644" y="6232227"/>
                </a:cubicBezTo>
                <a:lnTo>
                  <a:pt x="4477644" y="6266790"/>
                </a:lnTo>
                <a:lnTo>
                  <a:pt x="4493198" y="6266790"/>
                </a:lnTo>
                <a:lnTo>
                  <a:pt x="4493198" y="6227841"/>
                </a:lnTo>
                <a:cubicBezTo>
                  <a:pt x="4493198" y="6224595"/>
                  <a:pt x="4492762" y="6221525"/>
                  <a:pt x="4491888" y="6218454"/>
                </a:cubicBezTo>
                <a:cubicBezTo>
                  <a:pt x="4491014" y="6215384"/>
                  <a:pt x="4489616" y="6212664"/>
                  <a:pt x="4487780" y="6210384"/>
                </a:cubicBezTo>
                <a:cubicBezTo>
                  <a:pt x="4485945" y="6208103"/>
                  <a:pt x="4483586" y="6206173"/>
                  <a:pt x="4480702" y="6204769"/>
                </a:cubicBezTo>
                <a:cubicBezTo>
                  <a:pt x="4477818" y="6203366"/>
                  <a:pt x="4474323" y="6202664"/>
                  <a:pt x="4470303" y="6202664"/>
                </a:cubicBezTo>
                <a:close/>
                <a:moveTo>
                  <a:pt x="9486717" y="6201288"/>
                </a:moveTo>
                <a:lnTo>
                  <a:pt x="9486717" y="6239955"/>
                </a:lnTo>
                <a:lnTo>
                  <a:pt x="9478722" y="6232597"/>
                </a:lnTo>
                <a:cubicBezTo>
                  <a:pt x="9445032" y="6218038"/>
                  <a:pt x="9429973" y="6254826"/>
                  <a:pt x="9438822" y="6282691"/>
                </a:cubicBezTo>
                <a:cubicBezTo>
                  <a:pt x="9445964" y="6305234"/>
                  <a:pt x="9471347" y="6311104"/>
                  <a:pt x="9486717" y="6293023"/>
                </a:cubicBezTo>
                <a:lnTo>
                  <a:pt x="9487338" y="6302181"/>
                </a:lnTo>
                <a:lnTo>
                  <a:pt x="9487416" y="6302181"/>
                </a:lnTo>
                <a:lnTo>
                  <a:pt x="9496809" y="6302181"/>
                </a:lnTo>
                <a:lnTo>
                  <a:pt x="9496809" y="6201288"/>
                </a:lnTo>
                <a:close/>
                <a:moveTo>
                  <a:pt x="9248717" y="6201288"/>
                </a:moveTo>
                <a:lnTo>
                  <a:pt x="9248717" y="6302181"/>
                </a:lnTo>
                <a:lnTo>
                  <a:pt x="9259817" y="6302181"/>
                </a:lnTo>
                <a:lnTo>
                  <a:pt x="9259817" y="6212403"/>
                </a:lnTo>
                <a:lnTo>
                  <a:pt x="9289393" y="6292319"/>
                </a:lnTo>
                <a:lnTo>
                  <a:pt x="9302046" y="6292710"/>
                </a:lnTo>
                <a:lnTo>
                  <a:pt x="9331932" y="6212403"/>
                </a:lnTo>
                <a:lnTo>
                  <a:pt x="9331932" y="6302181"/>
                </a:lnTo>
                <a:lnTo>
                  <a:pt x="9343032" y="6302181"/>
                </a:lnTo>
                <a:lnTo>
                  <a:pt x="9343032" y="6201288"/>
                </a:lnTo>
                <a:lnTo>
                  <a:pt x="9324790" y="6201288"/>
                </a:lnTo>
                <a:lnTo>
                  <a:pt x="9296224" y="6281830"/>
                </a:lnTo>
                <a:lnTo>
                  <a:pt x="9266959" y="6201288"/>
                </a:lnTo>
                <a:close/>
                <a:moveTo>
                  <a:pt x="9197951" y="6201288"/>
                </a:moveTo>
                <a:lnTo>
                  <a:pt x="9042544" y="6201679"/>
                </a:lnTo>
                <a:lnTo>
                  <a:pt x="9040681" y="6207158"/>
                </a:lnTo>
                <a:lnTo>
                  <a:pt x="9193448" y="6207158"/>
                </a:lnTo>
                <a:lnTo>
                  <a:pt x="9225197" y="6298894"/>
                </a:lnTo>
                <a:lnTo>
                  <a:pt x="9164960" y="6253183"/>
                </a:lnTo>
                <a:lnTo>
                  <a:pt x="9024147" y="6253026"/>
                </a:lnTo>
                <a:lnTo>
                  <a:pt x="9021119" y="6260932"/>
                </a:lnTo>
                <a:lnTo>
                  <a:pt x="9163174" y="6260932"/>
                </a:lnTo>
                <a:lnTo>
                  <a:pt x="9218754" y="6304138"/>
                </a:lnTo>
                <a:lnTo>
                  <a:pt x="9005284" y="6304764"/>
                </a:lnTo>
                <a:cubicBezTo>
                  <a:pt x="9005284" y="6304764"/>
                  <a:pt x="9001635" y="6313922"/>
                  <a:pt x="9001635" y="6313922"/>
                </a:cubicBezTo>
                <a:lnTo>
                  <a:pt x="9203772" y="6313922"/>
                </a:lnTo>
                <a:lnTo>
                  <a:pt x="9101229" y="6356346"/>
                </a:lnTo>
                <a:lnTo>
                  <a:pt x="8986964" y="6356502"/>
                </a:lnTo>
                <a:cubicBezTo>
                  <a:pt x="8986110" y="6356502"/>
                  <a:pt x="8985877" y="6356894"/>
                  <a:pt x="8985489" y="6357598"/>
                </a:cubicBezTo>
                <a:cubicBezTo>
                  <a:pt x="8984169" y="6359790"/>
                  <a:pt x="8983238" y="6364956"/>
                  <a:pt x="8982151" y="6367617"/>
                </a:cubicBezTo>
                <a:lnTo>
                  <a:pt x="9102160" y="6367617"/>
                </a:lnTo>
                <a:cubicBezTo>
                  <a:pt x="9123740" y="6358616"/>
                  <a:pt x="9145243" y="6349223"/>
                  <a:pt x="9166900" y="6340457"/>
                </a:cubicBezTo>
                <a:cubicBezTo>
                  <a:pt x="9168763" y="6339752"/>
                  <a:pt x="9171325" y="6338265"/>
                  <a:pt x="9173343" y="6338500"/>
                </a:cubicBezTo>
                <a:lnTo>
                  <a:pt x="9068005" y="6408632"/>
                </a:lnTo>
                <a:lnTo>
                  <a:pt x="8967557" y="6408867"/>
                </a:lnTo>
                <a:lnTo>
                  <a:pt x="8963288" y="6420686"/>
                </a:lnTo>
                <a:lnTo>
                  <a:pt x="9072197" y="6420686"/>
                </a:lnTo>
                <a:cubicBezTo>
                  <a:pt x="9072197" y="6420686"/>
                  <a:pt x="9235677" y="6311809"/>
                  <a:pt x="9235677" y="6311809"/>
                </a:cubicBezTo>
                <a:lnTo>
                  <a:pt x="9235677" y="6310400"/>
                </a:lnTo>
                <a:close/>
                <a:moveTo>
                  <a:pt x="7231872" y="6196677"/>
                </a:moveTo>
                <a:lnTo>
                  <a:pt x="7258202" y="6196677"/>
                </a:lnTo>
                <a:lnTo>
                  <a:pt x="7272970" y="6201880"/>
                </a:lnTo>
                <a:cubicBezTo>
                  <a:pt x="7275266" y="6204483"/>
                  <a:pt x="7276261" y="6207620"/>
                  <a:pt x="7275725" y="6211600"/>
                </a:cubicBezTo>
                <a:lnTo>
                  <a:pt x="7275725" y="6211753"/>
                </a:lnTo>
                <a:cubicBezTo>
                  <a:pt x="7274883" y="6218794"/>
                  <a:pt x="7270368" y="6222544"/>
                  <a:pt x="7265699" y="6224840"/>
                </a:cubicBezTo>
                <a:cubicBezTo>
                  <a:pt x="7272281" y="6227213"/>
                  <a:pt x="7276567" y="6231193"/>
                  <a:pt x="7275572" y="6239152"/>
                </a:cubicBezTo>
                <a:lnTo>
                  <a:pt x="7275572" y="6239305"/>
                </a:lnTo>
                <a:cubicBezTo>
                  <a:pt x="7274348" y="6249790"/>
                  <a:pt x="7264934" y="6255454"/>
                  <a:pt x="7251847" y="6255454"/>
                </a:cubicBezTo>
                <a:lnTo>
                  <a:pt x="7224688" y="6255454"/>
                </a:lnTo>
                <a:close/>
                <a:moveTo>
                  <a:pt x="7478846" y="6192468"/>
                </a:moveTo>
                <a:cubicBezTo>
                  <a:pt x="7481677" y="6192697"/>
                  <a:pt x="7483973" y="6194917"/>
                  <a:pt x="7484279" y="6197748"/>
                </a:cubicBezTo>
                <a:lnTo>
                  <a:pt x="7478846" y="6192468"/>
                </a:lnTo>
                <a:close/>
                <a:moveTo>
                  <a:pt x="7478845" y="6192467"/>
                </a:moveTo>
                <a:lnTo>
                  <a:pt x="7478846" y="6192468"/>
                </a:lnTo>
                <a:lnTo>
                  <a:pt x="7472723" y="6196907"/>
                </a:lnTo>
                <a:lnTo>
                  <a:pt x="7450452" y="6292956"/>
                </a:lnTo>
                <a:lnTo>
                  <a:pt x="7450451" y="6292955"/>
                </a:lnTo>
                <a:lnTo>
                  <a:pt x="7472722" y="6196906"/>
                </a:lnTo>
                <a:cubicBezTo>
                  <a:pt x="7473411" y="6194151"/>
                  <a:pt x="7475936" y="6192314"/>
                  <a:pt x="7478845" y="6192467"/>
                </a:cubicBezTo>
                <a:close/>
                <a:moveTo>
                  <a:pt x="4285303" y="6186435"/>
                </a:moveTo>
                <a:lnTo>
                  <a:pt x="4285303" y="6204506"/>
                </a:lnTo>
                <a:lnTo>
                  <a:pt x="4274467" y="6204506"/>
                </a:lnTo>
                <a:lnTo>
                  <a:pt x="4274467" y="6216787"/>
                </a:lnTo>
                <a:lnTo>
                  <a:pt x="4285303" y="6216787"/>
                </a:lnTo>
                <a:lnTo>
                  <a:pt x="4285303" y="6245912"/>
                </a:lnTo>
                <a:cubicBezTo>
                  <a:pt x="4285303" y="6248982"/>
                  <a:pt x="4285653" y="6251789"/>
                  <a:pt x="4286177" y="6254421"/>
                </a:cubicBezTo>
                <a:cubicBezTo>
                  <a:pt x="4286789" y="6257053"/>
                  <a:pt x="4287837" y="6259421"/>
                  <a:pt x="4289323" y="6261439"/>
                </a:cubicBezTo>
                <a:cubicBezTo>
                  <a:pt x="4290808" y="6263456"/>
                  <a:pt x="4292818" y="6265123"/>
                  <a:pt x="4295440" y="6266264"/>
                </a:cubicBezTo>
                <a:cubicBezTo>
                  <a:pt x="4297974" y="6267404"/>
                  <a:pt x="4301382" y="6268018"/>
                  <a:pt x="4305490" y="6268018"/>
                </a:cubicBezTo>
                <a:cubicBezTo>
                  <a:pt x="4307237" y="6268018"/>
                  <a:pt x="4308985" y="6267843"/>
                  <a:pt x="4310908" y="6267579"/>
                </a:cubicBezTo>
                <a:cubicBezTo>
                  <a:pt x="4312743" y="6267316"/>
                  <a:pt x="4314403" y="6266878"/>
                  <a:pt x="4315801" y="6266351"/>
                </a:cubicBezTo>
                <a:lnTo>
                  <a:pt x="4315277" y="6254158"/>
                </a:lnTo>
                <a:cubicBezTo>
                  <a:pt x="4314316" y="6254596"/>
                  <a:pt x="4313267" y="6254947"/>
                  <a:pt x="4312044" y="6255123"/>
                </a:cubicBezTo>
                <a:cubicBezTo>
                  <a:pt x="4310908" y="6255386"/>
                  <a:pt x="4309772" y="6255474"/>
                  <a:pt x="4308723" y="6255474"/>
                </a:cubicBezTo>
                <a:cubicBezTo>
                  <a:pt x="4305315" y="6255474"/>
                  <a:pt x="4303043" y="6254596"/>
                  <a:pt x="4302081" y="6252754"/>
                </a:cubicBezTo>
                <a:cubicBezTo>
                  <a:pt x="4301120" y="6251000"/>
                  <a:pt x="4300596" y="6248719"/>
                  <a:pt x="4300596" y="6245912"/>
                </a:cubicBezTo>
                <a:lnTo>
                  <a:pt x="4300596" y="6216963"/>
                </a:lnTo>
                <a:lnTo>
                  <a:pt x="4316151" y="6216963"/>
                </a:lnTo>
                <a:lnTo>
                  <a:pt x="4316151" y="6204506"/>
                </a:lnTo>
                <a:lnTo>
                  <a:pt x="4300596" y="6204506"/>
                </a:lnTo>
                <a:lnTo>
                  <a:pt x="4300596" y="6186435"/>
                </a:lnTo>
                <a:close/>
                <a:moveTo>
                  <a:pt x="4409044" y="6173891"/>
                </a:moveTo>
                <a:cubicBezTo>
                  <a:pt x="4406160" y="6173891"/>
                  <a:pt x="4403801" y="6174856"/>
                  <a:pt x="4401965" y="6176698"/>
                </a:cubicBezTo>
                <a:lnTo>
                  <a:pt x="4399206" y="6183190"/>
                </a:lnTo>
                <a:lnTo>
                  <a:pt x="4399169" y="6183102"/>
                </a:lnTo>
                <a:lnTo>
                  <a:pt x="4399169" y="6183277"/>
                </a:lnTo>
                <a:lnTo>
                  <a:pt x="4399206" y="6183190"/>
                </a:lnTo>
                <a:lnTo>
                  <a:pt x="4401965" y="6189681"/>
                </a:lnTo>
                <a:cubicBezTo>
                  <a:pt x="4403888" y="6191523"/>
                  <a:pt x="4406247" y="6192488"/>
                  <a:pt x="4409044" y="6192488"/>
                </a:cubicBezTo>
                <a:cubicBezTo>
                  <a:pt x="4411840" y="6192488"/>
                  <a:pt x="4414287" y="6191611"/>
                  <a:pt x="4416210" y="6189857"/>
                </a:cubicBezTo>
                <a:cubicBezTo>
                  <a:pt x="4418132" y="6188102"/>
                  <a:pt x="4419093" y="6185821"/>
                  <a:pt x="4419093" y="6183190"/>
                </a:cubicBezTo>
                <a:cubicBezTo>
                  <a:pt x="4419093" y="6180558"/>
                  <a:pt x="4418132" y="6178277"/>
                  <a:pt x="4416210" y="6176523"/>
                </a:cubicBezTo>
                <a:cubicBezTo>
                  <a:pt x="4414287" y="6174768"/>
                  <a:pt x="4411928" y="6173891"/>
                  <a:pt x="4409044" y="6173891"/>
                </a:cubicBezTo>
                <a:close/>
                <a:moveTo>
                  <a:pt x="3992906" y="6172487"/>
                </a:moveTo>
                <a:lnTo>
                  <a:pt x="3992906" y="6550400"/>
                </a:lnTo>
                <a:lnTo>
                  <a:pt x="4003217" y="6550400"/>
                </a:lnTo>
                <a:lnTo>
                  <a:pt x="4003217" y="6172487"/>
                </a:lnTo>
                <a:close/>
                <a:moveTo>
                  <a:pt x="4105896" y="6172400"/>
                </a:moveTo>
                <a:cubicBezTo>
                  <a:pt x="4101789" y="6172400"/>
                  <a:pt x="4097682" y="6173014"/>
                  <a:pt x="4093663" y="6174067"/>
                </a:cubicBezTo>
                <a:cubicBezTo>
                  <a:pt x="4089642" y="6175119"/>
                  <a:pt x="4086060" y="6176786"/>
                  <a:pt x="4082913" y="6178979"/>
                </a:cubicBezTo>
                <a:cubicBezTo>
                  <a:pt x="4079767" y="6181172"/>
                  <a:pt x="4077233" y="6183980"/>
                  <a:pt x="4075312" y="6187313"/>
                </a:cubicBezTo>
                <a:cubicBezTo>
                  <a:pt x="4073388" y="6190734"/>
                  <a:pt x="4072428" y="6194770"/>
                  <a:pt x="4072428" y="6199419"/>
                </a:cubicBezTo>
                <a:cubicBezTo>
                  <a:pt x="4072428" y="6203805"/>
                  <a:pt x="4073127" y="6207402"/>
                  <a:pt x="4074525" y="6210297"/>
                </a:cubicBezTo>
                <a:cubicBezTo>
                  <a:pt x="4075835" y="6213191"/>
                  <a:pt x="4077670" y="6215648"/>
                  <a:pt x="4079855" y="6217665"/>
                </a:cubicBezTo>
                <a:cubicBezTo>
                  <a:pt x="4082039" y="6219683"/>
                  <a:pt x="4084486" y="6221262"/>
                  <a:pt x="4087283" y="6222490"/>
                </a:cubicBezTo>
                <a:cubicBezTo>
                  <a:pt x="4090080" y="6223718"/>
                  <a:pt x="4092788" y="6224771"/>
                  <a:pt x="4095585" y="6225648"/>
                </a:cubicBezTo>
                <a:cubicBezTo>
                  <a:pt x="4098382" y="6226613"/>
                  <a:pt x="4101090" y="6227490"/>
                  <a:pt x="4103713" y="6228368"/>
                </a:cubicBezTo>
                <a:cubicBezTo>
                  <a:pt x="4106334" y="6229245"/>
                  <a:pt x="4108519" y="6230298"/>
                  <a:pt x="4110440" y="6231438"/>
                </a:cubicBezTo>
                <a:cubicBezTo>
                  <a:pt x="4112364" y="6232578"/>
                  <a:pt x="4113850" y="6233982"/>
                  <a:pt x="4114985" y="6235561"/>
                </a:cubicBezTo>
                <a:cubicBezTo>
                  <a:pt x="4116122" y="6237140"/>
                  <a:pt x="4116645" y="6239070"/>
                  <a:pt x="4116645" y="6241614"/>
                </a:cubicBezTo>
                <a:cubicBezTo>
                  <a:pt x="4116645" y="6244158"/>
                  <a:pt x="4116122" y="6246263"/>
                  <a:pt x="4115159" y="6247930"/>
                </a:cubicBezTo>
                <a:cubicBezTo>
                  <a:pt x="4114198" y="6249597"/>
                  <a:pt x="4112887" y="6251000"/>
                  <a:pt x="4111314" y="6252141"/>
                </a:cubicBezTo>
                <a:cubicBezTo>
                  <a:pt x="4109741" y="6253193"/>
                  <a:pt x="4107994" y="6254071"/>
                  <a:pt x="4105985" y="6254509"/>
                </a:cubicBezTo>
                <a:cubicBezTo>
                  <a:pt x="4103975" y="6254948"/>
                  <a:pt x="4102051" y="6255211"/>
                  <a:pt x="4100129" y="6255211"/>
                </a:cubicBezTo>
                <a:cubicBezTo>
                  <a:pt x="4096458" y="6255211"/>
                  <a:pt x="4092788" y="6254246"/>
                  <a:pt x="4089030" y="6252492"/>
                </a:cubicBezTo>
                <a:cubicBezTo>
                  <a:pt x="4085274" y="6250737"/>
                  <a:pt x="4082302" y="6248281"/>
                  <a:pt x="4080031" y="6245123"/>
                </a:cubicBezTo>
                <a:lnTo>
                  <a:pt x="4068408" y="6256001"/>
                </a:lnTo>
                <a:cubicBezTo>
                  <a:pt x="4072077" y="6260387"/>
                  <a:pt x="4076710" y="6263633"/>
                  <a:pt x="4082390" y="6265826"/>
                </a:cubicBezTo>
                <a:cubicBezTo>
                  <a:pt x="4088069" y="6268019"/>
                  <a:pt x="4093924" y="6269159"/>
                  <a:pt x="4099867" y="6269159"/>
                </a:cubicBezTo>
                <a:cubicBezTo>
                  <a:pt x="4104412" y="6269159"/>
                  <a:pt x="4108693" y="6268545"/>
                  <a:pt x="4112713" y="6267317"/>
                </a:cubicBezTo>
                <a:cubicBezTo>
                  <a:pt x="4116732" y="6266089"/>
                  <a:pt x="4120228" y="6264334"/>
                  <a:pt x="4123287" y="6261878"/>
                </a:cubicBezTo>
                <a:cubicBezTo>
                  <a:pt x="4126346" y="6259510"/>
                  <a:pt x="4128704" y="6256439"/>
                  <a:pt x="4130540" y="6252755"/>
                </a:cubicBezTo>
                <a:cubicBezTo>
                  <a:pt x="4132376" y="6249070"/>
                  <a:pt x="4133249" y="6244772"/>
                  <a:pt x="4133249" y="6239859"/>
                </a:cubicBezTo>
                <a:cubicBezTo>
                  <a:pt x="4133249" y="6235298"/>
                  <a:pt x="4132376" y="6231613"/>
                  <a:pt x="4130715" y="6228543"/>
                </a:cubicBezTo>
                <a:cubicBezTo>
                  <a:pt x="4129054" y="6225473"/>
                  <a:pt x="4126870" y="6223017"/>
                  <a:pt x="4124248" y="6220999"/>
                </a:cubicBezTo>
                <a:cubicBezTo>
                  <a:pt x="4121627" y="6218981"/>
                  <a:pt x="4118742" y="6217402"/>
                  <a:pt x="4115597" y="6216174"/>
                </a:cubicBezTo>
                <a:cubicBezTo>
                  <a:pt x="4112451" y="6214946"/>
                  <a:pt x="4109479" y="6213893"/>
                  <a:pt x="4106508" y="6212928"/>
                </a:cubicBezTo>
                <a:cubicBezTo>
                  <a:pt x="4103975" y="6212139"/>
                  <a:pt x="4101615" y="6211349"/>
                  <a:pt x="4099430" y="6210560"/>
                </a:cubicBezTo>
                <a:cubicBezTo>
                  <a:pt x="4097245" y="6209770"/>
                  <a:pt x="4095411" y="6208893"/>
                  <a:pt x="4093924" y="6207840"/>
                </a:cubicBezTo>
                <a:cubicBezTo>
                  <a:pt x="4092352" y="6206788"/>
                  <a:pt x="4091215" y="6205560"/>
                  <a:pt x="4090341" y="6204068"/>
                </a:cubicBezTo>
                <a:cubicBezTo>
                  <a:pt x="4089468" y="6202577"/>
                  <a:pt x="4089030" y="6200822"/>
                  <a:pt x="4089030" y="6198717"/>
                </a:cubicBezTo>
                <a:cubicBezTo>
                  <a:pt x="4089030" y="6196436"/>
                  <a:pt x="4089555" y="6194506"/>
                  <a:pt x="4090516" y="6192927"/>
                </a:cubicBezTo>
                <a:cubicBezTo>
                  <a:pt x="4091566" y="6191348"/>
                  <a:pt x="4092788" y="6190032"/>
                  <a:pt x="4094361" y="6189067"/>
                </a:cubicBezTo>
                <a:cubicBezTo>
                  <a:pt x="4095934" y="6188103"/>
                  <a:pt x="4097595" y="6187313"/>
                  <a:pt x="4099517" y="6186874"/>
                </a:cubicBezTo>
                <a:cubicBezTo>
                  <a:pt x="4101440" y="6186436"/>
                  <a:pt x="4103275" y="6186173"/>
                  <a:pt x="4105197" y="6186173"/>
                </a:cubicBezTo>
                <a:cubicBezTo>
                  <a:pt x="4108432" y="6186173"/>
                  <a:pt x="4111577" y="6186962"/>
                  <a:pt x="4114723" y="6188453"/>
                </a:cubicBezTo>
                <a:cubicBezTo>
                  <a:pt x="4117869" y="6189945"/>
                  <a:pt x="4120315" y="6191787"/>
                  <a:pt x="4122063" y="6194068"/>
                </a:cubicBezTo>
                <a:lnTo>
                  <a:pt x="4121976" y="6193892"/>
                </a:lnTo>
                <a:lnTo>
                  <a:pt x="4132550" y="6182225"/>
                </a:lnTo>
                <a:cubicBezTo>
                  <a:pt x="4128967" y="6178979"/>
                  <a:pt x="4124860" y="6176523"/>
                  <a:pt x="4120054" y="6174856"/>
                </a:cubicBezTo>
                <a:cubicBezTo>
                  <a:pt x="4115248" y="6173190"/>
                  <a:pt x="4110528" y="6172400"/>
                  <a:pt x="4105896" y="6172400"/>
                </a:cubicBezTo>
                <a:close/>
                <a:moveTo>
                  <a:pt x="3294950" y="6168726"/>
                </a:moveTo>
                <a:cubicBezTo>
                  <a:pt x="3288906" y="6168539"/>
                  <a:pt x="3281325" y="6168496"/>
                  <a:pt x="3274091" y="6168978"/>
                </a:cubicBezTo>
                <a:cubicBezTo>
                  <a:pt x="3263087" y="6169680"/>
                  <a:pt x="3252257" y="6171347"/>
                  <a:pt x="3241600" y="6174154"/>
                </a:cubicBezTo>
                <a:cubicBezTo>
                  <a:pt x="3196808" y="6185909"/>
                  <a:pt x="3160591" y="6210647"/>
                  <a:pt x="3133561" y="6248720"/>
                </a:cubicBezTo>
                <a:cubicBezTo>
                  <a:pt x="3109040" y="6283194"/>
                  <a:pt x="3097430" y="6321968"/>
                  <a:pt x="3098123" y="6364427"/>
                </a:cubicBezTo>
                <a:cubicBezTo>
                  <a:pt x="3098383" y="6378638"/>
                  <a:pt x="3100117" y="6392762"/>
                  <a:pt x="3103582" y="6406534"/>
                </a:cubicBezTo>
                <a:cubicBezTo>
                  <a:pt x="3113805" y="6447413"/>
                  <a:pt x="3134859" y="6481450"/>
                  <a:pt x="3166916" y="6508381"/>
                </a:cubicBezTo>
                <a:cubicBezTo>
                  <a:pt x="3199579" y="6535839"/>
                  <a:pt x="3237355" y="6550226"/>
                  <a:pt x="3279723" y="6552331"/>
                </a:cubicBezTo>
                <a:cubicBezTo>
                  <a:pt x="3296444" y="6553120"/>
                  <a:pt x="3313165" y="6551804"/>
                  <a:pt x="3329542" y="6547770"/>
                </a:cubicBezTo>
                <a:cubicBezTo>
                  <a:pt x="3387156" y="6533646"/>
                  <a:pt x="3429958" y="6499960"/>
                  <a:pt x="3457162" y="6446624"/>
                </a:cubicBezTo>
                <a:cubicBezTo>
                  <a:pt x="3475184" y="6411183"/>
                  <a:pt x="3480815" y="6373374"/>
                  <a:pt x="3475616" y="6333899"/>
                </a:cubicBezTo>
                <a:cubicBezTo>
                  <a:pt x="3472672" y="6311793"/>
                  <a:pt x="3466087" y="6290915"/>
                  <a:pt x="3455777" y="6271264"/>
                </a:cubicBezTo>
                <a:cubicBezTo>
                  <a:pt x="3435329" y="6232490"/>
                  <a:pt x="3405352" y="6203717"/>
                  <a:pt x="3365843" y="6185383"/>
                </a:cubicBezTo>
                <a:cubicBezTo>
                  <a:pt x="3346956" y="6176610"/>
                  <a:pt x="3327202" y="6171347"/>
                  <a:pt x="3306494" y="6169329"/>
                </a:cubicBezTo>
                <a:lnTo>
                  <a:pt x="3306580" y="6169329"/>
                </a:lnTo>
                <a:cubicBezTo>
                  <a:pt x="3305498" y="6169241"/>
                  <a:pt x="3300992" y="6168912"/>
                  <a:pt x="3294950" y="6168726"/>
                </a:cubicBezTo>
                <a:close/>
                <a:moveTo>
                  <a:pt x="4664216" y="6168628"/>
                </a:moveTo>
                <a:lnTo>
                  <a:pt x="4664216" y="6266791"/>
                </a:lnTo>
                <a:lnTo>
                  <a:pt x="4679771" y="6266791"/>
                </a:lnTo>
                <a:lnTo>
                  <a:pt x="4679771" y="6168628"/>
                </a:lnTo>
                <a:close/>
                <a:moveTo>
                  <a:pt x="4582945" y="6168628"/>
                </a:moveTo>
                <a:lnTo>
                  <a:pt x="4582945" y="6266703"/>
                </a:lnTo>
                <a:lnTo>
                  <a:pt x="4597714" y="6266703"/>
                </a:lnTo>
                <a:lnTo>
                  <a:pt x="4597714" y="6257317"/>
                </a:lnTo>
                <a:lnTo>
                  <a:pt x="4597976" y="6257317"/>
                </a:lnTo>
                <a:cubicBezTo>
                  <a:pt x="4600160" y="6261001"/>
                  <a:pt x="4603132" y="6263720"/>
                  <a:pt x="4606977" y="6265650"/>
                </a:cubicBezTo>
                <a:cubicBezTo>
                  <a:pt x="4610822" y="6267580"/>
                  <a:pt x="4614929" y="6268545"/>
                  <a:pt x="4619298" y="6268545"/>
                </a:cubicBezTo>
                <a:cubicBezTo>
                  <a:pt x="4624017" y="6268545"/>
                  <a:pt x="4628299" y="6267668"/>
                  <a:pt x="4632057" y="6265914"/>
                </a:cubicBezTo>
                <a:cubicBezTo>
                  <a:pt x="4635815" y="6264159"/>
                  <a:pt x="4639048" y="6261791"/>
                  <a:pt x="4641669" y="6258808"/>
                </a:cubicBezTo>
                <a:cubicBezTo>
                  <a:pt x="4644379" y="6255825"/>
                  <a:pt x="4646388" y="6252316"/>
                  <a:pt x="4647787" y="6248281"/>
                </a:cubicBezTo>
                <a:cubicBezTo>
                  <a:pt x="4649185" y="6244246"/>
                  <a:pt x="4649884" y="6240035"/>
                  <a:pt x="4649884" y="6235386"/>
                </a:cubicBezTo>
                <a:cubicBezTo>
                  <a:pt x="4649884" y="6230736"/>
                  <a:pt x="4649185" y="6226438"/>
                  <a:pt x="4647699" y="6222490"/>
                </a:cubicBezTo>
                <a:cubicBezTo>
                  <a:pt x="4646214" y="6218543"/>
                  <a:pt x="4644204" y="6215122"/>
                  <a:pt x="4641495" y="6212139"/>
                </a:cubicBezTo>
                <a:cubicBezTo>
                  <a:pt x="4638786" y="6209244"/>
                  <a:pt x="4635552" y="6206876"/>
                  <a:pt x="4631882" y="6205209"/>
                </a:cubicBezTo>
                <a:cubicBezTo>
                  <a:pt x="4628212" y="6203542"/>
                  <a:pt x="4624105" y="6202665"/>
                  <a:pt x="4619735" y="6202665"/>
                </a:cubicBezTo>
                <a:cubicBezTo>
                  <a:pt x="4616939" y="6202665"/>
                  <a:pt x="4614405" y="6203016"/>
                  <a:pt x="4612132" y="6203630"/>
                </a:cubicBezTo>
                <a:cubicBezTo>
                  <a:pt x="4609948" y="6204244"/>
                  <a:pt x="4607938" y="6205033"/>
                  <a:pt x="4606278" y="6205998"/>
                </a:cubicBezTo>
                <a:cubicBezTo>
                  <a:pt x="4604530" y="6206963"/>
                  <a:pt x="4603132" y="6208016"/>
                  <a:pt x="4601908" y="6209156"/>
                </a:cubicBezTo>
                <a:cubicBezTo>
                  <a:pt x="4600685" y="6210297"/>
                  <a:pt x="4599723" y="6211349"/>
                  <a:pt x="4598937" y="6212402"/>
                </a:cubicBezTo>
                <a:lnTo>
                  <a:pt x="4598587" y="6212402"/>
                </a:lnTo>
                <a:lnTo>
                  <a:pt x="4598587" y="6168628"/>
                </a:lnTo>
                <a:lnTo>
                  <a:pt x="4598500" y="6168628"/>
                </a:lnTo>
                <a:close/>
                <a:moveTo>
                  <a:pt x="7532112" y="6160783"/>
                </a:moveTo>
                <a:lnTo>
                  <a:pt x="7532113" y="6160783"/>
                </a:lnTo>
                <a:lnTo>
                  <a:pt x="7532113" y="6295788"/>
                </a:lnTo>
                <a:lnTo>
                  <a:pt x="7526755" y="6295788"/>
                </a:lnTo>
                <a:lnTo>
                  <a:pt x="7523466" y="6293686"/>
                </a:lnTo>
                <a:lnTo>
                  <a:pt x="7526755" y="6295787"/>
                </a:lnTo>
                <a:lnTo>
                  <a:pt x="7532112" y="6295787"/>
                </a:lnTo>
                <a:close/>
                <a:moveTo>
                  <a:pt x="6729737" y="6152004"/>
                </a:moveTo>
                <a:lnTo>
                  <a:pt x="6684135" y="6161508"/>
                </a:lnTo>
                <a:lnTo>
                  <a:pt x="6684099" y="6161454"/>
                </a:lnTo>
                <a:lnTo>
                  <a:pt x="6684021" y="6161532"/>
                </a:lnTo>
                <a:cubicBezTo>
                  <a:pt x="6674816" y="6165289"/>
                  <a:pt x="6667545" y="6168968"/>
                  <a:pt x="6659423" y="6175073"/>
                </a:cubicBezTo>
                <a:cubicBezTo>
                  <a:pt x="6608294" y="6213662"/>
                  <a:pt x="6599476" y="6284734"/>
                  <a:pt x="6625775" y="6341246"/>
                </a:cubicBezTo>
                <a:lnTo>
                  <a:pt x="6655710" y="6320661"/>
                </a:lnTo>
                <a:cubicBezTo>
                  <a:pt x="6654009" y="6314321"/>
                  <a:pt x="6651224" y="6308215"/>
                  <a:pt x="6649600" y="6301719"/>
                </a:cubicBezTo>
                <a:cubicBezTo>
                  <a:pt x="6641246" y="6267494"/>
                  <a:pt x="6648773" y="6229923"/>
                  <a:pt x="6672377" y="6206012"/>
                </a:cubicBezTo>
                <a:lnTo>
                  <a:pt x="6701257" y="6187343"/>
                </a:lnTo>
                <a:lnTo>
                  <a:pt x="6701270" y="6187362"/>
                </a:lnTo>
                <a:cubicBezTo>
                  <a:pt x="6730432" y="6176404"/>
                  <a:pt x="6768180" y="6182352"/>
                  <a:pt x="6789065" y="6206695"/>
                </a:cubicBezTo>
                <a:cubicBezTo>
                  <a:pt x="6812116" y="6233621"/>
                  <a:pt x="6814436" y="6283637"/>
                  <a:pt x="6786822" y="6308137"/>
                </a:cubicBezTo>
                <a:cubicBezTo>
                  <a:pt x="6756809" y="6334828"/>
                  <a:pt x="6703746" y="6322931"/>
                  <a:pt x="6696011" y="6280663"/>
                </a:cubicBezTo>
                <a:cubicBezTo>
                  <a:pt x="6691602" y="6256086"/>
                  <a:pt x="6703591" y="6224072"/>
                  <a:pt x="6731902" y="6223290"/>
                </a:cubicBezTo>
                <a:lnTo>
                  <a:pt x="6731883" y="6223229"/>
                </a:lnTo>
                <a:lnTo>
                  <a:pt x="6750699" y="6229081"/>
                </a:lnTo>
                <a:cubicBezTo>
                  <a:pt x="6757893" y="6235343"/>
                  <a:pt x="6758357" y="6248337"/>
                  <a:pt x="6751240" y="6254677"/>
                </a:cubicBezTo>
                <a:cubicBezTo>
                  <a:pt x="6752478" y="6254598"/>
                  <a:pt x="6752710" y="6255538"/>
                  <a:pt x="6753252" y="6256320"/>
                </a:cubicBezTo>
                <a:lnTo>
                  <a:pt x="6753278" y="6256358"/>
                </a:lnTo>
                <a:lnTo>
                  <a:pt x="6751318" y="6254755"/>
                </a:lnTo>
                <a:lnTo>
                  <a:pt x="6751395" y="6254833"/>
                </a:lnTo>
                <a:cubicBezTo>
                  <a:pt x="6746445" y="6259217"/>
                  <a:pt x="6736157" y="6260469"/>
                  <a:pt x="6730046" y="6258356"/>
                </a:cubicBezTo>
                <a:cubicBezTo>
                  <a:pt x="6727648" y="6261095"/>
                  <a:pt x="6717593" y="6265870"/>
                  <a:pt x="6716046" y="6268296"/>
                </a:cubicBezTo>
                <a:cubicBezTo>
                  <a:pt x="6715659" y="6268844"/>
                  <a:pt x="6715813" y="6268844"/>
                  <a:pt x="6716046" y="6269392"/>
                </a:cubicBezTo>
                <a:cubicBezTo>
                  <a:pt x="6716896" y="6271192"/>
                  <a:pt x="6722156" y="6277063"/>
                  <a:pt x="6723858" y="6278941"/>
                </a:cubicBezTo>
                <a:cubicBezTo>
                  <a:pt x="6733295" y="6289508"/>
                  <a:pt x="6745130" y="6299527"/>
                  <a:pt x="6756733" y="6307511"/>
                </a:cubicBezTo>
                <a:cubicBezTo>
                  <a:pt x="6758512" y="6305945"/>
                  <a:pt x="6771120" y="6298040"/>
                  <a:pt x="6771352" y="6297179"/>
                </a:cubicBezTo>
                <a:cubicBezTo>
                  <a:pt x="6771739" y="6295613"/>
                  <a:pt x="6749771" y="6279489"/>
                  <a:pt x="6747992" y="6275810"/>
                </a:cubicBezTo>
                <a:cubicBezTo>
                  <a:pt x="6752633" y="6274871"/>
                  <a:pt x="6757429" y="6273384"/>
                  <a:pt x="6761528" y="6271036"/>
                </a:cubicBezTo>
                <a:cubicBezTo>
                  <a:pt x="6762070" y="6270801"/>
                  <a:pt x="6761915" y="6269940"/>
                  <a:pt x="6761915" y="6269940"/>
                </a:cubicBezTo>
                <a:lnTo>
                  <a:pt x="6761878" y="6269843"/>
                </a:lnTo>
                <a:lnTo>
                  <a:pt x="6765396" y="6268140"/>
                </a:lnTo>
                <a:cubicBezTo>
                  <a:pt x="6778159" y="6257808"/>
                  <a:pt x="6780634" y="6239883"/>
                  <a:pt x="6774137" y="6225090"/>
                </a:cubicBezTo>
                <a:cubicBezTo>
                  <a:pt x="6765009" y="6204504"/>
                  <a:pt x="6740102" y="6199729"/>
                  <a:pt x="6720145" y="6204112"/>
                </a:cubicBezTo>
                <a:lnTo>
                  <a:pt x="6720197" y="6204191"/>
                </a:lnTo>
                <a:lnTo>
                  <a:pt x="6720145" y="6204191"/>
                </a:lnTo>
                <a:cubicBezTo>
                  <a:pt x="6677214" y="6213505"/>
                  <a:pt x="6661125" y="6262191"/>
                  <a:pt x="6676286" y="6301093"/>
                </a:cubicBezTo>
                <a:cubicBezTo>
                  <a:pt x="6691021" y="6338899"/>
                  <a:pt x="6731645" y="6353942"/>
                  <a:pt x="6768006" y="6346090"/>
                </a:cubicBezTo>
                <a:lnTo>
                  <a:pt x="6801790" y="6330618"/>
                </a:lnTo>
                <a:lnTo>
                  <a:pt x="6801750" y="6330679"/>
                </a:lnTo>
                <a:lnTo>
                  <a:pt x="6801828" y="6330601"/>
                </a:lnTo>
                <a:lnTo>
                  <a:pt x="6801815" y="6330582"/>
                </a:lnTo>
                <a:lnTo>
                  <a:pt x="6832816" y="6283853"/>
                </a:lnTo>
                <a:cubicBezTo>
                  <a:pt x="6837680" y="6265732"/>
                  <a:pt x="6837255" y="6245871"/>
                  <a:pt x="6832150" y="6226576"/>
                </a:cubicBezTo>
                <a:cubicBezTo>
                  <a:pt x="6819038" y="6177030"/>
                  <a:pt x="6775644" y="6151346"/>
                  <a:pt x="6729737" y="6152004"/>
                </a:cubicBezTo>
                <a:close/>
                <a:moveTo>
                  <a:pt x="7192917" y="6151905"/>
                </a:moveTo>
                <a:lnTo>
                  <a:pt x="7192917" y="6499979"/>
                </a:lnTo>
                <a:lnTo>
                  <a:pt x="7540991" y="6499979"/>
                </a:lnTo>
                <a:lnTo>
                  <a:pt x="7540991" y="6151905"/>
                </a:lnTo>
                <a:close/>
                <a:moveTo>
                  <a:pt x="10851357" y="6151401"/>
                </a:moveTo>
                <a:lnTo>
                  <a:pt x="10851357" y="6495801"/>
                </a:lnTo>
                <a:lnTo>
                  <a:pt x="10862157" y="6495801"/>
                </a:lnTo>
                <a:lnTo>
                  <a:pt x="10862157" y="6151401"/>
                </a:lnTo>
                <a:close/>
                <a:moveTo>
                  <a:pt x="10038531" y="6151401"/>
                </a:moveTo>
                <a:lnTo>
                  <a:pt x="10038531" y="6495801"/>
                </a:lnTo>
                <a:lnTo>
                  <a:pt x="10049331" y="6495801"/>
                </a:lnTo>
                <a:lnTo>
                  <a:pt x="10049331" y="6151401"/>
                </a:lnTo>
                <a:close/>
                <a:moveTo>
                  <a:pt x="7009065" y="6151401"/>
                </a:moveTo>
                <a:lnTo>
                  <a:pt x="7009065" y="6495801"/>
                </a:lnTo>
                <a:lnTo>
                  <a:pt x="7019865" y="6495801"/>
                </a:lnTo>
                <a:lnTo>
                  <a:pt x="7019865" y="6151401"/>
                </a:lnTo>
                <a:close/>
                <a:moveTo>
                  <a:pt x="10347127" y="6149004"/>
                </a:moveTo>
                <a:lnTo>
                  <a:pt x="10347127" y="6165253"/>
                </a:lnTo>
                <a:cubicBezTo>
                  <a:pt x="10337476" y="6174770"/>
                  <a:pt x="10327747" y="6167187"/>
                  <a:pt x="10332962" y="6155039"/>
                </a:cubicBezTo>
                <a:close/>
                <a:moveTo>
                  <a:pt x="10431465" y="6124196"/>
                </a:moveTo>
                <a:cubicBezTo>
                  <a:pt x="10436592" y="6123993"/>
                  <a:pt x="10441534" y="6128036"/>
                  <a:pt x="10442157" y="6136934"/>
                </a:cubicBezTo>
                <a:lnTo>
                  <a:pt x="10419664" y="6136934"/>
                </a:lnTo>
                <a:cubicBezTo>
                  <a:pt x="10421026" y="6128848"/>
                  <a:pt x="10426338" y="6124399"/>
                  <a:pt x="10431465" y="6124196"/>
                </a:cubicBezTo>
                <a:close/>
                <a:moveTo>
                  <a:pt x="10435989" y="6119844"/>
                </a:moveTo>
                <a:cubicBezTo>
                  <a:pt x="10425890" y="6119215"/>
                  <a:pt x="10414332" y="6124902"/>
                  <a:pt x="10409546" y="6136160"/>
                </a:cubicBezTo>
                <a:cubicBezTo>
                  <a:pt x="10395536" y="6169044"/>
                  <a:pt x="10432194" y="6190708"/>
                  <a:pt x="10454843" y="6164711"/>
                </a:cubicBezTo>
                <a:lnTo>
                  <a:pt x="10452742" y="6161848"/>
                </a:lnTo>
                <a:cubicBezTo>
                  <a:pt x="10442390" y="6174228"/>
                  <a:pt x="10421220" y="6168657"/>
                  <a:pt x="10419041" y="6152563"/>
                </a:cubicBezTo>
                <a:lnTo>
                  <a:pt x="10418963" y="6152641"/>
                </a:lnTo>
                <a:cubicBezTo>
                  <a:pt x="10418496" y="6149004"/>
                  <a:pt x="10419352" y="6144516"/>
                  <a:pt x="10418963" y="6140802"/>
                </a:cubicBezTo>
                <a:lnTo>
                  <a:pt x="10453676" y="6141421"/>
                </a:lnTo>
                <a:cubicBezTo>
                  <a:pt x="10454726" y="6127416"/>
                  <a:pt x="10446087" y="6120472"/>
                  <a:pt x="10435989" y="6119844"/>
                </a:cubicBezTo>
                <a:close/>
                <a:moveTo>
                  <a:pt x="10342399" y="6119805"/>
                </a:moveTo>
                <a:cubicBezTo>
                  <a:pt x="10333915" y="6120473"/>
                  <a:pt x="10324712" y="6125947"/>
                  <a:pt x="10321131" y="6133762"/>
                </a:cubicBezTo>
                <a:cubicBezTo>
                  <a:pt x="10320742" y="6134768"/>
                  <a:pt x="10319730" y="6136702"/>
                  <a:pt x="10320509" y="6137631"/>
                </a:cubicBezTo>
                <a:lnTo>
                  <a:pt x="10332339" y="6135696"/>
                </a:lnTo>
                <a:cubicBezTo>
                  <a:pt x="10331794" y="6129971"/>
                  <a:pt x="10336075" y="6122079"/>
                  <a:pt x="10342846" y="6125560"/>
                </a:cubicBezTo>
                <a:cubicBezTo>
                  <a:pt x="10348528" y="6128500"/>
                  <a:pt x="10347204" y="6139952"/>
                  <a:pt x="10346815" y="6145290"/>
                </a:cubicBezTo>
                <a:lnTo>
                  <a:pt x="10321754" y="6154885"/>
                </a:lnTo>
                <a:cubicBezTo>
                  <a:pt x="10313660" y="6168735"/>
                  <a:pt x="10325101" y="6181501"/>
                  <a:pt x="10339966" y="6174228"/>
                </a:cubicBezTo>
                <a:cubicBezTo>
                  <a:pt x="10342924" y="6172835"/>
                  <a:pt x="10344870" y="6170127"/>
                  <a:pt x="10347749" y="6168889"/>
                </a:cubicBezTo>
                <a:cubicBezTo>
                  <a:pt x="10347827" y="6173532"/>
                  <a:pt x="10353820" y="6176704"/>
                  <a:pt x="10358256" y="6176472"/>
                </a:cubicBezTo>
                <a:cubicBezTo>
                  <a:pt x="10360475" y="6176356"/>
                  <a:pt x="10363802" y="6174963"/>
                  <a:pt x="10366409" y="6172942"/>
                </a:cubicBezTo>
                <a:lnTo>
                  <a:pt x="10370161" y="6165794"/>
                </a:lnTo>
                <a:lnTo>
                  <a:pt x="10370320" y="6165717"/>
                </a:lnTo>
                <a:lnTo>
                  <a:pt x="10370242" y="6165640"/>
                </a:lnTo>
                <a:lnTo>
                  <a:pt x="10370161" y="6165794"/>
                </a:lnTo>
                <a:lnTo>
                  <a:pt x="10364181" y="6168705"/>
                </a:lnTo>
                <a:cubicBezTo>
                  <a:pt x="10361954" y="6169063"/>
                  <a:pt x="10359891" y="6168425"/>
                  <a:pt x="10359035" y="6165717"/>
                </a:cubicBezTo>
                <a:cubicBezTo>
                  <a:pt x="10357867" y="6162080"/>
                  <a:pt x="10358723" y="6147844"/>
                  <a:pt x="10358723" y="6142969"/>
                </a:cubicBezTo>
                <a:cubicBezTo>
                  <a:pt x="10358723" y="6140261"/>
                  <a:pt x="10359579" y="6137863"/>
                  <a:pt x="10359346" y="6134690"/>
                </a:cubicBezTo>
                <a:cubicBezTo>
                  <a:pt x="10358646" y="6123277"/>
                  <a:pt x="10350882" y="6119138"/>
                  <a:pt x="10342399" y="6119805"/>
                </a:cubicBezTo>
                <a:close/>
                <a:moveTo>
                  <a:pt x="10246959" y="6093527"/>
                </a:moveTo>
                <a:lnTo>
                  <a:pt x="10246959" y="6097318"/>
                </a:lnTo>
                <a:cubicBezTo>
                  <a:pt x="10251940" y="6097318"/>
                  <a:pt x="10256299" y="6099330"/>
                  <a:pt x="10259334" y="6103353"/>
                </a:cubicBezTo>
                <a:cubicBezTo>
                  <a:pt x="10268051" y="6114108"/>
                  <a:pt x="10274511" y="6131053"/>
                  <a:pt x="10282683" y="6142659"/>
                </a:cubicBezTo>
                <a:lnTo>
                  <a:pt x="10282683" y="6166645"/>
                </a:lnTo>
                <a:cubicBezTo>
                  <a:pt x="10280971" y="6172061"/>
                  <a:pt x="10270152" y="6170436"/>
                  <a:pt x="10268051" y="6171829"/>
                </a:cubicBezTo>
                <a:cubicBezTo>
                  <a:pt x="10266806" y="6172680"/>
                  <a:pt x="10267584" y="6175388"/>
                  <a:pt x="10268440" y="6175388"/>
                </a:cubicBezTo>
                <a:lnTo>
                  <a:pt x="10309301" y="6175388"/>
                </a:lnTo>
                <a:lnTo>
                  <a:pt x="10309301" y="6171519"/>
                </a:lnTo>
                <a:cubicBezTo>
                  <a:pt x="10305176" y="6171906"/>
                  <a:pt x="10296848" y="6170358"/>
                  <a:pt x="10295447" y="6165793"/>
                </a:cubicBezTo>
                <a:cubicBezTo>
                  <a:pt x="10293579" y="6159990"/>
                  <a:pt x="10296070" y="6147301"/>
                  <a:pt x="10295292" y="6140725"/>
                </a:cubicBezTo>
                <a:cubicBezTo>
                  <a:pt x="10302452" y="6132136"/>
                  <a:pt x="10313815" y="6103121"/>
                  <a:pt x="10323233" y="6098943"/>
                </a:cubicBezTo>
                <a:cubicBezTo>
                  <a:pt x="10325568" y="6097860"/>
                  <a:pt x="10328603" y="6097396"/>
                  <a:pt x="10331094" y="6097473"/>
                </a:cubicBezTo>
                <a:lnTo>
                  <a:pt x="10331094" y="6093604"/>
                </a:lnTo>
                <a:lnTo>
                  <a:pt x="10300273" y="6093604"/>
                </a:lnTo>
                <a:lnTo>
                  <a:pt x="10300273" y="6097473"/>
                </a:lnTo>
                <a:cubicBezTo>
                  <a:pt x="10303775" y="6097473"/>
                  <a:pt x="10307433" y="6098092"/>
                  <a:pt x="10310391" y="6099872"/>
                </a:cubicBezTo>
                <a:cubicBezTo>
                  <a:pt x="10310936" y="6100181"/>
                  <a:pt x="10311480" y="6099717"/>
                  <a:pt x="10311247" y="6100955"/>
                </a:cubicBezTo>
                <a:lnTo>
                  <a:pt x="10292568" y="6134457"/>
                </a:lnTo>
                <a:lnTo>
                  <a:pt x="10272721" y="6101419"/>
                </a:lnTo>
                <a:cubicBezTo>
                  <a:pt x="10272254" y="6098169"/>
                  <a:pt x="10280426" y="6097086"/>
                  <a:pt x="10282917" y="6097396"/>
                </a:cubicBezTo>
                <a:lnTo>
                  <a:pt x="10282917" y="6093527"/>
                </a:lnTo>
                <a:cubicBezTo>
                  <a:pt x="10282917" y="6093527"/>
                  <a:pt x="10246959" y="6093527"/>
                  <a:pt x="10246959" y="6093527"/>
                </a:cubicBezTo>
                <a:close/>
                <a:moveTo>
                  <a:pt x="10393980" y="6086487"/>
                </a:moveTo>
                <a:cubicBezTo>
                  <a:pt x="10387910" y="6089350"/>
                  <a:pt x="10377480" y="6089505"/>
                  <a:pt x="10371799" y="6092213"/>
                </a:cubicBezTo>
                <a:cubicBezTo>
                  <a:pt x="10370009" y="6093064"/>
                  <a:pt x="10370087" y="6093451"/>
                  <a:pt x="10370242" y="6095462"/>
                </a:cubicBezTo>
                <a:cubicBezTo>
                  <a:pt x="10373278" y="6095385"/>
                  <a:pt x="10378570" y="6095927"/>
                  <a:pt x="10379582" y="6099254"/>
                </a:cubicBezTo>
                <a:lnTo>
                  <a:pt x="10379815" y="6167884"/>
                </a:lnTo>
                <a:cubicBezTo>
                  <a:pt x="10378726" y="6171520"/>
                  <a:pt x="10374756" y="6171443"/>
                  <a:pt x="10371488" y="6172139"/>
                </a:cubicBezTo>
                <a:lnTo>
                  <a:pt x="10371488" y="6175234"/>
                </a:lnTo>
                <a:lnTo>
                  <a:pt x="10371565" y="6175157"/>
                </a:lnTo>
                <a:lnTo>
                  <a:pt x="10399506" y="6175157"/>
                </a:lnTo>
                <a:lnTo>
                  <a:pt x="10400440" y="6171984"/>
                </a:lnTo>
                <a:cubicBezTo>
                  <a:pt x="10398028" y="6171752"/>
                  <a:pt x="10391957" y="6171211"/>
                  <a:pt x="10391412" y="6168502"/>
                </a:cubicBezTo>
                <a:lnTo>
                  <a:pt x="10391412" y="6094456"/>
                </a:lnTo>
                <a:cubicBezTo>
                  <a:pt x="10391723" y="6091052"/>
                  <a:pt x="10395926" y="6090124"/>
                  <a:pt x="10393980" y="6086487"/>
                </a:cubicBezTo>
                <a:close/>
                <a:moveTo>
                  <a:pt x="6537153" y="6054617"/>
                </a:moveTo>
                <a:cubicBezTo>
                  <a:pt x="6534842" y="6054617"/>
                  <a:pt x="6532985" y="6055257"/>
                  <a:pt x="6531581" y="6056536"/>
                </a:cubicBezTo>
                <a:cubicBezTo>
                  <a:pt x="6530178" y="6057816"/>
                  <a:pt x="6529476" y="6059528"/>
                  <a:pt x="6529476" y="6061675"/>
                </a:cubicBezTo>
                <a:lnTo>
                  <a:pt x="6529476" y="6064151"/>
                </a:lnTo>
                <a:cubicBezTo>
                  <a:pt x="6529476" y="6066215"/>
                  <a:pt x="6530178" y="6067907"/>
                  <a:pt x="6531581" y="6069228"/>
                </a:cubicBezTo>
                <a:cubicBezTo>
                  <a:pt x="6532985" y="6070549"/>
                  <a:pt x="6534842" y="6071209"/>
                  <a:pt x="6537153" y="6071209"/>
                </a:cubicBezTo>
                <a:cubicBezTo>
                  <a:pt x="6539547" y="6071209"/>
                  <a:pt x="6541425" y="6070549"/>
                  <a:pt x="6542787" y="6069228"/>
                </a:cubicBezTo>
                <a:cubicBezTo>
                  <a:pt x="6544150" y="6067907"/>
                  <a:pt x="6544831" y="6066215"/>
                  <a:pt x="6544831" y="6064151"/>
                </a:cubicBezTo>
                <a:lnTo>
                  <a:pt x="6544831" y="6061675"/>
                </a:lnTo>
                <a:cubicBezTo>
                  <a:pt x="6544831" y="6059528"/>
                  <a:pt x="6544150" y="6057816"/>
                  <a:pt x="6542787" y="6056536"/>
                </a:cubicBezTo>
                <a:cubicBezTo>
                  <a:pt x="6541425" y="6055257"/>
                  <a:pt x="6539547" y="6054617"/>
                  <a:pt x="6537153" y="6054617"/>
                </a:cubicBezTo>
                <a:close/>
                <a:moveTo>
                  <a:pt x="3865705" y="6054617"/>
                </a:moveTo>
                <a:cubicBezTo>
                  <a:pt x="3863394" y="6054617"/>
                  <a:pt x="3861538" y="6055257"/>
                  <a:pt x="3860134" y="6056536"/>
                </a:cubicBezTo>
                <a:cubicBezTo>
                  <a:pt x="3858730" y="6057816"/>
                  <a:pt x="3858029" y="6059528"/>
                  <a:pt x="3858029" y="6061675"/>
                </a:cubicBezTo>
                <a:lnTo>
                  <a:pt x="3858029" y="6064151"/>
                </a:lnTo>
                <a:cubicBezTo>
                  <a:pt x="3858029" y="6066215"/>
                  <a:pt x="3858730" y="6067907"/>
                  <a:pt x="3860134" y="6069228"/>
                </a:cubicBezTo>
                <a:cubicBezTo>
                  <a:pt x="3861538" y="6070549"/>
                  <a:pt x="3863394" y="6071209"/>
                  <a:pt x="3865705" y="6071209"/>
                </a:cubicBezTo>
                <a:cubicBezTo>
                  <a:pt x="3868100" y="6071209"/>
                  <a:pt x="3869978" y="6070549"/>
                  <a:pt x="3871339" y="6069228"/>
                </a:cubicBezTo>
                <a:cubicBezTo>
                  <a:pt x="3872702" y="6067907"/>
                  <a:pt x="3873384" y="6066215"/>
                  <a:pt x="3873384" y="6064151"/>
                </a:cubicBezTo>
                <a:lnTo>
                  <a:pt x="3873384" y="6061675"/>
                </a:lnTo>
                <a:cubicBezTo>
                  <a:pt x="3873384" y="6059528"/>
                  <a:pt x="3872702" y="6057816"/>
                  <a:pt x="3871339" y="6056536"/>
                </a:cubicBezTo>
                <a:cubicBezTo>
                  <a:pt x="3869978" y="6055257"/>
                  <a:pt x="3868100" y="6054617"/>
                  <a:pt x="3865705" y="6054617"/>
                </a:cubicBezTo>
                <a:close/>
                <a:moveTo>
                  <a:pt x="3197117" y="6038024"/>
                </a:moveTo>
                <a:cubicBezTo>
                  <a:pt x="3198603" y="6038024"/>
                  <a:pt x="3200565" y="6038127"/>
                  <a:pt x="3202999" y="6038334"/>
                </a:cubicBezTo>
                <a:cubicBezTo>
                  <a:pt x="3205434" y="6038540"/>
                  <a:pt x="3207891" y="6038808"/>
                  <a:pt x="3210366" y="6039139"/>
                </a:cubicBezTo>
                <a:lnTo>
                  <a:pt x="3210366" y="6047559"/>
                </a:lnTo>
                <a:cubicBezTo>
                  <a:pt x="3210366" y="6052759"/>
                  <a:pt x="3209314" y="6056536"/>
                  <a:pt x="3207210" y="6058889"/>
                </a:cubicBezTo>
                <a:cubicBezTo>
                  <a:pt x="3205105" y="6061241"/>
                  <a:pt x="3201617" y="6062418"/>
                  <a:pt x="3196746" y="6062418"/>
                </a:cubicBezTo>
                <a:lnTo>
                  <a:pt x="3195631" y="6062418"/>
                </a:lnTo>
                <a:cubicBezTo>
                  <a:pt x="3190018" y="6062418"/>
                  <a:pt x="3186055" y="6061510"/>
                  <a:pt x="3183744" y="6059694"/>
                </a:cubicBezTo>
                <a:cubicBezTo>
                  <a:pt x="3181433" y="6057877"/>
                  <a:pt x="3180278" y="6054947"/>
                  <a:pt x="3180278" y="6050902"/>
                </a:cubicBezTo>
                <a:cubicBezTo>
                  <a:pt x="3180278" y="6046279"/>
                  <a:pt x="3181496" y="6042977"/>
                  <a:pt x="3183931" y="6040996"/>
                </a:cubicBezTo>
                <a:cubicBezTo>
                  <a:pt x="3186366" y="6039015"/>
                  <a:pt x="3190761" y="6038024"/>
                  <a:pt x="3197117" y="6038024"/>
                </a:cubicBezTo>
                <a:close/>
                <a:moveTo>
                  <a:pt x="6432150" y="6011278"/>
                </a:moveTo>
                <a:cubicBezTo>
                  <a:pt x="6443459" y="6011278"/>
                  <a:pt x="6449114" y="6018130"/>
                  <a:pt x="6449114" y="6031833"/>
                </a:cubicBezTo>
                <a:lnTo>
                  <a:pt x="6449114" y="6042234"/>
                </a:lnTo>
                <a:cubicBezTo>
                  <a:pt x="6449114" y="6055938"/>
                  <a:pt x="6443500" y="6062789"/>
                  <a:pt x="6432274" y="6062789"/>
                </a:cubicBezTo>
                <a:cubicBezTo>
                  <a:pt x="6420964" y="6062789"/>
                  <a:pt x="6415310" y="6055938"/>
                  <a:pt x="6415310" y="6042234"/>
                </a:cubicBezTo>
                <a:lnTo>
                  <a:pt x="6415310" y="6031833"/>
                </a:lnTo>
                <a:cubicBezTo>
                  <a:pt x="6415310" y="6025146"/>
                  <a:pt x="6416734" y="6020049"/>
                  <a:pt x="6419582" y="6016541"/>
                </a:cubicBezTo>
                <a:cubicBezTo>
                  <a:pt x="6422430" y="6013032"/>
                  <a:pt x="6426619" y="6011278"/>
                  <a:pt x="6432150" y="6011278"/>
                </a:cubicBezTo>
                <a:close/>
                <a:moveTo>
                  <a:pt x="6335785" y="6011278"/>
                </a:moveTo>
                <a:cubicBezTo>
                  <a:pt x="6347012" y="6011278"/>
                  <a:pt x="6352626" y="6018130"/>
                  <a:pt x="6352626" y="6031833"/>
                </a:cubicBezTo>
                <a:lnTo>
                  <a:pt x="6352626" y="6042234"/>
                </a:lnTo>
                <a:cubicBezTo>
                  <a:pt x="6352626" y="6055938"/>
                  <a:pt x="6346971" y="6062789"/>
                  <a:pt x="6335662" y="6062789"/>
                </a:cubicBezTo>
                <a:cubicBezTo>
                  <a:pt x="6324435" y="6062789"/>
                  <a:pt x="6318821" y="6055938"/>
                  <a:pt x="6318821" y="6042234"/>
                </a:cubicBezTo>
                <a:lnTo>
                  <a:pt x="6318821" y="6031833"/>
                </a:lnTo>
                <a:cubicBezTo>
                  <a:pt x="6318821" y="6018130"/>
                  <a:pt x="6324476" y="6011278"/>
                  <a:pt x="6335785" y="6011278"/>
                </a:cubicBezTo>
                <a:close/>
                <a:moveTo>
                  <a:pt x="3778638" y="6011278"/>
                </a:moveTo>
                <a:cubicBezTo>
                  <a:pt x="3789947" y="6011278"/>
                  <a:pt x="3795602" y="6018130"/>
                  <a:pt x="3795602" y="6031833"/>
                </a:cubicBezTo>
                <a:lnTo>
                  <a:pt x="3795602" y="6042234"/>
                </a:lnTo>
                <a:cubicBezTo>
                  <a:pt x="3795602" y="6055938"/>
                  <a:pt x="3789947" y="6062789"/>
                  <a:pt x="3778638" y="6062789"/>
                </a:cubicBezTo>
                <a:cubicBezTo>
                  <a:pt x="3767328" y="6062789"/>
                  <a:pt x="3761674" y="6055938"/>
                  <a:pt x="3761674" y="6042234"/>
                </a:cubicBezTo>
                <a:lnTo>
                  <a:pt x="3761674" y="6031833"/>
                </a:lnTo>
                <a:cubicBezTo>
                  <a:pt x="3761674" y="6018130"/>
                  <a:pt x="3767328" y="6011278"/>
                  <a:pt x="3778638" y="6011278"/>
                </a:cubicBezTo>
                <a:close/>
                <a:moveTo>
                  <a:pt x="3665576" y="6011278"/>
                </a:moveTo>
                <a:cubicBezTo>
                  <a:pt x="3676802" y="6011278"/>
                  <a:pt x="3682416" y="6018130"/>
                  <a:pt x="3682416" y="6031833"/>
                </a:cubicBezTo>
                <a:lnTo>
                  <a:pt x="3682416" y="6042234"/>
                </a:lnTo>
                <a:cubicBezTo>
                  <a:pt x="3682416" y="6055938"/>
                  <a:pt x="3676761" y="6062789"/>
                  <a:pt x="3665452" y="6062789"/>
                </a:cubicBezTo>
                <a:cubicBezTo>
                  <a:pt x="3659921" y="6062789"/>
                  <a:pt x="3655733" y="6061035"/>
                  <a:pt x="3652885" y="6057527"/>
                </a:cubicBezTo>
                <a:cubicBezTo>
                  <a:pt x="3650036" y="6054018"/>
                  <a:pt x="3648612" y="6048921"/>
                  <a:pt x="3648612" y="6042234"/>
                </a:cubicBezTo>
                <a:lnTo>
                  <a:pt x="3648612" y="6031833"/>
                </a:lnTo>
                <a:cubicBezTo>
                  <a:pt x="3648612" y="6018130"/>
                  <a:pt x="3654267" y="6011278"/>
                  <a:pt x="3665576" y="6011278"/>
                </a:cubicBezTo>
                <a:close/>
                <a:moveTo>
                  <a:pt x="6268491" y="6010535"/>
                </a:moveTo>
                <a:cubicBezTo>
                  <a:pt x="6273857" y="6010535"/>
                  <a:pt x="6277799" y="6012269"/>
                  <a:pt x="6280317" y="6015736"/>
                </a:cubicBezTo>
                <a:cubicBezTo>
                  <a:pt x="6282834" y="6019203"/>
                  <a:pt x="6284093" y="6024610"/>
                  <a:pt x="6284093" y="6031957"/>
                </a:cubicBezTo>
                <a:lnTo>
                  <a:pt x="6252146" y="6031957"/>
                </a:lnTo>
                <a:cubicBezTo>
                  <a:pt x="6252229" y="6017676"/>
                  <a:pt x="6257677" y="6010535"/>
                  <a:pt x="6268491" y="6010535"/>
                </a:cubicBezTo>
                <a:close/>
                <a:moveTo>
                  <a:pt x="3406544" y="6010535"/>
                </a:moveTo>
                <a:cubicBezTo>
                  <a:pt x="3411910" y="6010535"/>
                  <a:pt x="3415851" y="6012269"/>
                  <a:pt x="3418369" y="6015736"/>
                </a:cubicBezTo>
                <a:cubicBezTo>
                  <a:pt x="3420886" y="6019203"/>
                  <a:pt x="3422145" y="6024610"/>
                  <a:pt x="3422145" y="6031957"/>
                </a:cubicBezTo>
                <a:lnTo>
                  <a:pt x="3390198" y="6031957"/>
                </a:lnTo>
                <a:cubicBezTo>
                  <a:pt x="3390282" y="6017676"/>
                  <a:pt x="3395730" y="6010535"/>
                  <a:pt x="3406544" y="6010535"/>
                </a:cubicBezTo>
                <a:close/>
                <a:moveTo>
                  <a:pt x="6468488" y="6004591"/>
                </a:moveTo>
                <a:cubicBezTo>
                  <a:pt x="6467167" y="6004591"/>
                  <a:pt x="6466506" y="6005087"/>
                  <a:pt x="6466506" y="6006077"/>
                </a:cubicBezTo>
                <a:cubicBezTo>
                  <a:pt x="6466506" y="6006325"/>
                  <a:pt x="6466630" y="6006820"/>
                  <a:pt x="6466878" y="6007563"/>
                </a:cubicBezTo>
                <a:lnTo>
                  <a:pt x="6489662" y="6067618"/>
                </a:lnTo>
                <a:lnTo>
                  <a:pt x="6488176" y="6071952"/>
                </a:lnTo>
                <a:cubicBezTo>
                  <a:pt x="6486773" y="6076080"/>
                  <a:pt x="6485122" y="6078783"/>
                  <a:pt x="6483223" y="6080063"/>
                </a:cubicBezTo>
                <a:cubicBezTo>
                  <a:pt x="6481324" y="6081342"/>
                  <a:pt x="6478683" y="6081982"/>
                  <a:pt x="6475298" y="6081982"/>
                </a:cubicBezTo>
                <a:lnTo>
                  <a:pt x="6473812" y="6081982"/>
                </a:lnTo>
                <a:cubicBezTo>
                  <a:pt x="6472987" y="6081982"/>
                  <a:pt x="6472429" y="6082147"/>
                  <a:pt x="6472141" y="6082477"/>
                </a:cubicBezTo>
                <a:cubicBezTo>
                  <a:pt x="6471852" y="6082808"/>
                  <a:pt x="6471707" y="6083468"/>
                  <a:pt x="6471707" y="6084459"/>
                </a:cubicBezTo>
                <a:lnTo>
                  <a:pt x="6471707" y="6088173"/>
                </a:lnTo>
                <a:cubicBezTo>
                  <a:pt x="6471707" y="6089164"/>
                  <a:pt x="6471852" y="6089824"/>
                  <a:pt x="6472141" y="6090155"/>
                </a:cubicBezTo>
                <a:cubicBezTo>
                  <a:pt x="6472429" y="6090485"/>
                  <a:pt x="6472987" y="6090650"/>
                  <a:pt x="6473812" y="6090650"/>
                </a:cubicBezTo>
                <a:lnTo>
                  <a:pt x="6476660" y="6090650"/>
                </a:lnTo>
                <a:cubicBezTo>
                  <a:pt x="6479880" y="6090650"/>
                  <a:pt x="6482707" y="6090196"/>
                  <a:pt x="6485142" y="6089288"/>
                </a:cubicBezTo>
                <a:cubicBezTo>
                  <a:pt x="6487577" y="6088380"/>
                  <a:pt x="6489786" y="6086646"/>
                  <a:pt x="6491767" y="6084087"/>
                </a:cubicBezTo>
                <a:cubicBezTo>
                  <a:pt x="6493748" y="6081528"/>
                  <a:pt x="6495605" y="6077731"/>
                  <a:pt x="6497339" y="6072695"/>
                </a:cubicBezTo>
                <a:lnTo>
                  <a:pt x="6520618" y="6007563"/>
                </a:lnTo>
                <a:cubicBezTo>
                  <a:pt x="6520866" y="6006820"/>
                  <a:pt x="6520989" y="6006325"/>
                  <a:pt x="6520989" y="6006077"/>
                </a:cubicBezTo>
                <a:cubicBezTo>
                  <a:pt x="6520989" y="6005087"/>
                  <a:pt x="6520329" y="6004591"/>
                  <a:pt x="6519008" y="6004591"/>
                </a:cubicBezTo>
                <a:lnTo>
                  <a:pt x="6513808" y="6004591"/>
                </a:lnTo>
                <a:cubicBezTo>
                  <a:pt x="6512982" y="6004591"/>
                  <a:pt x="6512404" y="6004757"/>
                  <a:pt x="6512074" y="6005087"/>
                </a:cubicBezTo>
                <a:cubicBezTo>
                  <a:pt x="6511744" y="6005417"/>
                  <a:pt x="6511372" y="6006119"/>
                  <a:pt x="6510960" y="6007192"/>
                </a:cubicBezTo>
                <a:lnTo>
                  <a:pt x="6494491" y="6054988"/>
                </a:lnTo>
                <a:lnTo>
                  <a:pt x="6476784" y="6007192"/>
                </a:lnTo>
                <a:cubicBezTo>
                  <a:pt x="6476454" y="6006119"/>
                  <a:pt x="6476103" y="6005417"/>
                  <a:pt x="6475731" y="6005087"/>
                </a:cubicBezTo>
                <a:cubicBezTo>
                  <a:pt x="6475360" y="6004757"/>
                  <a:pt x="6474761" y="6004591"/>
                  <a:pt x="6473936" y="6004591"/>
                </a:cubicBezTo>
                <a:close/>
                <a:moveTo>
                  <a:pt x="3614093" y="6004591"/>
                </a:moveTo>
                <a:cubicBezTo>
                  <a:pt x="3613103" y="6004591"/>
                  <a:pt x="3612422" y="6004757"/>
                  <a:pt x="3612050" y="6005087"/>
                </a:cubicBezTo>
                <a:cubicBezTo>
                  <a:pt x="3611680" y="6005417"/>
                  <a:pt x="3611494" y="6006077"/>
                  <a:pt x="3611494" y="6007068"/>
                </a:cubicBezTo>
                <a:lnTo>
                  <a:pt x="3611494" y="6066999"/>
                </a:lnTo>
                <a:cubicBezTo>
                  <a:pt x="3611494" y="6067990"/>
                  <a:pt x="3611680" y="6068650"/>
                  <a:pt x="3612050" y="6068980"/>
                </a:cubicBezTo>
                <a:cubicBezTo>
                  <a:pt x="3612422" y="6069311"/>
                  <a:pt x="3613103" y="6069476"/>
                  <a:pt x="3614093" y="6069476"/>
                </a:cubicBezTo>
                <a:lnTo>
                  <a:pt x="3618676" y="6069476"/>
                </a:lnTo>
                <a:cubicBezTo>
                  <a:pt x="3619665" y="6069476"/>
                  <a:pt x="3620346" y="6069311"/>
                  <a:pt x="3620719" y="6068980"/>
                </a:cubicBezTo>
                <a:cubicBezTo>
                  <a:pt x="3621089" y="6068650"/>
                  <a:pt x="3621275" y="6067990"/>
                  <a:pt x="3621275" y="6066999"/>
                </a:cubicBezTo>
                <a:lnTo>
                  <a:pt x="3621275" y="6007068"/>
                </a:lnTo>
                <a:cubicBezTo>
                  <a:pt x="3621275" y="6006077"/>
                  <a:pt x="3621089" y="6005417"/>
                  <a:pt x="3620719" y="6005087"/>
                </a:cubicBezTo>
                <a:cubicBezTo>
                  <a:pt x="3620346" y="6004757"/>
                  <a:pt x="3619665" y="6004591"/>
                  <a:pt x="3618676" y="6004591"/>
                </a:cubicBezTo>
                <a:close/>
                <a:moveTo>
                  <a:pt x="3452168" y="6004591"/>
                </a:moveTo>
                <a:cubicBezTo>
                  <a:pt x="3451179" y="6004591"/>
                  <a:pt x="3450496" y="6004757"/>
                  <a:pt x="3450126" y="6005087"/>
                </a:cubicBezTo>
                <a:cubicBezTo>
                  <a:pt x="3449754" y="6005417"/>
                  <a:pt x="3449569" y="6006077"/>
                  <a:pt x="3449569" y="6007068"/>
                </a:cubicBezTo>
                <a:lnTo>
                  <a:pt x="3449569" y="6066999"/>
                </a:lnTo>
                <a:cubicBezTo>
                  <a:pt x="3449569" y="6067990"/>
                  <a:pt x="3449754" y="6068650"/>
                  <a:pt x="3450126" y="6068980"/>
                </a:cubicBezTo>
                <a:cubicBezTo>
                  <a:pt x="3450496" y="6069311"/>
                  <a:pt x="3451179" y="6069476"/>
                  <a:pt x="3452168" y="6069476"/>
                </a:cubicBezTo>
                <a:lnTo>
                  <a:pt x="3456750" y="6069476"/>
                </a:lnTo>
                <a:cubicBezTo>
                  <a:pt x="3457741" y="6069476"/>
                  <a:pt x="3458421" y="6069311"/>
                  <a:pt x="3458793" y="6068980"/>
                </a:cubicBezTo>
                <a:cubicBezTo>
                  <a:pt x="3459164" y="6068650"/>
                  <a:pt x="3459350" y="6067990"/>
                  <a:pt x="3459350" y="6066999"/>
                </a:cubicBezTo>
                <a:lnTo>
                  <a:pt x="3459350" y="6035424"/>
                </a:lnTo>
                <a:cubicBezTo>
                  <a:pt x="3459350" y="6029315"/>
                  <a:pt x="3460795" y="6024218"/>
                  <a:pt x="3463685" y="6020131"/>
                </a:cubicBezTo>
                <a:cubicBezTo>
                  <a:pt x="3466574" y="6016045"/>
                  <a:pt x="3470454" y="6014002"/>
                  <a:pt x="3475323" y="6014002"/>
                </a:cubicBezTo>
                <a:lnTo>
                  <a:pt x="3478544" y="6014002"/>
                </a:lnTo>
                <a:cubicBezTo>
                  <a:pt x="3479451" y="6014002"/>
                  <a:pt x="3480030" y="6013837"/>
                  <a:pt x="3480276" y="6013507"/>
                </a:cubicBezTo>
                <a:cubicBezTo>
                  <a:pt x="3480524" y="6013177"/>
                  <a:pt x="3480649" y="6012516"/>
                  <a:pt x="3480649" y="6011526"/>
                </a:cubicBezTo>
                <a:lnTo>
                  <a:pt x="3480649" y="6007068"/>
                </a:lnTo>
                <a:cubicBezTo>
                  <a:pt x="3480649" y="6006077"/>
                  <a:pt x="3480524" y="6005417"/>
                  <a:pt x="3480276" y="6005087"/>
                </a:cubicBezTo>
                <a:cubicBezTo>
                  <a:pt x="3480030" y="6004757"/>
                  <a:pt x="3479451" y="6004591"/>
                  <a:pt x="3478544" y="6004591"/>
                </a:cubicBezTo>
                <a:lnTo>
                  <a:pt x="3476934" y="6004591"/>
                </a:lnTo>
                <a:cubicBezTo>
                  <a:pt x="3472971" y="6004591"/>
                  <a:pt x="3469401" y="6005685"/>
                  <a:pt x="3466223" y="6007873"/>
                </a:cubicBezTo>
                <a:cubicBezTo>
                  <a:pt x="3463045" y="6010060"/>
                  <a:pt x="3460671" y="6012929"/>
                  <a:pt x="3459103" y="6016479"/>
                </a:cubicBezTo>
                <a:lnTo>
                  <a:pt x="3459103" y="6007068"/>
                </a:lnTo>
                <a:cubicBezTo>
                  <a:pt x="3459103" y="6006077"/>
                  <a:pt x="3458917" y="6005417"/>
                  <a:pt x="3458545" y="6005087"/>
                </a:cubicBezTo>
                <a:cubicBezTo>
                  <a:pt x="3458175" y="6004757"/>
                  <a:pt x="3457493" y="6004591"/>
                  <a:pt x="3456503" y="6004591"/>
                </a:cubicBezTo>
                <a:close/>
                <a:moveTo>
                  <a:pt x="3242618" y="6004591"/>
                </a:moveTo>
                <a:cubicBezTo>
                  <a:pt x="3241629" y="6004591"/>
                  <a:pt x="3240947" y="6004757"/>
                  <a:pt x="3240575" y="6005087"/>
                </a:cubicBezTo>
                <a:cubicBezTo>
                  <a:pt x="3240205" y="6005417"/>
                  <a:pt x="3240019" y="6006077"/>
                  <a:pt x="3240019" y="6007068"/>
                </a:cubicBezTo>
                <a:lnTo>
                  <a:pt x="3240019" y="6066999"/>
                </a:lnTo>
                <a:cubicBezTo>
                  <a:pt x="3240019" y="6067990"/>
                  <a:pt x="3240205" y="6068650"/>
                  <a:pt x="3240575" y="6068980"/>
                </a:cubicBezTo>
                <a:cubicBezTo>
                  <a:pt x="3240947" y="6069311"/>
                  <a:pt x="3241629" y="6069476"/>
                  <a:pt x="3242618" y="6069476"/>
                </a:cubicBezTo>
                <a:lnTo>
                  <a:pt x="3247200" y="6069476"/>
                </a:lnTo>
                <a:cubicBezTo>
                  <a:pt x="3248191" y="6069476"/>
                  <a:pt x="3248871" y="6069311"/>
                  <a:pt x="3249243" y="6068980"/>
                </a:cubicBezTo>
                <a:cubicBezTo>
                  <a:pt x="3249614" y="6068650"/>
                  <a:pt x="3249800" y="6067990"/>
                  <a:pt x="3249800" y="6066999"/>
                </a:cubicBezTo>
                <a:lnTo>
                  <a:pt x="3249800" y="6035424"/>
                </a:lnTo>
                <a:cubicBezTo>
                  <a:pt x="3249800" y="6029315"/>
                  <a:pt x="3251246" y="6024218"/>
                  <a:pt x="3254135" y="6020131"/>
                </a:cubicBezTo>
                <a:cubicBezTo>
                  <a:pt x="3257023" y="6016045"/>
                  <a:pt x="3260904" y="6014002"/>
                  <a:pt x="3265773" y="6014002"/>
                </a:cubicBezTo>
                <a:lnTo>
                  <a:pt x="3268993" y="6014002"/>
                </a:lnTo>
                <a:cubicBezTo>
                  <a:pt x="3269902" y="6014002"/>
                  <a:pt x="3270479" y="6013837"/>
                  <a:pt x="3270727" y="6013507"/>
                </a:cubicBezTo>
                <a:cubicBezTo>
                  <a:pt x="3270974" y="6013177"/>
                  <a:pt x="3271099" y="6012516"/>
                  <a:pt x="3271099" y="6011526"/>
                </a:cubicBezTo>
                <a:lnTo>
                  <a:pt x="3271099" y="6007068"/>
                </a:lnTo>
                <a:cubicBezTo>
                  <a:pt x="3271099" y="6006077"/>
                  <a:pt x="3270974" y="6005417"/>
                  <a:pt x="3270727" y="6005087"/>
                </a:cubicBezTo>
                <a:cubicBezTo>
                  <a:pt x="3270479" y="6004757"/>
                  <a:pt x="3269902" y="6004591"/>
                  <a:pt x="3268993" y="6004591"/>
                </a:cubicBezTo>
                <a:lnTo>
                  <a:pt x="3267383" y="6004591"/>
                </a:lnTo>
                <a:cubicBezTo>
                  <a:pt x="3263421" y="6004591"/>
                  <a:pt x="3259851" y="6005685"/>
                  <a:pt x="3256673" y="6007873"/>
                </a:cubicBezTo>
                <a:cubicBezTo>
                  <a:pt x="3253495" y="6010060"/>
                  <a:pt x="3251121" y="6012929"/>
                  <a:pt x="3249553" y="6016479"/>
                </a:cubicBezTo>
                <a:lnTo>
                  <a:pt x="3249553" y="6007068"/>
                </a:lnTo>
                <a:cubicBezTo>
                  <a:pt x="3249553" y="6006077"/>
                  <a:pt x="3249368" y="6005417"/>
                  <a:pt x="3248996" y="6005087"/>
                </a:cubicBezTo>
                <a:cubicBezTo>
                  <a:pt x="3248625" y="6004757"/>
                  <a:pt x="3247943" y="6004591"/>
                  <a:pt x="3246952" y="6004591"/>
                </a:cubicBezTo>
                <a:close/>
                <a:moveTo>
                  <a:pt x="6537153" y="6003477"/>
                </a:moveTo>
                <a:cubicBezTo>
                  <a:pt x="6534842" y="6003477"/>
                  <a:pt x="6532985" y="6004117"/>
                  <a:pt x="6531581" y="6005396"/>
                </a:cubicBezTo>
                <a:cubicBezTo>
                  <a:pt x="6530178" y="6006676"/>
                  <a:pt x="6529476" y="6008389"/>
                  <a:pt x="6529476" y="6010535"/>
                </a:cubicBezTo>
                <a:lnTo>
                  <a:pt x="6529476" y="6013012"/>
                </a:lnTo>
                <a:cubicBezTo>
                  <a:pt x="6529476" y="6015075"/>
                  <a:pt x="6530178" y="6016768"/>
                  <a:pt x="6531581" y="6018088"/>
                </a:cubicBezTo>
                <a:cubicBezTo>
                  <a:pt x="6532985" y="6019409"/>
                  <a:pt x="6534842" y="6020070"/>
                  <a:pt x="6537153" y="6020070"/>
                </a:cubicBezTo>
                <a:cubicBezTo>
                  <a:pt x="6539547" y="6020070"/>
                  <a:pt x="6541425" y="6019409"/>
                  <a:pt x="6542787" y="6018088"/>
                </a:cubicBezTo>
                <a:cubicBezTo>
                  <a:pt x="6544150" y="6016768"/>
                  <a:pt x="6544831" y="6015075"/>
                  <a:pt x="6544831" y="6013012"/>
                </a:cubicBezTo>
                <a:lnTo>
                  <a:pt x="6544831" y="6010535"/>
                </a:lnTo>
                <a:cubicBezTo>
                  <a:pt x="6544831" y="6008389"/>
                  <a:pt x="6544150" y="6006676"/>
                  <a:pt x="6542787" y="6005396"/>
                </a:cubicBezTo>
                <a:cubicBezTo>
                  <a:pt x="6541425" y="6004117"/>
                  <a:pt x="6539547" y="6003477"/>
                  <a:pt x="6537153" y="6003477"/>
                </a:cubicBezTo>
                <a:close/>
                <a:moveTo>
                  <a:pt x="3865705" y="6003477"/>
                </a:moveTo>
                <a:cubicBezTo>
                  <a:pt x="3863394" y="6003477"/>
                  <a:pt x="3861538" y="6004117"/>
                  <a:pt x="3860134" y="6005396"/>
                </a:cubicBezTo>
                <a:cubicBezTo>
                  <a:pt x="3858730" y="6006676"/>
                  <a:pt x="3858029" y="6008389"/>
                  <a:pt x="3858029" y="6010535"/>
                </a:cubicBezTo>
                <a:lnTo>
                  <a:pt x="3858029" y="6013012"/>
                </a:lnTo>
                <a:cubicBezTo>
                  <a:pt x="3858029" y="6015075"/>
                  <a:pt x="3858730" y="6016768"/>
                  <a:pt x="3860134" y="6018088"/>
                </a:cubicBezTo>
                <a:cubicBezTo>
                  <a:pt x="3861538" y="6019409"/>
                  <a:pt x="3863394" y="6020070"/>
                  <a:pt x="3865705" y="6020070"/>
                </a:cubicBezTo>
                <a:cubicBezTo>
                  <a:pt x="3868100" y="6020070"/>
                  <a:pt x="3869978" y="6019409"/>
                  <a:pt x="3871339" y="6018088"/>
                </a:cubicBezTo>
                <a:cubicBezTo>
                  <a:pt x="3872702" y="6016768"/>
                  <a:pt x="3873384" y="6015075"/>
                  <a:pt x="3873384" y="6013012"/>
                </a:cubicBezTo>
                <a:lnTo>
                  <a:pt x="3873384" y="6010535"/>
                </a:lnTo>
                <a:cubicBezTo>
                  <a:pt x="3873384" y="6008389"/>
                  <a:pt x="3872702" y="6006676"/>
                  <a:pt x="3871339" y="6005396"/>
                </a:cubicBezTo>
                <a:cubicBezTo>
                  <a:pt x="3869978" y="6004117"/>
                  <a:pt x="3868100" y="6003477"/>
                  <a:pt x="3865705" y="6003477"/>
                </a:cubicBezTo>
                <a:close/>
                <a:moveTo>
                  <a:pt x="6268491" y="6002858"/>
                </a:moveTo>
                <a:cubicBezTo>
                  <a:pt x="6260071" y="6002858"/>
                  <a:pt x="6253612" y="6005541"/>
                  <a:pt x="6249113" y="6010907"/>
                </a:cubicBezTo>
                <a:cubicBezTo>
                  <a:pt x="6244614" y="6016272"/>
                  <a:pt x="6242364" y="6023908"/>
                  <a:pt x="6242364" y="6033814"/>
                </a:cubicBezTo>
                <a:lnTo>
                  <a:pt x="6242364" y="6043101"/>
                </a:lnTo>
                <a:cubicBezTo>
                  <a:pt x="6242364" y="6052099"/>
                  <a:pt x="6244634" y="6059033"/>
                  <a:pt x="6249175" y="6063904"/>
                </a:cubicBezTo>
                <a:cubicBezTo>
                  <a:pt x="6253715" y="6068774"/>
                  <a:pt x="6260112" y="6071209"/>
                  <a:pt x="6268367" y="6071209"/>
                </a:cubicBezTo>
                <a:cubicBezTo>
                  <a:pt x="6272495" y="6071209"/>
                  <a:pt x="6276334" y="6070549"/>
                  <a:pt x="6279883" y="6069228"/>
                </a:cubicBezTo>
                <a:cubicBezTo>
                  <a:pt x="6283433" y="6067907"/>
                  <a:pt x="6286239" y="6066091"/>
                  <a:pt x="6288303" y="6063780"/>
                </a:cubicBezTo>
                <a:cubicBezTo>
                  <a:pt x="6289459" y="6062459"/>
                  <a:pt x="6290491" y="6060891"/>
                  <a:pt x="6291399" y="6059074"/>
                </a:cubicBezTo>
                <a:cubicBezTo>
                  <a:pt x="6292307" y="6057258"/>
                  <a:pt x="6292761" y="6055772"/>
                  <a:pt x="6292761" y="6054617"/>
                </a:cubicBezTo>
                <a:cubicBezTo>
                  <a:pt x="6292761" y="6053709"/>
                  <a:pt x="6292596" y="6053151"/>
                  <a:pt x="6292266" y="6052945"/>
                </a:cubicBezTo>
                <a:cubicBezTo>
                  <a:pt x="6291935" y="6052739"/>
                  <a:pt x="6291193" y="6052636"/>
                  <a:pt x="6290037" y="6052636"/>
                </a:cubicBezTo>
                <a:lnTo>
                  <a:pt x="6285579" y="6052636"/>
                </a:lnTo>
                <a:cubicBezTo>
                  <a:pt x="6284754" y="6052636"/>
                  <a:pt x="6284176" y="6052739"/>
                  <a:pt x="6283846" y="6052945"/>
                </a:cubicBezTo>
                <a:cubicBezTo>
                  <a:pt x="6283515" y="6053151"/>
                  <a:pt x="6283144" y="6053750"/>
                  <a:pt x="6282731" y="6054741"/>
                </a:cubicBezTo>
                <a:cubicBezTo>
                  <a:pt x="6280420" y="6060106"/>
                  <a:pt x="6275756" y="6062789"/>
                  <a:pt x="6268739" y="6062789"/>
                </a:cubicBezTo>
                <a:cubicBezTo>
                  <a:pt x="6257677" y="6062789"/>
                  <a:pt x="6252146" y="6055979"/>
                  <a:pt x="6252146" y="6042358"/>
                </a:cubicBezTo>
                <a:lnTo>
                  <a:pt x="6252146" y="6040005"/>
                </a:lnTo>
                <a:lnTo>
                  <a:pt x="6291399" y="6040005"/>
                </a:lnTo>
                <a:cubicBezTo>
                  <a:pt x="6292389" y="6040005"/>
                  <a:pt x="6293071" y="6039840"/>
                  <a:pt x="6293442" y="6039510"/>
                </a:cubicBezTo>
                <a:cubicBezTo>
                  <a:pt x="6293813" y="6039180"/>
                  <a:pt x="6293999" y="6038520"/>
                  <a:pt x="6293999" y="6037529"/>
                </a:cubicBezTo>
                <a:lnTo>
                  <a:pt x="6293999" y="6031214"/>
                </a:lnTo>
                <a:cubicBezTo>
                  <a:pt x="6293999" y="6012310"/>
                  <a:pt x="6285497" y="6002858"/>
                  <a:pt x="6268491" y="6002858"/>
                </a:cubicBezTo>
                <a:close/>
                <a:moveTo>
                  <a:pt x="3778638" y="6002858"/>
                </a:moveTo>
                <a:cubicBezTo>
                  <a:pt x="3770136" y="6002858"/>
                  <a:pt x="3763552" y="6005334"/>
                  <a:pt x="3758888" y="6010287"/>
                </a:cubicBezTo>
                <a:cubicBezTo>
                  <a:pt x="3754224" y="6015240"/>
                  <a:pt x="3751892" y="6022175"/>
                  <a:pt x="3751892" y="6031090"/>
                </a:cubicBezTo>
                <a:lnTo>
                  <a:pt x="3751892" y="6044215"/>
                </a:lnTo>
                <a:cubicBezTo>
                  <a:pt x="3751892" y="6052718"/>
                  <a:pt x="3754224" y="6059343"/>
                  <a:pt x="3758888" y="6064089"/>
                </a:cubicBezTo>
                <a:cubicBezTo>
                  <a:pt x="3763552" y="6068836"/>
                  <a:pt x="3770136" y="6071209"/>
                  <a:pt x="3778638" y="6071209"/>
                </a:cubicBezTo>
                <a:cubicBezTo>
                  <a:pt x="3787140" y="6071209"/>
                  <a:pt x="3793723" y="6068733"/>
                  <a:pt x="3798387" y="6063780"/>
                </a:cubicBezTo>
                <a:cubicBezTo>
                  <a:pt x="3803052" y="6058827"/>
                  <a:pt x="3805384" y="6051893"/>
                  <a:pt x="3805384" y="6042977"/>
                </a:cubicBezTo>
                <a:lnTo>
                  <a:pt x="3805384" y="6029852"/>
                </a:lnTo>
                <a:cubicBezTo>
                  <a:pt x="3805384" y="6021267"/>
                  <a:pt x="3803052" y="6014621"/>
                  <a:pt x="3798387" y="6009916"/>
                </a:cubicBezTo>
                <a:cubicBezTo>
                  <a:pt x="3793723" y="6005211"/>
                  <a:pt x="3787140" y="6002858"/>
                  <a:pt x="3778638" y="6002858"/>
                </a:cubicBezTo>
                <a:close/>
                <a:moveTo>
                  <a:pt x="3665576" y="6002858"/>
                </a:moveTo>
                <a:cubicBezTo>
                  <a:pt x="3657073" y="6002858"/>
                  <a:pt x="3650490" y="6005334"/>
                  <a:pt x="3645826" y="6010287"/>
                </a:cubicBezTo>
                <a:cubicBezTo>
                  <a:pt x="3641161" y="6015240"/>
                  <a:pt x="3638830" y="6022175"/>
                  <a:pt x="3638830" y="6031090"/>
                </a:cubicBezTo>
                <a:lnTo>
                  <a:pt x="3638830" y="6088173"/>
                </a:lnTo>
                <a:cubicBezTo>
                  <a:pt x="3638830" y="6089164"/>
                  <a:pt x="3639015" y="6089824"/>
                  <a:pt x="3639387" y="6090155"/>
                </a:cubicBezTo>
                <a:cubicBezTo>
                  <a:pt x="3639758" y="6090485"/>
                  <a:pt x="3640440" y="6090650"/>
                  <a:pt x="3641431" y="6090650"/>
                </a:cubicBezTo>
                <a:lnTo>
                  <a:pt x="3646011" y="6090650"/>
                </a:lnTo>
                <a:cubicBezTo>
                  <a:pt x="3647002" y="6090650"/>
                  <a:pt x="3647684" y="6090485"/>
                  <a:pt x="3648054" y="6090155"/>
                </a:cubicBezTo>
                <a:cubicBezTo>
                  <a:pt x="3648427" y="6089824"/>
                  <a:pt x="3648612" y="6089164"/>
                  <a:pt x="3648612" y="6088173"/>
                </a:cubicBezTo>
                <a:lnTo>
                  <a:pt x="3648612" y="6063532"/>
                </a:lnTo>
                <a:cubicBezTo>
                  <a:pt x="3652575" y="6068650"/>
                  <a:pt x="3658641" y="6071209"/>
                  <a:pt x="3666814" y="6071209"/>
                </a:cubicBezTo>
                <a:cubicBezTo>
                  <a:pt x="3683738" y="6071209"/>
                  <a:pt x="3692199" y="6061592"/>
                  <a:pt x="3692199" y="6042358"/>
                </a:cubicBezTo>
                <a:lnTo>
                  <a:pt x="3692199" y="6029233"/>
                </a:lnTo>
                <a:cubicBezTo>
                  <a:pt x="3692199" y="6020895"/>
                  <a:pt x="3689867" y="6014415"/>
                  <a:pt x="3685203" y="6009792"/>
                </a:cubicBezTo>
                <a:cubicBezTo>
                  <a:pt x="3680539" y="6005169"/>
                  <a:pt x="3673997" y="6002858"/>
                  <a:pt x="3665576" y="6002858"/>
                </a:cubicBezTo>
                <a:close/>
                <a:moveTo>
                  <a:pt x="3508470" y="6002858"/>
                </a:moveTo>
                <a:cubicBezTo>
                  <a:pt x="3501371" y="6002858"/>
                  <a:pt x="3495737" y="6004530"/>
                  <a:pt x="3491568" y="6007873"/>
                </a:cubicBezTo>
                <a:cubicBezTo>
                  <a:pt x="3487401" y="6011216"/>
                  <a:pt x="3485315" y="6015736"/>
                  <a:pt x="3485315" y="6021432"/>
                </a:cubicBezTo>
                <a:lnTo>
                  <a:pt x="3485315" y="6022051"/>
                </a:lnTo>
                <a:cubicBezTo>
                  <a:pt x="3485315" y="6030636"/>
                  <a:pt x="3490269" y="6036249"/>
                  <a:pt x="3500174" y="6038891"/>
                </a:cubicBezTo>
                <a:lnTo>
                  <a:pt x="3511195" y="6041739"/>
                </a:lnTo>
                <a:cubicBezTo>
                  <a:pt x="3515322" y="6042812"/>
                  <a:pt x="3518232" y="6044236"/>
                  <a:pt x="3519924" y="6046011"/>
                </a:cubicBezTo>
                <a:cubicBezTo>
                  <a:pt x="3521616" y="6047786"/>
                  <a:pt x="3522463" y="6050242"/>
                  <a:pt x="3522463" y="6053378"/>
                </a:cubicBezTo>
                <a:cubicBezTo>
                  <a:pt x="3522463" y="6060065"/>
                  <a:pt x="3517757" y="6063408"/>
                  <a:pt x="3508347" y="6063408"/>
                </a:cubicBezTo>
                <a:cubicBezTo>
                  <a:pt x="3503724" y="6063408"/>
                  <a:pt x="3500195" y="6062665"/>
                  <a:pt x="3497760" y="6061179"/>
                </a:cubicBezTo>
                <a:cubicBezTo>
                  <a:pt x="3495324" y="6059694"/>
                  <a:pt x="3493735" y="6057300"/>
                  <a:pt x="3492992" y="6053998"/>
                </a:cubicBezTo>
                <a:cubicBezTo>
                  <a:pt x="3492828" y="6053090"/>
                  <a:pt x="3492559" y="6052512"/>
                  <a:pt x="3492188" y="6052264"/>
                </a:cubicBezTo>
                <a:cubicBezTo>
                  <a:pt x="3491816" y="6052016"/>
                  <a:pt x="3491136" y="6051893"/>
                  <a:pt x="3490145" y="6051893"/>
                </a:cubicBezTo>
                <a:lnTo>
                  <a:pt x="3486554" y="6051893"/>
                </a:lnTo>
                <a:cubicBezTo>
                  <a:pt x="3485481" y="6051893"/>
                  <a:pt x="3484759" y="6052058"/>
                  <a:pt x="3484386" y="6052388"/>
                </a:cubicBezTo>
                <a:cubicBezTo>
                  <a:pt x="3484015" y="6052718"/>
                  <a:pt x="3483829" y="6053337"/>
                  <a:pt x="3483829" y="6054245"/>
                </a:cubicBezTo>
                <a:cubicBezTo>
                  <a:pt x="3483829" y="6058373"/>
                  <a:pt x="3485439" y="6062005"/>
                  <a:pt x="3488658" y="6065142"/>
                </a:cubicBezTo>
                <a:cubicBezTo>
                  <a:pt x="3492951" y="6069187"/>
                  <a:pt x="3499597" y="6071209"/>
                  <a:pt x="3508595" y="6071209"/>
                </a:cubicBezTo>
                <a:cubicBezTo>
                  <a:pt x="3524361" y="6071209"/>
                  <a:pt x="3532246" y="6065018"/>
                  <a:pt x="3532246" y="6052636"/>
                </a:cubicBezTo>
                <a:lnTo>
                  <a:pt x="3532246" y="6052016"/>
                </a:lnTo>
                <a:cubicBezTo>
                  <a:pt x="3532246" y="6042441"/>
                  <a:pt x="3527293" y="6036414"/>
                  <a:pt x="3517386" y="6033938"/>
                </a:cubicBezTo>
                <a:lnTo>
                  <a:pt x="3507233" y="6031338"/>
                </a:lnTo>
                <a:cubicBezTo>
                  <a:pt x="3502445" y="6030099"/>
                  <a:pt x="3499143" y="6028737"/>
                  <a:pt x="3497326" y="6027251"/>
                </a:cubicBezTo>
                <a:cubicBezTo>
                  <a:pt x="3495510" y="6025766"/>
                  <a:pt x="3494602" y="6023661"/>
                  <a:pt x="3494602" y="6020936"/>
                </a:cubicBezTo>
                <a:cubicBezTo>
                  <a:pt x="3494602" y="6017634"/>
                  <a:pt x="3495758" y="6015075"/>
                  <a:pt x="3498069" y="6013259"/>
                </a:cubicBezTo>
                <a:cubicBezTo>
                  <a:pt x="3500380" y="6011443"/>
                  <a:pt x="3503559" y="6010535"/>
                  <a:pt x="3507604" y="6010535"/>
                </a:cubicBezTo>
                <a:cubicBezTo>
                  <a:pt x="3516602" y="6010535"/>
                  <a:pt x="3521596" y="6013631"/>
                  <a:pt x="3522586" y="6019822"/>
                </a:cubicBezTo>
                <a:cubicBezTo>
                  <a:pt x="3522752" y="6020647"/>
                  <a:pt x="3522999" y="6021205"/>
                  <a:pt x="3523330" y="6021494"/>
                </a:cubicBezTo>
                <a:cubicBezTo>
                  <a:pt x="3523661" y="6021782"/>
                  <a:pt x="3524361" y="6021927"/>
                  <a:pt x="3525434" y="6021927"/>
                </a:cubicBezTo>
                <a:lnTo>
                  <a:pt x="3529025" y="6021927"/>
                </a:lnTo>
                <a:cubicBezTo>
                  <a:pt x="3530098" y="6021927"/>
                  <a:pt x="3530821" y="6021762"/>
                  <a:pt x="3531193" y="6021432"/>
                </a:cubicBezTo>
                <a:cubicBezTo>
                  <a:pt x="3531564" y="6021101"/>
                  <a:pt x="3531749" y="6020482"/>
                  <a:pt x="3531749" y="6019574"/>
                </a:cubicBezTo>
                <a:cubicBezTo>
                  <a:pt x="3531749" y="6015529"/>
                  <a:pt x="3530264" y="6012021"/>
                  <a:pt x="3527293" y="6009049"/>
                </a:cubicBezTo>
                <a:cubicBezTo>
                  <a:pt x="3523412" y="6004922"/>
                  <a:pt x="3517138" y="6002858"/>
                  <a:pt x="3508470" y="6002858"/>
                </a:cubicBezTo>
                <a:close/>
                <a:moveTo>
                  <a:pt x="3406544" y="6002858"/>
                </a:moveTo>
                <a:cubicBezTo>
                  <a:pt x="3398124" y="6002858"/>
                  <a:pt x="3391665" y="6005541"/>
                  <a:pt x="3387165" y="6010907"/>
                </a:cubicBezTo>
                <a:cubicBezTo>
                  <a:pt x="3382667" y="6016272"/>
                  <a:pt x="3380417" y="6023908"/>
                  <a:pt x="3380417" y="6033814"/>
                </a:cubicBezTo>
                <a:lnTo>
                  <a:pt x="3380417" y="6043101"/>
                </a:lnTo>
                <a:cubicBezTo>
                  <a:pt x="3380417" y="6052099"/>
                  <a:pt x="3382686" y="6059033"/>
                  <a:pt x="3387228" y="6063904"/>
                </a:cubicBezTo>
                <a:cubicBezTo>
                  <a:pt x="3391767" y="6068774"/>
                  <a:pt x="3398165" y="6071209"/>
                  <a:pt x="3406420" y="6071209"/>
                </a:cubicBezTo>
                <a:cubicBezTo>
                  <a:pt x="3410548" y="6071209"/>
                  <a:pt x="3414386" y="6070549"/>
                  <a:pt x="3417935" y="6069228"/>
                </a:cubicBezTo>
                <a:cubicBezTo>
                  <a:pt x="3421486" y="6067907"/>
                  <a:pt x="3424292" y="6066091"/>
                  <a:pt x="3426356" y="6063780"/>
                </a:cubicBezTo>
                <a:cubicBezTo>
                  <a:pt x="3427512" y="6062459"/>
                  <a:pt x="3428543" y="6060891"/>
                  <a:pt x="3429452" y="6059074"/>
                </a:cubicBezTo>
                <a:cubicBezTo>
                  <a:pt x="3430359" y="6057258"/>
                  <a:pt x="3430814" y="6055772"/>
                  <a:pt x="3430814" y="6054617"/>
                </a:cubicBezTo>
                <a:cubicBezTo>
                  <a:pt x="3430814" y="6053709"/>
                  <a:pt x="3430648" y="6053151"/>
                  <a:pt x="3430318" y="6052945"/>
                </a:cubicBezTo>
                <a:cubicBezTo>
                  <a:pt x="3429989" y="6052739"/>
                  <a:pt x="3429246" y="6052636"/>
                  <a:pt x="3428089" y="6052636"/>
                </a:cubicBezTo>
                <a:lnTo>
                  <a:pt x="3423631" y="6052636"/>
                </a:lnTo>
                <a:cubicBezTo>
                  <a:pt x="3422806" y="6052636"/>
                  <a:pt x="3422228" y="6052739"/>
                  <a:pt x="3421899" y="6052945"/>
                </a:cubicBezTo>
                <a:cubicBezTo>
                  <a:pt x="3421568" y="6053151"/>
                  <a:pt x="3421196" y="6053750"/>
                  <a:pt x="3420783" y="6054741"/>
                </a:cubicBezTo>
                <a:cubicBezTo>
                  <a:pt x="3418472" y="6060106"/>
                  <a:pt x="3413808" y="6062789"/>
                  <a:pt x="3406791" y="6062789"/>
                </a:cubicBezTo>
                <a:cubicBezTo>
                  <a:pt x="3395730" y="6062789"/>
                  <a:pt x="3390198" y="6055979"/>
                  <a:pt x="3390198" y="6042358"/>
                </a:cubicBezTo>
                <a:lnTo>
                  <a:pt x="3390198" y="6040005"/>
                </a:lnTo>
                <a:lnTo>
                  <a:pt x="3429452" y="6040005"/>
                </a:lnTo>
                <a:cubicBezTo>
                  <a:pt x="3430442" y="6040005"/>
                  <a:pt x="3431124" y="6039840"/>
                  <a:pt x="3431494" y="6039510"/>
                </a:cubicBezTo>
                <a:cubicBezTo>
                  <a:pt x="3431867" y="6039180"/>
                  <a:pt x="3432052" y="6038520"/>
                  <a:pt x="3432052" y="6037529"/>
                </a:cubicBezTo>
                <a:lnTo>
                  <a:pt x="3432052" y="6031214"/>
                </a:lnTo>
                <a:cubicBezTo>
                  <a:pt x="3432052" y="6012310"/>
                  <a:pt x="3423549" y="6002858"/>
                  <a:pt x="3406544" y="6002858"/>
                </a:cubicBezTo>
                <a:close/>
                <a:moveTo>
                  <a:pt x="3344822" y="6002858"/>
                </a:moveTo>
                <a:cubicBezTo>
                  <a:pt x="3336401" y="6002858"/>
                  <a:pt x="3330046" y="6005706"/>
                  <a:pt x="3325752" y="6011402"/>
                </a:cubicBezTo>
                <a:lnTo>
                  <a:pt x="3325752" y="6007068"/>
                </a:lnTo>
                <a:cubicBezTo>
                  <a:pt x="3325752" y="6006077"/>
                  <a:pt x="3325567" y="6005417"/>
                  <a:pt x="3325196" y="6005087"/>
                </a:cubicBezTo>
                <a:cubicBezTo>
                  <a:pt x="3324824" y="6004757"/>
                  <a:pt x="3324144" y="6004591"/>
                  <a:pt x="3323153" y="6004591"/>
                </a:cubicBezTo>
                <a:lnTo>
                  <a:pt x="3318819" y="6004591"/>
                </a:lnTo>
                <a:cubicBezTo>
                  <a:pt x="3317828" y="6004591"/>
                  <a:pt x="3317148" y="6004757"/>
                  <a:pt x="3316775" y="6005087"/>
                </a:cubicBezTo>
                <a:cubicBezTo>
                  <a:pt x="3316405" y="6005417"/>
                  <a:pt x="3316218" y="6006077"/>
                  <a:pt x="3316218" y="6007068"/>
                </a:cubicBezTo>
                <a:lnTo>
                  <a:pt x="3316218" y="6066999"/>
                </a:lnTo>
                <a:cubicBezTo>
                  <a:pt x="3316218" y="6067990"/>
                  <a:pt x="3316405" y="6068650"/>
                  <a:pt x="3316775" y="6068980"/>
                </a:cubicBezTo>
                <a:cubicBezTo>
                  <a:pt x="3317148" y="6069311"/>
                  <a:pt x="3317828" y="6069476"/>
                  <a:pt x="3318819" y="6069476"/>
                </a:cubicBezTo>
                <a:lnTo>
                  <a:pt x="3323401" y="6069476"/>
                </a:lnTo>
                <a:cubicBezTo>
                  <a:pt x="3324390" y="6069476"/>
                  <a:pt x="3325071" y="6069311"/>
                  <a:pt x="3325443" y="6068980"/>
                </a:cubicBezTo>
                <a:cubicBezTo>
                  <a:pt x="3325814" y="6068650"/>
                  <a:pt x="3326000" y="6067990"/>
                  <a:pt x="3326000" y="6066999"/>
                </a:cubicBezTo>
                <a:lnTo>
                  <a:pt x="3326000" y="6028985"/>
                </a:lnTo>
                <a:cubicBezTo>
                  <a:pt x="3326000" y="6023702"/>
                  <a:pt x="3327486" y="6019471"/>
                  <a:pt x="3330458" y="6016293"/>
                </a:cubicBezTo>
                <a:cubicBezTo>
                  <a:pt x="3333430" y="6013115"/>
                  <a:pt x="3337351" y="6011526"/>
                  <a:pt x="3342221" y="6011526"/>
                </a:cubicBezTo>
                <a:cubicBezTo>
                  <a:pt x="3347092" y="6011526"/>
                  <a:pt x="3350663" y="6012743"/>
                  <a:pt x="3352932" y="6015178"/>
                </a:cubicBezTo>
                <a:cubicBezTo>
                  <a:pt x="3355203" y="6017614"/>
                  <a:pt x="3356338" y="6021473"/>
                  <a:pt x="3356338" y="6026756"/>
                </a:cubicBezTo>
                <a:lnTo>
                  <a:pt x="3356338" y="6066999"/>
                </a:lnTo>
                <a:cubicBezTo>
                  <a:pt x="3356338" y="6067990"/>
                  <a:pt x="3356523" y="6068650"/>
                  <a:pt x="3356895" y="6068980"/>
                </a:cubicBezTo>
                <a:cubicBezTo>
                  <a:pt x="3357266" y="6069311"/>
                  <a:pt x="3357948" y="6069476"/>
                  <a:pt x="3358937" y="6069476"/>
                </a:cubicBezTo>
                <a:lnTo>
                  <a:pt x="3363519" y="6069476"/>
                </a:lnTo>
                <a:cubicBezTo>
                  <a:pt x="3364510" y="6069476"/>
                  <a:pt x="3365192" y="6069311"/>
                  <a:pt x="3365563" y="6068980"/>
                </a:cubicBezTo>
                <a:cubicBezTo>
                  <a:pt x="3365935" y="6068650"/>
                  <a:pt x="3366119" y="6067990"/>
                  <a:pt x="3366119" y="6066999"/>
                </a:cubicBezTo>
                <a:lnTo>
                  <a:pt x="3366119" y="6024651"/>
                </a:lnTo>
                <a:cubicBezTo>
                  <a:pt x="3366119" y="6017552"/>
                  <a:pt x="3364283" y="6012145"/>
                  <a:pt x="3360609" y="6008430"/>
                </a:cubicBezTo>
                <a:cubicBezTo>
                  <a:pt x="3356936" y="6004715"/>
                  <a:pt x="3351674" y="6002858"/>
                  <a:pt x="3344822" y="6002858"/>
                </a:cubicBezTo>
                <a:close/>
                <a:moveTo>
                  <a:pt x="3196871" y="6002858"/>
                </a:moveTo>
                <a:cubicBezTo>
                  <a:pt x="3192083" y="6002858"/>
                  <a:pt x="3188057" y="6003477"/>
                  <a:pt x="3184797" y="6004715"/>
                </a:cubicBezTo>
                <a:cubicBezTo>
                  <a:pt x="3181536" y="6005954"/>
                  <a:pt x="3178833" y="6007811"/>
                  <a:pt x="3176687" y="6010287"/>
                </a:cubicBezTo>
                <a:cubicBezTo>
                  <a:pt x="3175695" y="6011361"/>
                  <a:pt x="3174871" y="6012599"/>
                  <a:pt x="3174210" y="6014002"/>
                </a:cubicBezTo>
                <a:cubicBezTo>
                  <a:pt x="3173549" y="6015406"/>
                  <a:pt x="3173220" y="6016685"/>
                  <a:pt x="3173220" y="6017841"/>
                </a:cubicBezTo>
                <a:cubicBezTo>
                  <a:pt x="3173220" y="6018749"/>
                  <a:pt x="3173405" y="6019368"/>
                  <a:pt x="3173776" y="6019698"/>
                </a:cubicBezTo>
                <a:cubicBezTo>
                  <a:pt x="3174149" y="6020028"/>
                  <a:pt x="3174871" y="6020193"/>
                  <a:pt x="3175944" y="6020193"/>
                </a:cubicBezTo>
                <a:lnTo>
                  <a:pt x="3180402" y="6020193"/>
                </a:lnTo>
                <a:cubicBezTo>
                  <a:pt x="3181391" y="6020193"/>
                  <a:pt x="3182031" y="6020049"/>
                  <a:pt x="3182321" y="6019760"/>
                </a:cubicBezTo>
                <a:cubicBezTo>
                  <a:pt x="3182610" y="6019471"/>
                  <a:pt x="3182919" y="6018914"/>
                  <a:pt x="3183249" y="6018088"/>
                </a:cubicBezTo>
                <a:cubicBezTo>
                  <a:pt x="3184404" y="6015364"/>
                  <a:pt x="3186014" y="6013445"/>
                  <a:pt x="3188078" y="6012331"/>
                </a:cubicBezTo>
                <a:cubicBezTo>
                  <a:pt x="3190143" y="6011216"/>
                  <a:pt x="3193072" y="6010659"/>
                  <a:pt x="3196871" y="6010659"/>
                </a:cubicBezTo>
                <a:cubicBezTo>
                  <a:pt x="3201657" y="6010659"/>
                  <a:pt x="3205105" y="6011670"/>
                  <a:pt x="3207210" y="6013693"/>
                </a:cubicBezTo>
                <a:cubicBezTo>
                  <a:pt x="3209314" y="6015715"/>
                  <a:pt x="3210366" y="6018996"/>
                  <a:pt x="3210366" y="6023537"/>
                </a:cubicBezTo>
                <a:lnTo>
                  <a:pt x="3210366" y="6030842"/>
                </a:lnTo>
                <a:cubicBezTo>
                  <a:pt x="3207807" y="6030512"/>
                  <a:pt x="3205248" y="6030265"/>
                  <a:pt x="3202689" y="6030099"/>
                </a:cubicBezTo>
                <a:cubicBezTo>
                  <a:pt x="3200131" y="6029934"/>
                  <a:pt x="3198026" y="6029852"/>
                  <a:pt x="3196374" y="6029852"/>
                </a:cubicBezTo>
                <a:cubicBezTo>
                  <a:pt x="3187459" y="6029852"/>
                  <a:pt x="3180875" y="6031544"/>
                  <a:pt x="3176624" y="6034929"/>
                </a:cubicBezTo>
                <a:cubicBezTo>
                  <a:pt x="3172373" y="6038313"/>
                  <a:pt x="3170248" y="6043679"/>
                  <a:pt x="3170248" y="6051026"/>
                </a:cubicBezTo>
                <a:cubicBezTo>
                  <a:pt x="3170248" y="6057877"/>
                  <a:pt x="3172271" y="6062872"/>
                  <a:pt x="3176315" y="6066009"/>
                </a:cubicBezTo>
                <a:cubicBezTo>
                  <a:pt x="3180360" y="6069146"/>
                  <a:pt x="3186552" y="6070714"/>
                  <a:pt x="3194888" y="6070714"/>
                </a:cubicBezTo>
                <a:lnTo>
                  <a:pt x="3196746" y="6070714"/>
                </a:lnTo>
                <a:cubicBezTo>
                  <a:pt x="3204836" y="6070714"/>
                  <a:pt x="3210760" y="6068898"/>
                  <a:pt x="3214515" y="6065266"/>
                </a:cubicBezTo>
                <a:cubicBezTo>
                  <a:pt x="3218272" y="6061634"/>
                  <a:pt x="3220149" y="6056103"/>
                  <a:pt x="3220149" y="6048673"/>
                </a:cubicBezTo>
                <a:lnTo>
                  <a:pt x="3220149" y="6023289"/>
                </a:lnTo>
                <a:cubicBezTo>
                  <a:pt x="3220149" y="6016025"/>
                  <a:pt x="3218333" y="6010803"/>
                  <a:pt x="3214700" y="6007625"/>
                </a:cubicBezTo>
                <a:cubicBezTo>
                  <a:pt x="3211069" y="6004447"/>
                  <a:pt x="3205126" y="6002858"/>
                  <a:pt x="3196871" y="6002858"/>
                </a:cubicBezTo>
                <a:close/>
                <a:moveTo>
                  <a:pt x="9930895" y="5998256"/>
                </a:moveTo>
                <a:cubicBezTo>
                  <a:pt x="9928583" y="5998256"/>
                  <a:pt x="9926726" y="5998896"/>
                  <a:pt x="9925322" y="6000175"/>
                </a:cubicBezTo>
                <a:cubicBezTo>
                  <a:pt x="9923919" y="6001455"/>
                  <a:pt x="9923217" y="6003167"/>
                  <a:pt x="9923217" y="6005314"/>
                </a:cubicBezTo>
                <a:lnTo>
                  <a:pt x="9923217" y="6007790"/>
                </a:lnTo>
                <a:cubicBezTo>
                  <a:pt x="9923217" y="6009854"/>
                  <a:pt x="9923919" y="6011546"/>
                  <a:pt x="9925322" y="6012867"/>
                </a:cubicBezTo>
                <a:cubicBezTo>
                  <a:pt x="9926726" y="6014188"/>
                  <a:pt x="9928583" y="6014848"/>
                  <a:pt x="9930895" y="6014848"/>
                </a:cubicBezTo>
                <a:cubicBezTo>
                  <a:pt x="9933289" y="6014848"/>
                  <a:pt x="9935167" y="6014188"/>
                  <a:pt x="9936529" y="6012867"/>
                </a:cubicBezTo>
                <a:cubicBezTo>
                  <a:pt x="9937891" y="6011546"/>
                  <a:pt x="9938572" y="6009854"/>
                  <a:pt x="9938572" y="6007790"/>
                </a:cubicBezTo>
                <a:lnTo>
                  <a:pt x="9938572" y="6005314"/>
                </a:lnTo>
                <a:cubicBezTo>
                  <a:pt x="9938572" y="6003167"/>
                  <a:pt x="9937891" y="6001455"/>
                  <a:pt x="9936529" y="6000175"/>
                </a:cubicBezTo>
                <a:cubicBezTo>
                  <a:pt x="9935167" y="5998896"/>
                  <a:pt x="9933289" y="5998256"/>
                  <a:pt x="9930895" y="5998256"/>
                </a:cubicBezTo>
                <a:close/>
                <a:moveTo>
                  <a:pt x="3117194" y="5989732"/>
                </a:moveTo>
                <a:lnTo>
                  <a:pt x="3134652" y="5989732"/>
                </a:lnTo>
                <a:cubicBezTo>
                  <a:pt x="3141091" y="5989732"/>
                  <a:pt x="3145632" y="5991053"/>
                  <a:pt x="3148274" y="5993695"/>
                </a:cubicBezTo>
                <a:cubicBezTo>
                  <a:pt x="3150915" y="5996336"/>
                  <a:pt x="3152235" y="6000959"/>
                  <a:pt x="3152235" y="6007563"/>
                </a:cubicBezTo>
                <a:lnTo>
                  <a:pt x="3152235" y="6009544"/>
                </a:lnTo>
                <a:cubicBezTo>
                  <a:pt x="3152235" y="6015571"/>
                  <a:pt x="3150895" y="6019863"/>
                  <a:pt x="3148211" y="6022422"/>
                </a:cubicBezTo>
                <a:cubicBezTo>
                  <a:pt x="3145529" y="6024981"/>
                  <a:pt x="3141009" y="6026261"/>
                  <a:pt x="3134652" y="6026261"/>
                </a:cubicBezTo>
                <a:lnTo>
                  <a:pt x="3117194" y="6026261"/>
                </a:lnTo>
                <a:close/>
                <a:moveTo>
                  <a:pt x="3284928" y="5986389"/>
                </a:moveTo>
                <a:cubicBezTo>
                  <a:pt x="3283938" y="5986389"/>
                  <a:pt x="3283258" y="5986554"/>
                  <a:pt x="3282885" y="5986884"/>
                </a:cubicBezTo>
                <a:cubicBezTo>
                  <a:pt x="3282515" y="5987215"/>
                  <a:pt x="3282328" y="5987875"/>
                  <a:pt x="3282328" y="5988866"/>
                </a:cubicBezTo>
                <a:lnTo>
                  <a:pt x="3282328" y="6004591"/>
                </a:lnTo>
                <a:lnTo>
                  <a:pt x="3274279" y="6004591"/>
                </a:lnTo>
                <a:cubicBezTo>
                  <a:pt x="3273454" y="6004591"/>
                  <a:pt x="3272897" y="6004757"/>
                  <a:pt x="3272608" y="6005087"/>
                </a:cubicBezTo>
                <a:cubicBezTo>
                  <a:pt x="3272320" y="6005417"/>
                  <a:pt x="3272175" y="6006077"/>
                  <a:pt x="3272175" y="6007068"/>
                </a:cubicBezTo>
                <a:lnTo>
                  <a:pt x="3272175" y="6010287"/>
                </a:lnTo>
                <a:cubicBezTo>
                  <a:pt x="3272175" y="6011278"/>
                  <a:pt x="3272320" y="6011938"/>
                  <a:pt x="3272608" y="6012269"/>
                </a:cubicBezTo>
                <a:cubicBezTo>
                  <a:pt x="3272897" y="6012599"/>
                  <a:pt x="3273454" y="6012764"/>
                  <a:pt x="3274279" y="6012764"/>
                </a:cubicBezTo>
                <a:lnTo>
                  <a:pt x="3282328" y="6012764"/>
                </a:lnTo>
                <a:lnTo>
                  <a:pt x="3282328" y="6053007"/>
                </a:lnTo>
                <a:cubicBezTo>
                  <a:pt x="3282328" y="6058703"/>
                  <a:pt x="3283628" y="6062872"/>
                  <a:pt x="3286228" y="6065513"/>
                </a:cubicBezTo>
                <a:cubicBezTo>
                  <a:pt x="3288829" y="6068155"/>
                  <a:pt x="3292894" y="6069476"/>
                  <a:pt x="3298425" y="6069476"/>
                </a:cubicBezTo>
                <a:lnTo>
                  <a:pt x="3305112" y="6069476"/>
                </a:lnTo>
                <a:cubicBezTo>
                  <a:pt x="3306021" y="6069476"/>
                  <a:pt x="3306599" y="6069311"/>
                  <a:pt x="3306845" y="6068980"/>
                </a:cubicBezTo>
                <a:cubicBezTo>
                  <a:pt x="3307093" y="6068650"/>
                  <a:pt x="3307218" y="6067990"/>
                  <a:pt x="3307218" y="6066999"/>
                </a:cubicBezTo>
                <a:lnTo>
                  <a:pt x="3307218" y="6063285"/>
                </a:lnTo>
                <a:cubicBezTo>
                  <a:pt x="3307218" y="6062294"/>
                  <a:pt x="3307093" y="6061634"/>
                  <a:pt x="3306845" y="6061303"/>
                </a:cubicBezTo>
                <a:cubicBezTo>
                  <a:pt x="3306599" y="6060973"/>
                  <a:pt x="3306021" y="6060808"/>
                  <a:pt x="3305112" y="6060808"/>
                </a:cubicBezTo>
                <a:lnTo>
                  <a:pt x="3299292" y="6060808"/>
                </a:lnTo>
                <a:cubicBezTo>
                  <a:pt x="3296733" y="6060808"/>
                  <a:pt x="3294897" y="6060065"/>
                  <a:pt x="3293782" y="6058579"/>
                </a:cubicBezTo>
                <a:cubicBezTo>
                  <a:pt x="3292668" y="6057093"/>
                  <a:pt x="3292110" y="6054699"/>
                  <a:pt x="3292110" y="6051397"/>
                </a:cubicBezTo>
                <a:lnTo>
                  <a:pt x="3292110" y="6012764"/>
                </a:lnTo>
                <a:lnTo>
                  <a:pt x="3304865" y="6012764"/>
                </a:lnTo>
                <a:cubicBezTo>
                  <a:pt x="3305772" y="6012764"/>
                  <a:pt x="3306351" y="6012599"/>
                  <a:pt x="3306599" y="6012269"/>
                </a:cubicBezTo>
                <a:cubicBezTo>
                  <a:pt x="3306845" y="6011938"/>
                  <a:pt x="3306969" y="6011278"/>
                  <a:pt x="3306969" y="6010287"/>
                </a:cubicBezTo>
                <a:lnTo>
                  <a:pt x="3306969" y="6007068"/>
                </a:lnTo>
                <a:cubicBezTo>
                  <a:pt x="3306969" y="6006077"/>
                  <a:pt x="3306845" y="6005417"/>
                  <a:pt x="3306599" y="6005087"/>
                </a:cubicBezTo>
                <a:cubicBezTo>
                  <a:pt x="3306351" y="6004757"/>
                  <a:pt x="3305772" y="6004591"/>
                  <a:pt x="3304865" y="6004591"/>
                </a:cubicBezTo>
                <a:lnTo>
                  <a:pt x="3292110" y="6004591"/>
                </a:lnTo>
                <a:lnTo>
                  <a:pt x="3292110" y="5988866"/>
                </a:lnTo>
                <a:cubicBezTo>
                  <a:pt x="3292110" y="5987875"/>
                  <a:pt x="3291925" y="5987215"/>
                  <a:pt x="3291553" y="5986884"/>
                </a:cubicBezTo>
                <a:cubicBezTo>
                  <a:pt x="3291182" y="5986554"/>
                  <a:pt x="3290500" y="5986389"/>
                  <a:pt x="3289511" y="5986389"/>
                </a:cubicBezTo>
                <a:close/>
                <a:moveTo>
                  <a:pt x="6408128" y="5981312"/>
                </a:moveTo>
                <a:cubicBezTo>
                  <a:pt x="6407137" y="5981312"/>
                  <a:pt x="6406456" y="5981477"/>
                  <a:pt x="6406085" y="5981808"/>
                </a:cubicBezTo>
                <a:cubicBezTo>
                  <a:pt x="6405713" y="5982138"/>
                  <a:pt x="6405527" y="5982798"/>
                  <a:pt x="6405527" y="5983789"/>
                </a:cubicBezTo>
                <a:lnTo>
                  <a:pt x="6405527" y="6045454"/>
                </a:lnTo>
                <a:cubicBezTo>
                  <a:pt x="6405527" y="6053626"/>
                  <a:pt x="6407859" y="6059962"/>
                  <a:pt x="6412524" y="6064461"/>
                </a:cubicBezTo>
                <a:cubicBezTo>
                  <a:pt x="6417188" y="6068960"/>
                  <a:pt x="6423771" y="6071209"/>
                  <a:pt x="6432274" y="6071209"/>
                </a:cubicBezTo>
                <a:cubicBezTo>
                  <a:pt x="6440694" y="6071209"/>
                  <a:pt x="6447236" y="6068795"/>
                  <a:pt x="6451900" y="6063966"/>
                </a:cubicBezTo>
                <a:cubicBezTo>
                  <a:pt x="6456564" y="6059136"/>
                  <a:pt x="6458896" y="6052347"/>
                  <a:pt x="6458896" y="6043596"/>
                </a:cubicBezTo>
                <a:lnTo>
                  <a:pt x="6458896" y="6029852"/>
                </a:lnTo>
                <a:cubicBezTo>
                  <a:pt x="6458896" y="6021184"/>
                  <a:pt x="6456708" y="6014518"/>
                  <a:pt x="6452333" y="6009854"/>
                </a:cubicBezTo>
                <a:cubicBezTo>
                  <a:pt x="6447958" y="6005190"/>
                  <a:pt x="6441726" y="6002858"/>
                  <a:pt x="6433636" y="6002858"/>
                </a:cubicBezTo>
                <a:cubicBezTo>
                  <a:pt x="6425546" y="6002858"/>
                  <a:pt x="6419437" y="6005417"/>
                  <a:pt x="6415310" y="6010535"/>
                </a:cubicBezTo>
                <a:lnTo>
                  <a:pt x="6415310" y="5983789"/>
                </a:lnTo>
                <a:cubicBezTo>
                  <a:pt x="6415310" y="5982798"/>
                  <a:pt x="6415124" y="5982138"/>
                  <a:pt x="6414752" y="5981808"/>
                </a:cubicBezTo>
                <a:cubicBezTo>
                  <a:pt x="6414381" y="5981477"/>
                  <a:pt x="6413700" y="5981312"/>
                  <a:pt x="6412709" y="5981312"/>
                </a:cubicBezTo>
                <a:close/>
                <a:moveTo>
                  <a:pt x="6355226" y="5981312"/>
                </a:moveTo>
                <a:cubicBezTo>
                  <a:pt x="6354235" y="5981312"/>
                  <a:pt x="6353554" y="5981477"/>
                  <a:pt x="6353183" y="5981808"/>
                </a:cubicBezTo>
                <a:cubicBezTo>
                  <a:pt x="6352811" y="5982138"/>
                  <a:pt x="6352626" y="5982798"/>
                  <a:pt x="6352626" y="5983789"/>
                </a:cubicBezTo>
                <a:lnTo>
                  <a:pt x="6352626" y="6010535"/>
                </a:lnTo>
                <a:cubicBezTo>
                  <a:pt x="6348498" y="6005417"/>
                  <a:pt x="6342431" y="6002858"/>
                  <a:pt x="6334423" y="6002858"/>
                </a:cubicBezTo>
                <a:cubicBezTo>
                  <a:pt x="6326499" y="6002858"/>
                  <a:pt x="6320287" y="6005355"/>
                  <a:pt x="6315788" y="6010349"/>
                </a:cubicBezTo>
                <a:cubicBezTo>
                  <a:pt x="6311289" y="6015344"/>
                  <a:pt x="6309039" y="6022257"/>
                  <a:pt x="6309039" y="6031090"/>
                </a:cubicBezTo>
                <a:lnTo>
                  <a:pt x="6309039" y="6044835"/>
                </a:lnTo>
                <a:cubicBezTo>
                  <a:pt x="6309039" y="6053172"/>
                  <a:pt x="6311371" y="6059652"/>
                  <a:pt x="6316035" y="6064275"/>
                </a:cubicBezTo>
                <a:cubicBezTo>
                  <a:pt x="6320699" y="6068898"/>
                  <a:pt x="6327241" y="6071209"/>
                  <a:pt x="6335662" y="6071209"/>
                </a:cubicBezTo>
                <a:cubicBezTo>
                  <a:pt x="6344164" y="6071209"/>
                  <a:pt x="6350748" y="6068733"/>
                  <a:pt x="6355412" y="6063780"/>
                </a:cubicBezTo>
                <a:cubicBezTo>
                  <a:pt x="6360076" y="6058827"/>
                  <a:pt x="6362408" y="6051893"/>
                  <a:pt x="6362408" y="6042977"/>
                </a:cubicBezTo>
                <a:lnTo>
                  <a:pt x="6362408" y="5983789"/>
                </a:lnTo>
                <a:cubicBezTo>
                  <a:pt x="6362408" y="5982798"/>
                  <a:pt x="6362222" y="5982138"/>
                  <a:pt x="6361851" y="5981808"/>
                </a:cubicBezTo>
                <a:cubicBezTo>
                  <a:pt x="6361479" y="5981477"/>
                  <a:pt x="6360798" y="5981312"/>
                  <a:pt x="6359807" y="5981312"/>
                </a:cubicBezTo>
                <a:close/>
                <a:moveTo>
                  <a:pt x="6191158" y="5981312"/>
                </a:moveTo>
                <a:cubicBezTo>
                  <a:pt x="6190167" y="5981312"/>
                  <a:pt x="6189486" y="5981477"/>
                  <a:pt x="6189115" y="5981808"/>
                </a:cubicBezTo>
                <a:cubicBezTo>
                  <a:pt x="6188743" y="5982138"/>
                  <a:pt x="6188557" y="5982798"/>
                  <a:pt x="6188557" y="5983789"/>
                </a:cubicBezTo>
                <a:lnTo>
                  <a:pt x="6188557" y="6066999"/>
                </a:lnTo>
                <a:cubicBezTo>
                  <a:pt x="6188557" y="6067990"/>
                  <a:pt x="6188743" y="6068650"/>
                  <a:pt x="6189115" y="6068980"/>
                </a:cubicBezTo>
                <a:cubicBezTo>
                  <a:pt x="6189486" y="6069311"/>
                  <a:pt x="6190167" y="6069476"/>
                  <a:pt x="6191158" y="6069476"/>
                </a:cubicBezTo>
                <a:lnTo>
                  <a:pt x="6234620" y="6069476"/>
                </a:lnTo>
                <a:cubicBezTo>
                  <a:pt x="6235611" y="6069476"/>
                  <a:pt x="6236292" y="6069311"/>
                  <a:pt x="6236663" y="6068980"/>
                </a:cubicBezTo>
                <a:cubicBezTo>
                  <a:pt x="6237035" y="6068650"/>
                  <a:pt x="6237221" y="6067990"/>
                  <a:pt x="6237221" y="6066999"/>
                </a:cubicBezTo>
                <a:lnTo>
                  <a:pt x="6237221" y="6063532"/>
                </a:lnTo>
                <a:cubicBezTo>
                  <a:pt x="6237221" y="6062542"/>
                  <a:pt x="6237035" y="6061881"/>
                  <a:pt x="6236663" y="6061551"/>
                </a:cubicBezTo>
                <a:cubicBezTo>
                  <a:pt x="6236292" y="6061221"/>
                  <a:pt x="6235611" y="6061056"/>
                  <a:pt x="6234620" y="6061056"/>
                </a:cubicBezTo>
                <a:lnTo>
                  <a:pt x="6198463" y="6061056"/>
                </a:lnTo>
                <a:lnTo>
                  <a:pt x="6198463" y="5983789"/>
                </a:lnTo>
                <a:cubicBezTo>
                  <a:pt x="6198463" y="5982798"/>
                  <a:pt x="6198278" y="5982138"/>
                  <a:pt x="6197906" y="5981808"/>
                </a:cubicBezTo>
                <a:cubicBezTo>
                  <a:pt x="6197535" y="5981477"/>
                  <a:pt x="6196854" y="5981312"/>
                  <a:pt x="6195863" y="5981312"/>
                </a:cubicBezTo>
                <a:close/>
                <a:moveTo>
                  <a:pt x="3844941" y="5981312"/>
                </a:moveTo>
                <a:cubicBezTo>
                  <a:pt x="3838915" y="5981312"/>
                  <a:pt x="3834230" y="5982860"/>
                  <a:pt x="3830888" y="5985956"/>
                </a:cubicBezTo>
                <a:cubicBezTo>
                  <a:pt x="3827543" y="5989051"/>
                  <a:pt x="3825872" y="5993406"/>
                  <a:pt x="3825872" y="5999019"/>
                </a:cubicBezTo>
                <a:lnTo>
                  <a:pt x="3825872" y="6004591"/>
                </a:lnTo>
                <a:lnTo>
                  <a:pt x="3817947" y="6004591"/>
                </a:lnTo>
                <a:cubicBezTo>
                  <a:pt x="3817123" y="6004591"/>
                  <a:pt x="3816565" y="6004757"/>
                  <a:pt x="3816276" y="6005087"/>
                </a:cubicBezTo>
                <a:cubicBezTo>
                  <a:pt x="3815986" y="6005417"/>
                  <a:pt x="3815843" y="6006077"/>
                  <a:pt x="3815843" y="6007068"/>
                </a:cubicBezTo>
                <a:lnTo>
                  <a:pt x="3815843" y="6010287"/>
                </a:lnTo>
                <a:cubicBezTo>
                  <a:pt x="3815843" y="6011278"/>
                  <a:pt x="3815986" y="6011938"/>
                  <a:pt x="3816276" y="6012269"/>
                </a:cubicBezTo>
                <a:cubicBezTo>
                  <a:pt x="3816565" y="6012599"/>
                  <a:pt x="3817123" y="6012764"/>
                  <a:pt x="3817947" y="6012764"/>
                </a:cubicBezTo>
                <a:lnTo>
                  <a:pt x="3825872" y="6012764"/>
                </a:lnTo>
                <a:lnTo>
                  <a:pt x="3825872" y="6066999"/>
                </a:lnTo>
                <a:cubicBezTo>
                  <a:pt x="3825872" y="6067990"/>
                  <a:pt x="3826059" y="6068650"/>
                  <a:pt x="3826430" y="6068980"/>
                </a:cubicBezTo>
                <a:cubicBezTo>
                  <a:pt x="3826801" y="6069311"/>
                  <a:pt x="3827482" y="6069476"/>
                  <a:pt x="3828473" y="6069476"/>
                </a:cubicBezTo>
                <a:lnTo>
                  <a:pt x="3833054" y="6069476"/>
                </a:lnTo>
                <a:cubicBezTo>
                  <a:pt x="3834044" y="6069476"/>
                  <a:pt x="3834726" y="6069311"/>
                  <a:pt x="3835097" y="6068980"/>
                </a:cubicBezTo>
                <a:cubicBezTo>
                  <a:pt x="3835469" y="6068650"/>
                  <a:pt x="3835654" y="6067990"/>
                  <a:pt x="3835654" y="6066999"/>
                </a:cubicBezTo>
                <a:lnTo>
                  <a:pt x="3835654" y="6012764"/>
                </a:lnTo>
                <a:lnTo>
                  <a:pt x="3846923" y="6012764"/>
                </a:lnTo>
                <a:cubicBezTo>
                  <a:pt x="3847830" y="6012764"/>
                  <a:pt x="3848408" y="6012599"/>
                  <a:pt x="3848656" y="6012269"/>
                </a:cubicBezTo>
                <a:cubicBezTo>
                  <a:pt x="3848904" y="6011938"/>
                  <a:pt x="3849028" y="6011278"/>
                  <a:pt x="3849028" y="6010287"/>
                </a:cubicBezTo>
                <a:lnTo>
                  <a:pt x="3849028" y="6007068"/>
                </a:lnTo>
                <a:cubicBezTo>
                  <a:pt x="3849028" y="6006077"/>
                  <a:pt x="3848904" y="6005417"/>
                  <a:pt x="3848656" y="6005087"/>
                </a:cubicBezTo>
                <a:cubicBezTo>
                  <a:pt x="3848408" y="6004757"/>
                  <a:pt x="3847830" y="6004591"/>
                  <a:pt x="3846923" y="6004591"/>
                </a:cubicBezTo>
                <a:lnTo>
                  <a:pt x="3835654" y="6004591"/>
                </a:lnTo>
                <a:lnTo>
                  <a:pt x="3835654" y="5999515"/>
                </a:lnTo>
                <a:cubicBezTo>
                  <a:pt x="3835654" y="5995882"/>
                  <a:pt x="3836419" y="5993323"/>
                  <a:pt x="3837945" y="5991837"/>
                </a:cubicBezTo>
                <a:cubicBezTo>
                  <a:pt x="3839472" y="5990352"/>
                  <a:pt x="3842093" y="5989609"/>
                  <a:pt x="3845808" y="5989609"/>
                </a:cubicBezTo>
                <a:lnTo>
                  <a:pt x="3849399" y="5989609"/>
                </a:lnTo>
                <a:cubicBezTo>
                  <a:pt x="3850307" y="5989609"/>
                  <a:pt x="3850885" y="5989444"/>
                  <a:pt x="3851132" y="5989113"/>
                </a:cubicBezTo>
                <a:cubicBezTo>
                  <a:pt x="3851381" y="5988783"/>
                  <a:pt x="3851505" y="5988123"/>
                  <a:pt x="3851505" y="5987132"/>
                </a:cubicBezTo>
                <a:lnTo>
                  <a:pt x="3851505" y="5983789"/>
                </a:lnTo>
                <a:cubicBezTo>
                  <a:pt x="3851505" y="5982798"/>
                  <a:pt x="3851381" y="5982138"/>
                  <a:pt x="3851132" y="5981808"/>
                </a:cubicBezTo>
                <a:cubicBezTo>
                  <a:pt x="3850885" y="5981477"/>
                  <a:pt x="3850307" y="5981312"/>
                  <a:pt x="3849399" y="5981312"/>
                </a:cubicBezTo>
                <a:close/>
                <a:moveTo>
                  <a:pt x="3547419" y="5981312"/>
                </a:moveTo>
                <a:cubicBezTo>
                  <a:pt x="3546428" y="5981312"/>
                  <a:pt x="3545746" y="5981477"/>
                  <a:pt x="3545376" y="5981808"/>
                </a:cubicBezTo>
                <a:cubicBezTo>
                  <a:pt x="3545005" y="5982138"/>
                  <a:pt x="3544818" y="5982798"/>
                  <a:pt x="3544818" y="5983789"/>
                </a:cubicBezTo>
                <a:lnTo>
                  <a:pt x="3544818" y="6066999"/>
                </a:lnTo>
                <a:cubicBezTo>
                  <a:pt x="3544818" y="6067990"/>
                  <a:pt x="3545005" y="6068650"/>
                  <a:pt x="3545376" y="6068980"/>
                </a:cubicBezTo>
                <a:cubicBezTo>
                  <a:pt x="3545746" y="6069311"/>
                  <a:pt x="3546428" y="6069476"/>
                  <a:pt x="3547419" y="6069476"/>
                </a:cubicBezTo>
                <a:lnTo>
                  <a:pt x="3552000" y="6069476"/>
                </a:lnTo>
                <a:cubicBezTo>
                  <a:pt x="3552990" y="6069476"/>
                  <a:pt x="3553672" y="6069311"/>
                  <a:pt x="3554043" y="6068980"/>
                </a:cubicBezTo>
                <a:cubicBezTo>
                  <a:pt x="3554415" y="6068650"/>
                  <a:pt x="3554601" y="6067990"/>
                  <a:pt x="3554601" y="6066999"/>
                </a:cubicBezTo>
                <a:lnTo>
                  <a:pt x="3554601" y="6028985"/>
                </a:lnTo>
                <a:cubicBezTo>
                  <a:pt x="3554601" y="6023702"/>
                  <a:pt x="3556086" y="6019471"/>
                  <a:pt x="3559058" y="6016293"/>
                </a:cubicBezTo>
                <a:cubicBezTo>
                  <a:pt x="3562029" y="6013115"/>
                  <a:pt x="3565951" y="6011526"/>
                  <a:pt x="3570821" y="6011526"/>
                </a:cubicBezTo>
                <a:cubicBezTo>
                  <a:pt x="3575692" y="6011526"/>
                  <a:pt x="3579262" y="6012743"/>
                  <a:pt x="3581532" y="6015178"/>
                </a:cubicBezTo>
                <a:cubicBezTo>
                  <a:pt x="3583803" y="6017614"/>
                  <a:pt x="3584937" y="6021473"/>
                  <a:pt x="3584937" y="6026756"/>
                </a:cubicBezTo>
                <a:lnTo>
                  <a:pt x="3584937" y="6066999"/>
                </a:lnTo>
                <a:cubicBezTo>
                  <a:pt x="3584937" y="6067990"/>
                  <a:pt x="3585123" y="6068650"/>
                  <a:pt x="3585495" y="6068980"/>
                </a:cubicBezTo>
                <a:cubicBezTo>
                  <a:pt x="3585866" y="6069311"/>
                  <a:pt x="3586548" y="6069476"/>
                  <a:pt x="3587537" y="6069476"/>
                </a:cubicBezTo>
                <a:lnTo>
                  <a:pt x="3592119" y="6069476"/>
                </a:lnTo>
                <a:cubicBezTo>
                  <a:pt x="3593111" y="6069476"/>
                  <a:pt x="3593791" y="6069311"/>
                  <a:pt x="3594163" y="6068980"/>
                </a:cubicBezTo>
                <a:cubicBezTo>
                  <a:pt x="3594534" y="6068650"/>
                  <a:pt x="3594720" y="6067990"/>
                  <a:pt x="3594720" y="6066999"/>
                </a:cubicBezTo>
                <a:lnTo>
                  <a:pt x="3594720" y="6024651"/>
                </a:lnTo>
                <a:cubicBezTo>
                  <a:pt x="3594720" y="6017552"/>
                  <a:pt x="3592883" y="6012145"/>
                  <a:pt x="3589210" y="6008430"/>
                </a:cubicBezTo>
                <a:cubicBezTo>
                  <a:pt x="3585536" y="6004715"/>
                  <a:pt x="3580274" y="6002858"/>
                  <a:pt x="3573421" y="6002858"/>
                </a:cubicBezTo>
                <a:cubicBezTo>
                  <a:pt x="3565250" y="6002858"/>
                  <a:pt x="3558975" y="6005623"/>
                  <a:pt x="3554601" y="6011154"/>
                </a:cubicBezTo>
                <a:lnTo>
                  <a:pt x="3554601" y="5983789"/>
                </a:lnTo>
                <a:cubicBezTo>
                  <a:pt x="3554601" y="5982798"/>
                  <a:pt x="3554415" y="5982138"/>
                  <a:pt x="3554043" y="5981808"/>
                </a:cubicBezTo>
                <a:cubicBezTo>
                  <a:pt x="3553672" y="5981477"/>
                  <a:pt x="3552990" y="5981312"/>
                  <a:pt x="3552000" y="5981312"/>
                </a:cubicBezTo>
                <a:close/>
                <a:moveTo>
                  <a:pt x="3110135" y="5981312"/>
                </a:moveTo>
                <a:cubicBezTo>
                  <a:pt x="3109145" y="5981312"/>
                  <a:pt x="3108463" y="5981477"/>
                  <a:pt x="3108093" y="5981808"/>
                </a:cubicBezTo>
                <a:cubicBezTo>
                  <a:pt x="3107720" y="5982138"/>
                  <a:pt x="3107536" y="5982798"/>
                  <a:pt x="3107536" y="5983789"/>
                </a:cubicBezTo>
                <a:lnTo>
                  <a:pt x="3107536" y="6066999"/>
                </a:lnTo>
                <a:cubicBezTo>
                  <a:pt x="3107536" y="6067990"/>
                  <a:pt x="3107720" y="6068650"/>
                  <a:pt x="3108093" y="6068980"/>
                </a:cubicBezTo>
                <a:cubicBezTo>
                  <a:pt x="3108463" y="6069311"/>
                  <a:pt x="3109145" y="6069476"/>
                  <a:pt x="3110135" y="6069476"/>
                </a:cubicBezTo>
                <a:lnTo>
                  <a:pt x="3114593" y="6069476"/>
                </a:lnTo>
                <a:cubicBezTo>
                  <a:pt x="3115584" y="6069476"/>
                  <a:pt x="3116264" y="6069311"/>
                  <a:pt x="3116636" y="6068980"/>
                </a:cubicBezTo>
                <a:cubicBezTo>
                  <a:pt x="3117007" y="6068650"/>
                  <a:pt x="3117194" y="6067990"/>
                  <a:pt x="3117194" y="6066999"/>
                </a:cubicBezTo>
                <a:lnTo>
                  <a:pt x="3117194" y="6034681"/>
                </a:lnTo>
                <a:lnTo>
                  <a:pt x="3134282" y="6034681"/>
                </a:lnTo>
                <a:cubicBezTo>
                  <a:pt x="3153102" y="6034681"/>
                  <a:pt x="3162513" y="6026302"/>
                  <a:pt x="3162513" y="6009544"/>
                </a:cubicBezTo>
                <a:lnTo>
                  <a:pt x="3162513" y="6007068"/>
                </a:lnTo>
                <a:cubicBezTo>
                  <a:pt x="3162513" y="5998153"/>
                  <a:pt x="3160264" y="5991631"/>
                  <a:pt x="3155765" y="5987504"/>
                </a:cubicBezTo>
                <a:cubicBezTo>
                  <a:pt x="3151265" y="5983376"/>
                  <a:pt x="3144104" y="5981312"/>
                  <a:pt x="3134282" y="5981312"/>
                </a:cubicBezTo>
                <a:close/>
                <a:moveTo>
                  <a:pt x="3616447" y="5980074"/>
                </a:moveTo>
                <a:cubicBezTo>
                  <a:pt x="3614548" y="5980074"/>
                  <a:pt x="3613041" y="5980569"/>
                  <a:pt x="3611926" y="5981560"/>
                </a:cubicBezTo>
                <a:cubicBezTo>
                  <a:pt x="3610812" y="5982551"/>
                  <a:pt x="3610254" y="5983871"/>
                  <a:pt x="3610255" y="5985522"/>
                </a:cubicBezTo>
                <a:lnTo>
                  <a:pt x="3610255" y="5987504"/>
                </a:lnTo>
                <a:cubicBezTo>
                  <a:pt x="3610254" y="5989237"/>
                  <a:pt x="3610812" y="5990599"/>
                  <a:pt x="3611926" y="5991590"/>
                </a:cubicBezTo>
                <a:cubicBezTo>
                  <a:pt x="3613041" y="5992580"/>
                  <a:pt x="3614548" y="5993076"/>
                  <a:pt x="3616447" y="5993076"/>
                </a:cubicBezTo>
                <a:cubicBezTo>
                  <a:pt x="3618427" y="5993076"/>
                  <a:pt x="3619995" y="5992580"/>
                  <a:pt x="3621151" y="5991590"/>
                </a:cubicBezTo>
                <a:cubicBezTo>
                  <a:pt x="3622308" y="5990599"/>
                  <a:pt x="3622885" y="5989237"/>
                  <a:pt x="3622885" y="5987504"/>
                </a:cubicBezTo>
                <a:lnTo>
                  <a:pt x="3622885" y="5985522"/>
                </a:lnTo>
                <a:cubicBezTo>
                  <a:pt x="3622885" y="5983871"/>
                  <a:pt x="3622308" y="5982551"/>
                  <a:pt x="3621151" y="5981560"/>
                </a:cubicBezTo>
                <a:cubicBezTo>
                  <a:pt x="3619995" y="5980569"/>
                  <a:pt x="3618427" y="5980074"/>
                  <a:pt x="3616447" y="5980074"/>
                </a:cubicBezTo>
                <a:close/>
                <a:moveTo>
                  <a:pt x="9777152" y="5954917"/>
                </a:moveTo>
                <a:cubicBezTo>
                  <a:pt x="9788461" y="5954917"/>
                  <a:pt x="9794116" y="5961769"/>
                  <a:pt x="9794116" y="5975472"/>
                </a:cubicBezTo>
                <a:lnTo>
                  <a:pt x="9794116" y="5985873"/>
                </a:lnTo>
                <a:cubicBezTo>
                  <a:pt x="9794116" y="5999577"/>
                  <a:pt x="9788461" y="6006428"/>
                  <a:pt x="9777152" y="6006428"/>
                </a:cubicBezTo>
                <a:cubicBezTo>
                  <a:pt x="9765842" y="6006428"/>
                  <a:pt x="9760188" y="5999577"/>
                  <a:pt x="9760188" y="5985873"/>
                </a:cubicBezTo>
                <a:lnTo>
                  <a:pt x="9760188" y="5975472"/>
                </a:lnTo>
                <a:cubicBezTo>
                  <a:pt x="9760188" y="5961769"/>
                  <a:pt x="9765842" y="5954917"/>
                  <a:pt x="9777152" y="5954917"/>
                </a:cubicBezTo>
                <a:close/>
                <a:moveTo>
                  <a:pt x="9519977" y="5954917"/>
                </a:moveTo>
                <a:cubicBezTo>
                  <a:pt x="9531286" y="5954917"/>
                  <a:pt x="9536941" y="5961769"/>
                  <a:pt x="9536941" y="5975472"/>
                </a:cubicBezTo>
                <a:lnTo>
                  <a:pt x="9536941" y="5985873"/>
                </a:lnTo>
                <a:cubicBezTo>
                  <a:pt x="9536941" y="5999577"/>
                  <a:pt x="9531286" y="6006428"/>
                  <a:pt x="9519977" y="6006428"/>
                </a:cubicBezTo>
                <a:cubicBezTo>
                  <a:pt x="9508667" y="6006428"/>
                  <a:pt x="9503013" y="5999577"/>
                  <a:pt x="9503013" y="5985873"/>
                </a:cubicBezTo>
                <a:lnTo>
                  <a:pt x="9503013" y="5975472"/>
                </a:lnTo>
                <a:cubicBezTo>
                  <a:pt x="9503013" y="5961769"/>
                  <a:pt x="9508667" y="5954917"/>
                  <a:pt x="9519977" y="5954917"/>
                </a:cubicBezTo>
                <a:close/>
                <a:moveTo>
                  <a:pt x="9454540" y="5954917"/>
                </a:moveTo>
                <a:cubicBezTo>
                  <a:pt x="9465767" y="5954917"/>
                  <a:pt x="9471380" y="5961769"/>
                  <a:pt x="9471380" y="5975472"/>
                </a:cubicBezTo>
                <a:lnTo>
                  <a:pt x="9471380" y="5985873"/>
                </a:lnTo>
                <a:cubicBezTo>
                  <a:pt x="9471380" y="5999577"/>
                  <a:pt x="9465725" y="6006428"/>
                  <a:pt x="9454416" y="6006428"/>
                </a:cubicBezTo>
                <a:cubicBezTo>
                  <a:pt x="9448885" y="6006428"/>
                  <a:pt x="9444696" y="6004674"/>
                  <a:pt x="9441848" y="6001166"/>
                </a:cubicBezTo>
                <a:cubicBezTo>
                  <a:pt x="9439000" y="5997657"/>
                  <a:pt x="9437576" y="5992560"/>
                  <a:pt x="9437576" y="5985873"/>
                </a:cubicBezTo>
                <a:lnTo>
                  <a:pt x="9437576" y="5975472"/>
                </a:lnTo>
                <a:cubicBezTo>
                  <a:pt x="9437576" y="5961769"/>
                  <a:pt x="9443230" y="5954917"/>
                  <a:pt x="9454540" y="5954917"/>
                </a:cubicBezTo>
                <a:close/>
                <a:moveTo>
                  <a:pt x="9387865" y="5954917"/>
                </a:moveTo>
                <a:cubicBezTo>
                  <a:pt x="9399092" y="5954917"/>
                  <a:pt x="9404705" y="5961769"/>
                  <a:pt x="9404705" y="5975472"/>
                </a:cubicBezTo>
                <a:lnTo>
                  <a:pt x="9404705" y="5985873"/>
                </a:lnTo>
                <a:cubicBezTo>
                  <a:pt x="9404705" y="5999577"/>
                  <a:pt x="9399050" y="6006428"/>
                  <a:pt x="9387741" y="6006428"/>
                </a:cubicBezTo>
                <a:cubicBezTo>
                  <a:pt x="9382210" y="6006428"/>
                  <a:pt x="9378021" y="6004674"/>
                  <a:pt x="9375173" y="6001166"/>
                </a:cubicBezTo>
                <a:cubicBezTo>
                  <a:pt x="9372325" y="5997657"/>
                  <a:pt x="9370901" y="5992560"/>
                  <a:pt x="9370901" y="5985873"/>
                </a:cubicBezTo>
                <a:lnTo>
                  <a:pt x="9370901" y="5975472"/>
                </a:lnTo>
                <a:cubicBezTo>
                  <a:pt x="9370901" y="5961769"/>
                  <a:pt x="9376555" y="5954917"/>
                  <a:pt x="9387865" y="5954917"/>
                </a:cubicBezTo>
                <a:close/>
                <a:moveTo>
                  <a:pt x="9717382" y="5948230"/>
                </a:moveTo>
                <a:cubicBezTo>
                  <a:pt x="9716392" y="5948230"/>
                  <a:pt x="9715711" y="5948396"/>
                  <a:pt x="9715339" y="5948726"/>
                </a:cubicBezTo>
                <a:cubicBezTo>
                  <a:pt x="9714968" y="5949056"/>
                  <a:pt x="9714782" y="5949716"/>
                  <a:pt x="9714782" y="5950707"/>
                </a:cubicBezTo>
                <a:lnTo>
                  <a:pt x="9714782" y="6010638"/>
                </a:lnTo>
                <a:cubicBezTo>
                  <a:pt x="9714782" y="6011629"/>
                  <a:pt x="9714968" y="6012289"/>
                  <a:pt x="9715339" y="6012619"/>
                </a:cubicBezTo>
                <a:cubicBezTo>
                  <a:pt x="9715711" y="6012950"/>
                  <a:pt x="9716392" y="6013115"/>
                  <a:pt x="9717382" y="6013115"/>
                </a:cubicBezTo>
                <a:lnTo>
                  <a:pt x="9721964" y="6013115"/>
                </a:lnTo>
                <a:cubicBezTo>
                  <a:pt x="9722954" y="6013115"/>
                  <a:pt x="9723635" y="6012950"/>
                  <a:pt x="9724007" y="6012619"/>
                </a:cubicBezTo>
                <a:cubicBezTo>
                  <a:pt x="9724378" y="6012289"/>
                  <a:pt x="9724564" y="6011629"/>
                  <a:pt x="9724564" y="6010638"/>
                </a:cubicBezTo>
                <a:lnTo>
                  <a:pt x="9724564" y="5979063"/>
                </a:lnTo>
                <a:cubicBezTo>
                  <a:pt x="9724564" y="5972954"/>
                  <a:pt x="9726009" y="5967857"/>
                  <a:pt x="9728898" y="5963770"/>
                </a:cubicBezTo>
                <a:cubicBezTo>
                  <a:pt x="9731787" y="5959684"/>
                  <a:pt x="9735667" y="5957641"/>
                  <a:pt x="9740537" y="5957641"/>
                </a:cubicBezTo>
                <a:lnTo>
                  <a:pt x="9743757" y="5957641"/>
                </a:lnTo>
                <a:cubicBezTo>
                  <a:pt x="9744665" y="5957641"/>
                  <a:pt x="9745243" y="5957476"/>
                  <a:pt x="9745491" y="5957146"/>
                </a:cubicBezTo>
                <a:cubicBezTo>
                  <a:pt x="9745738" y="5956816"/>
                  <a:pt x="9745862" y="5956155"/>
                  <a:pt x="9745862" y="5955165"/>
                </a:cubicBezTo>
                <a:lnTo>
                  <a:pt x="9745862" y="5950707"/>
                </a:lnTo>
                <a:cubicBezTo>
                  <a:pt x="9745862" y="5949716"/>
                  <a:pt x="9745738" y="5949056"/>
                  <a:pt x="9745491" y="5948726"/>
                </a:cubicBezTo>
                <a:cubicBezTo>
                  <a:pt x="9745243" y="5948396"/>
                  <a:pt x="9744665" y="5948230"/>
                  <a:pt x="9743757" y="5948230"/>
                </a:cubicBezTo>
                <a:lnTo>
                  <a:pt x="9742147" y="5948230"/>
                </a:lnTo>
                <a:cubicBezTo>
                  <a:pt x="9738185" y="5948230"/>
                  <a:pt x="9734615" y="5949324"/>
                  <a:pt x="9731436" y="5951512"/>
                </a:cubicBezTo>
                <a:cubicBezTo>
                  <a:pt x="9728258" y="5953699"/>
                  <a:pt x="9725885" y="5956568"/>
                  <a:pt x="9724316" y="5960118"/>
                </a:cubicBezTo>
                <a:lnTo>
                  <a:pt x="9724316" y="5950707"/>
                </a:lnTo>
                <a:cubicBezTo>
                  <a:pt x="9724316" y="5949716"/>
                  <a:pt x="9724131" y="5949056"/>
                  <a:pt x="9723759" y="5948726"/>
                </a:cubicBezTo>
                <a:cubicBezTo>
                  <a:pt x="9723388" y="5948396"/>
                  <a:pt x="9722707" y="5948230"/>
                  <a:pt x="9721716" y="5948230"/>
                </a:cubicBezTo>
                <a:close/>
                <a:moveTo>
                  <a:pt x="9564982" y="5948230"/>
                </a:moveTo>
                <a:cubicBezTo>
                  <a:pt x="9563992" y="5948230"/>
                  <a:pt x="9563311" y="5948396"/>
                  <a:pt x="9562939" y="5948726"/>
                </a:cubicBezTo>
                <a:cubicBezTo>
                  <a:pt x="9562568" y="5949056"/>
                  <a:pt x="9562382" y="5949716"/>
                  <a:pt x="9562382" y="5950707"/>
                </a:cubicBezTo>
                <a:lnTo>
                  <a:pt x="9562382" y="6010638"/>
                </a:lnTo>
                <a:cubicBezTo>
                  <a:pt x="9562382" y="6011629"/>
                  <a:pt x="9562568" y="6012289"/>
                  <a:pt x="9562939" y="6012619"/>
                </a:cubicBezTo>
                <a:cubicBezTo>
                  <a:pt x="9563311" y="6012950"/>
                  <a:pt x="9563992" y="6013115"/>
                  <a:pt x="9564982" y="6013115"/>
                </a:cubicBezTo>
                <a:lnTo>
                  <a:pt x="9569564" y="6013115"/>
                </a:lnTo>
                <a:cubicBezTo>
                  <a:pt x="9570554" y="6013115"/>
                  <a:pt x="9571235" y="6012950"/>
                  <a:pt x="9571607" y="6012619"/>
                </a:cubicBezTo>
                <a:cubicBezTo>
                  <a:pt x="9571978" y="6012289"/>
                  <a:pt x="9572164" y="6011629"/>
                  <a:pt x="9572164" y="6010638"/>
                </a:cubicBezTo>
                <a:lnTo>
                  <a:pt x="9572164" y="5979063"/>
                </a:lnTo>
                <a:cubicBezTo>
                  <a:pt x="9572164" y="5972954"/>
                  <a:pt x="9573609" y="5967857"/>
                  <a:pt x="9576498" y="5963770"/>
                </a:cubicBezTo>
                <a:cubicBezTo>
                  <a:pt x="9579387" y="5959684"/>
                  <a:pt x="9583267" y="5957641"/>
                  <a:pt x="9588137" y="5957641"/>
                </a:cubicBezTo>
                <a:lnTo>
                  <a:pt x="9591357" y="5957641"/>
                </a:lnTo>
                <a:cubicBezTo>
                  <a:pt x="9592265" y="5957641"/>
                  <a:pt x="9592843" y="5957476"/>
                  <a:pt x="9593091" y="5957146"/>
                </a:cubicBezTo>
                <a:cubicBezTo>
                  <a:pt x="9593338" y="5956816"/>
                  <a:pt x="9593462" y="5956155"/>
                  <a:pt x="9593462" y="5955165"/>
                </a:cubicBezTo>
                <a:lnTo>
                  <a:pt x="9593462" y="5950707"/>
                </a:lnTo>
                <a:cubicBezTo>
                  <a:pt x="9593462" y="5949716"/>
                  <a:pt x="9593338" y="5949056"/>
                  <a:pt x="9593091" y="5948726"/>
                </a:cubicBezTo>
                <a:cubicBezTo>
                  <a:pt x="9592843" y="5948396"/>
                  <a:pt x="9592265" y="5948230"/>
                  <a:pt x="9591357" y="5948230"/>
                </a:cubicBezTo>
                <a:lnTo>
                  <a:pt x="9589747" y="5948230"/>
                </a:lnTo>
                <a:cubicBezTo>
                  <a:pt x="9585785" y="5948230"/>
                  <a:pt x="9582214" y="5949324"/>
                  <a:pt x="9579036" y="5951512"/>
                </a:cubicBezTo>
                <a:cubicBezTo>
                  <a:pt x="9575858" y="5953699"/>
                  <a:pt x="9573485" y="5956568"/>
                  <a:pt x="9571916" y="5960118"/>
                </a:cubicBezTo>
                <a:lnTo>
                  <a:pt x="9571916" y="5950707"/>
                </a:lnTo>
                <a:cubicBezTo>
                  <a:pt x="9571916" y="5949716"/>
                  <a:pt x="9571731" y="5949056"/>
                  <a:pt x="9571359" y="5948726"/>
                </a:cubicBezTo>
                <a:cubicBezTo>
                  <a:pt x="9570988" y="5948396"/>
                  <a:pt x="9570307" y="5948230"/>
                  <a:pt x="9569316" y="5948230"/>
                </a:cubicBezTo>
                <a:close/>
                <a:moveTo>
                  <a:pt x="9297663" y="5948230"/>
                </a:moveTo>
                <a:cubicBezTo>
                  <a:pt x="9296673" y="5948230"/>
                  <a:pt x="9295992" y="5948396"/>
                  <a:pt x="9295620" y="5948726"/>
                </a:cubicBezTo>
                <a:cubicBezTo>
                  <a:pt x="9295249" y="5949056"/>
                  <a:pt x="9295063" y="5949716"/>
                  <a:pt x="9295063" y="5950707"/>
                </a:cubicBezTo>
                <a:lnTo>
                  <a:pt x="9295063" y="5993055"/>
                </a:lnTo>
                <a:cubicBezTo>
                  <a:pt x="9295063" y="6000072"/>
                  <a:pt x="9296838" y="6005458"/>
                  <a:pt x="9300387" y="6009214"/>
                </a:cubicBezTo>
                <a:cubicBezTo>
                  <a:pt x="9303937" y="6012970"/>
                  <a:pt x="9309055" y="6014848"/>
                  <a:pt x="9315742" y="6014848"/>
                </a:cubicBezTo>
                <a:cubicBezTo>
                  <a:pt x="9323666" y="6014848"/>
                  <a:pt x="9329816" y="6012042"/>
                  <a:pt x="9334191" y="6006428"/>
                </a:cubicBezTo>
                <a:lnTo>
                  <a:pt x="9334191" y="6010638"/>
                </a:lnTo>
                <a:cubicBezTo>
                  <a:pt x="9334191" y="6011629"/>
                  <a:pt x="9334377" y="6012289"/>
                  <a:pt x="9334749" y="6012619"/>
                </a:cubicBezTo>
                <a:cubicBezTo>
                  <a:pt x="9335120" y="6012950"/>
                  <a:pt x="9335801" y="6013115"/>
                  <a:pt x="9336792" y="6013115"/>
                </a:cubicBezTo>
                <a:lnTo>
                  <a:pt x="9341126" y="6013115"/>
                </a:lnTo>
                <a:cubicBezTo>
                  <a:pt x="9342116" y="6013115"/>
                  <a:pt x="9342797" y="6012950"/>
                  <a:pt x="9343169" y="6012619"/>
                </a:cubicBezTo>
                <a:cubicBezTo>
                  <a:pt x="9343540" y="6012289"/>
                  <a:pt x="9343726" y="6011629"/>
                  <a:pt x="9343726" y="6010638"/>
                </a:cubicBezTo>
                <a:lnTo>
                  <a:pt x="9343726" y="5950707"/>
                </a:lnTo>
                <a:cubicBezTo>
                  <a:pt x="9343726" y="5949716"/>
                  <a:pt x="9343540" y="5949056"/>
                  <a:pt x="9343169" y="5948726"/>
                </a:cubicBezTo>
                <a:cubicBezTo>
                  <a:pt x="9342797" y="5948396"/>
                  <a:pt x="9342116" y="5948230"/>
                  <a:pt x="9341126" y="5948230"/>
                </a:cubicBezTo>
                <a:lnTo>
                  <a:pt x="9336544" y="5948230"/>
                </a:lnTo>
                <a:cubicBezTo>
                  <a:pt x="9335554" y="5948230"/>
                  <a:pt x="9334873" y="5948396"/>
                  <a:pt x="9334501" y="5948726"/>
                </a:cubicBezTo>
                <a:cubicBezTo>
                  <a:pt x="9334130" y="5949056"/>
                  <a:pt x="9333944" y="5949716"/>
                  <a:pt x="9333944" y="5950707"/>
                </a:cubicBezTo>
                <a:lnTo>
                  <a:pt x="9333944" y="5988721"/>
                </a:lnTo>
                <a:cubicBezTo>
                  <a:pt x="9333944" y="5994004"/>
                  <a:pt x="9332520" y="5998235"/>
                  <a:pt x="9329672" y="6001413"/>
                </a:cubicBezTo>
                <a:cubicBezTo>
                  <a:pt x="9326824" y="6004591"/>
                  <a:pt x="9323047" y="6006181"/>
                  <a:pt x="9318342" y="6006181"/>
                </a:cubicBezTo>
                <a:cubicBezTo>
                  <a:pt x="9313719" y="6006181"/>
                  <a:pt x="9310314" y="6004963"/>
                  <a:pt x="9308126" y="6002528"/>
                </a:cubicBezTo>
                <a:cubicBezTo>
                  <a:pt x="9305939" y="6000092"/>
                  <a:pt x="9304845" y="5996233"/>
                  <a:pt x="9304845" y="5990950"/>
                </a:cubicBezTo>
                <a:lnTo>
                  <a:pt x="9304845" y="5950707"/>
                </a:lnTo>
                <a:cubicBezTo>
                  <a:pt x="9304845" y="5949716"/>
                  <a:pt x="9304659" y="5949056"/>
                  <a:pt x="9304288" y="5948726"/>
                </a:cubicBezTo>
                <a:cubicBezTo>
                  <a:pt x="9303916" y="5948396"/>
                  <a:pt x="9303235" y="5948230"/>
                  <a:pt x="9302245" y="5948230"/>
                </a:cubicBezTo>
                <a:close/>
                <a:moveTo>
                  <a:pt x="9069682" y="5948230"/>
                </a:moveTo>
                <a:cubicBezTo>
                  <a:pt x="9068692" y="5948230"/>
                  <a:pt x="9068011" y="5948396"/>
                  <a:pt x="9067639" y="5948726"/>
                </a:cubicBezTo>
                <a:cubicBezTo>
                  <a:pt x="9067268" y="5949056"/>
                  <a:pt x="9067082" y="5949716"/>
                  <a:pt x="9067082" y="5950707"/>
                </a:cubicBezTo>
                <a:lnTo>
                  <a:pt x="9067082" y="6010638"/>
                </a:lnTo>
                <a:cubicBezTo>
                  <a:pt x="9067082" y="6011629"/>
                  <a:pt x="9067268" y="6012289"/>
                  <a:pt x="9067639" y="6012619"/>
                </a:cubicBezTo>
                <a:cubicBezTo>
                  <a:pt x="9068011" y="6012950"/>
                  <a:pt x="9068692" y="6013115"/>
                  <a:pt x="9069682" y="6013115"/>
                </a:cubicBezTo>
                <a:lnTo>
                  <a:pt x="9074264" y="6013115"/>
                </a:lnTo>
                <a:cubicBezTo>
                  <a:pt x="9075254" y="6013115"/>
                  <a:pt x="9075935" y="6012950"/>
                  <a:pt x="9076307" y="6012619"/>
                </a:cubicBezTo>
                <a:cubicBezTo>
                  <a:pt x="9076678" y="6012289"/>
                  <a:pt x="9076864" y="6011629"/>
                  <a:pt x="9076864" y="6010638"/>
                </a:cubicBezTo>
                <a:lnTo>
                  <a:pt x="9076864" y="5950707"/>
                </a:lnTo>
                <a:cubicBezTo>
                  <a:pt x="9076864" y="5949716"/>
                  <a:pt x="9076678" y="5949056"/>
                  <a:pt x="9076307" y="5948726"/>
                </a:cubicBezTo>
                <a:cubicBezTo>
                  <a:pt x="9075935" y="5948396"/>
                  <a:pt x="9075254" y="5948230"/>
                  <a:pt x="9074264" y="5948230"/>
                </a:cubicBezTo>
                <a:close/>
                <a:moveTo>
                  <a:pt x="9930895" y="5947116"/>
                </a:moveTo>
                <a:cubicBezTo>
                  <a:pt x="9928583" y="5947116"/>
                  <a:pt x="9926726" y="5947756"/>
                  <a:pt x="9925322" y="5949035"/>
                </a:cubicBezTo>
                <a:cubicBezTo>
                  <a:pt x="9923919" y="5950315"/>
                  <a:pt x="9923217" y="5952028"/>
                  <a:pt x="9923217" y="5954174"/>
                </a:cubicBezTo>
                <a:lnTo>
                  <a:pt x="9923217" y="5956651"/>
                </a:lnTo>
                <a:cubicBezTo>
                  <a:pt x="9923217" y="5958714"/>
                  <a:pt x="9923919" y="5960407"/>
                  <a:pt x="9925322" y="5961727"/>
                </a:cubicBezTo>
                <a:cubicBezTo>
                  <a:pt x="9926726" y="5963048"/>
                  <a:pt x="9928583" y="5963709"/>
                  <a:pt x="9930895" y="5963709"/>
                </a:cubicBezTo>
                <a:cubicBezTo>
                  <a:pt x="9933289" y="5963709"/>
                  <a:pt x="9935167" y="5963048"/>
                  <a:pt x="9936529" y="5961727"/>
                </a:cubicBezTo>
                <a:cubicBezTo>
                  <a:pt x="9937891" y="5960407"/>
                  <a:pt x="9938572" y="5958714"/>
                  <a:pt x="9938572" y="5956651"/>
                </a:cubicBezTo>
                <a:lnTo>
                  <a:pt x="9938572" y="5954174"/>
                </a:lnTo>
                <a:cubicBezTo>
                  <a:pt x="9938572" y="5952028"/>
                  <a:pt x="9937891" y="5950315"/>
                  <a:pt x="9936529" y="5949035"/>
                </a:cubicBezTo>
                <a:cubicBezTo>
                  <a:pt x="9935167" y="5947756"/>
                  <a:pt x="9933289" y="5947116"/>
                  <a:pt x="9930895" y="5947116"/>
                </a:cubicBezTo>
                <a:close/>
                <a:moveTo>
                  <a:pt x="9847541" y="5946497"/>
                </a:moveTo>
                <a:cubicBezTo>
                  <a:pt x="9839369" y="5946497"/>
                  <a:pt x="9833219" y="5949345"/>
                  <a:pt x="9829091" y="5955041"/>
                </a:cubicBezTo>
                <a:lnTo>
                  <a:pt x="9829091" y="5950707"/>
                </a:lnTo>
                <a:cubicBezTo>
                  <a:pt x="9829091" y="5949716"/>
                  <a:pt x="9828906" y="5949056"/>
                  <a:pt x="9828534" y="5948726"/>
                </a:cubicBezTo>
                <a:cubicBezTo>
                  <a:pt x="9828163" y="5948396"/>
                  <a:pt x="9827482" y="5948230"/>
                  <a:pt x="9826491" y="5948230"/>
                </a:cubicBezTo>
                <a:lnTo>
                  <a:pt x="9822157" y="5948230"/>
                </a:lnTo>
                <a:cubicBezTo>
                  <a:pt x="9821167" y="5948230"/>
                  <a:pt x="9820486" y="5948396"/>
                  <a:pt x="9820114" y="5948726"/>
                </a:cubicBezTo>
                <a:cubicBezTo>
                  <a:pt x="9819743" y="5949056"/>
                  <a:pt x="9819557" y="5949716"/>
                  <a:pt x="9819557" y="5950707"/>
                </a:cubicBezTo>
                <a:lnTo>
                  <a:pt x="9819557" y="6010638"/>
                </a:lnTo>
                <a:cubicBezTo>
                  <a:pt x="9819557" y="6011629"/>
                  <a:pt x="9819743" y="6012289"/>
                  <a:pt x="9820114" y="6012619"/>
                </a:cubicBezTo>
                <a:cubicBezTo>
                  <a:pt x="9820486" y="6012950"/>
                  <a:pt x="9821167" y="6013115"/>
                  <a:pt x="9822157" y="6013115"/>
                </a:cubicBezTo>
                <a:lnTo>
                  <a:pt x="9826739" y="6013115"/>
                </a:lnTo>
                <a:cubicBezTo>
                  <a:pt x="9827729" y="6013115"/>
                  <a:pt x="9828410" y="6012950"/>
                  <a:pt x="9828782" y="6012619"/>
                </a:cubicBezTo>
                <a:cubicBezTo>
                  <a:pt x="9829153" y="6012289"/>
                  <a:pt x="9829339" y="6011629"/>
                  <a:pt x="9829339" y="6010638"/>
                </a:cubicBezTo>
                <a:lnTo>
                  <a:pt x="9829339" y="5972624"/>
                </a:lnTo>
                <a:cubicBezTo>
                  <a:pt x="9829339" y="5967258"/>
                  <a:pt x="9830763" y="5963007"/>
                  <a:pt x="9833611" y="5959870"/>
                </a:cubicBezTo>
                <a:cubicBezTo>
                  <a:pt x="9836459" y="5956733"/>
                  <a:pt x="9840236" y="5955165"/>
                  <a:pt x="9844941" y="5955165"/>
                </a:cubicBezTo>
                <a:cubicBezTo>
                  <a:pt x="9849564" y="5955165"/>
                  <a:pt x="9852948" y="5956382"/>
                  <a:pt x="9855095" y="5958817"/>
                </a:cubicBezTo>
                <a:cubicBezTo>
                  <a:pt x="9857241" y="5961253"/>
                  <a:pt x="9858314" y="5965112"/>
                  <a:pt x="9858314" y="5970395"/>
                </a:cubicBezTo>
                <a:lnTo>
                  <a:pt x="9858314" y="6010638"/>
                </a:lnTo>
                <a:cubicBezTo>
                  <a:pt x="9858314" y="6011629"/>
                  <a:pt x="9858500" y="6012289"/>
                  <a:pt x="9858871" y="6012619"/>
                </a:cubicBezTo>
                <a:cubicBezTo>
                  <a:pt x="9859243" y="6012950"/>
                  <a:pt x="9859924" y="6013115"/>
                  <a:pt x="9860914" y="6013115"/>
                </a:cubicBezTo>
                <a:lnTo>
                  <a:pt x="9865496" y="6013115"/>
                </a:lnTo>
                <a:cubicBezTo>
                  <a:pt x="9866487" y="6013115"/>
                  <a:pt x="9867167" y="6012950"/>
                  <a:pt x="9867539" y="6012619"/>
                </a:cubicBezTo>
                <a:cubicBezTo>
                  <a:pt x="9867911" y="6012289"/>
                  <a:pt x="9868096" y="6011629"/>
                  <a:pt x="9868096" y="6010638"/>
                </a:cubicBezTo>
                <a:lnTo>
                  <a:pt x="9868096" y="5972624"/>
                </a:lnTo>
                <a:cubicBezTo>
                  <a:pt x="9868096" y="5967258"/>
                  <a:pt x="9869520" y="5963007"/>
                  <a:pt x="9872368" y="5959870"/>
                </a:cubicBezTo>
                <a:cubicBezTo>
                  <a:pt x="9875216" y="5956733"/>
                  <a:pt x="9878993" y="5955165"/>
                  <a:pt x="9883698" y="5955165"/>
                </a:cubicBezTo>
                <a:cubicBezTo>
                  <a:pt x="9888321" y="5955165"/>
                  <a:pt x="9891705" y="5956382"/>
                  <a:pt x="9893852" y="5958817"/>
                </a:cubicBezTo>
                <a:cubicBezTo>
                  <a:pt x="9895998" y="5961253"/>
                  <a:pt x="9897071" y="5965112"/>
                  <a:pt x="9897071" y="5970395"/>
                </a:cubicBezTo>
                <a:lnTo>
                  <a:pt x="9897071" y="6010638"/>
                </a:lnTo>
                <a:cubicBezTo>
                  <a:pt x="9897071" y="6011629"/>
                  <a:pt x="9897257" y="6012289"/>
                  <a:pt x="9897629" y="6012619"/>
                </a:cubicBezTo>
                <a:cubicBezTo>
                  <a:pt x="9898000" y="6012950"/>
                  <a:pt x="9898681" y="6013115"/>
                  <a:pt x="9899672" y="6013115"/>
                </a:cubicBezTo>
                <a:lnTo>
                  <a:pt x="9904253" y="6013115"/>
                </a:lnTo>
                <a:cubicBezTo>
                  <a:pt x="9905244" y="6013115"/>
                  <a:pt x="9905925" y="6012950"/>
                  <a:pt x="9906296" y="6012619"/>
                </a:cubicBezTo>
                <a:cubicBezTo>
                  <a:pt x="9906668" y="6012289"/>
                  <a:pt x="9906853" y="6011629"/>
                  <a:pt x="9906853" y="6010638"/>
                </a:cubicBezTo>
                <a:lnTo>
                  <a:pt x="9906853" y="5968290"/>
                </a:lnTo>
                <a:cubicBezTo>
                  <a:pt x="9906853" y="5961191"/>
                  <a:pt x="9905079" y="5955784"/>
                  <a:pt x="9901529" y="5952069"/>
                </a:cubicBezTo>
                <a:cubicBezTo>
                  <a:pt x="9897979" y="5948354"/>
                  <a:pt x="9892903" y="5946497"/>
                  <a:pt x="9886299" y="5946497"/>
                </a:cubicBezTo>
                <a:cubicBezTo>
                  <a:pt x="9881758" y="5946497"/>
                  <a:pt x="9877878" y="5947281"/>
                  <a:pt x="9874659" y="5948850"/>
                </a:cubicBezTo>
                <a:cubicBezTo>
                  <a:pt x="9871440" y="5950418"/>
                  <a:pt x="9868509" y="5953018"/>
                  <a:pt x="9865867" y="5956651"/>
                </a:cubicBezTo>
                <a:cubicBezTo>
                  <a:pt x="9862648" y="5949881"/>
                  <a:pt x="9856539" y="5946497"/>
                  <a:pt x="9847541" y="5946497"/>
                </a:cubicBezTo>
                <a:close/>
                <a:moveTo>
                  <a:pt x="9777152" y="5946497"/>
                </a:moveTo>
                <a:cubicBezTo>
                  <a:pt x="9768649" y="5946497"/>
                  <a:pt x="9762066" y="5948973"/>
                  <a:pt x="9757401" y="5953926"/>
                </a:cubicBezTo>
                <a:cubicBezTo>
                  <a:pt x="9752737" y="5958879"/>
                  <a:pt x="9750405" y="5965814"/>
                  <a:pt x="9750405" y="5974729"/>
                </a:cubicBezTo>
                <a:lnTo>
                  <a:pt x="9750405" y="5987854"/>
                </a:lnTo>
                <a:cubicBezTo>
                  <a:pt x="9750405" y="5996357"/>
                  <a:pt x="9752737" y="6002982"/>
                  <a:pt x="9757401" y="6007728"/>
                </a:cubicBezTo>
                <a:cubicBezTo>
                  <a:pt x="9762066" y="6012475"/>
                  <a:pt x="9768649" y="6014848"/>
                  <a:pt x="9777152" y="6014848"/>
                </a:cubicBezTo>
                <a:cubicBezTo>
                  <a:pt x="9785654" y="6014848"/>
                  <a:pt x="9792238" y="6012372"/>
                  <a:pt x="9796902" y="6007419"/>
                </a:cubicBezTo>
                <a:cubicBezTo>
                  <a:pt x="9801566" y="6002466"/>
                  <a:pt x="9803898" y="5995532"/>
                  <a:pt x="9803898" y="5986616"/>
                </a:cubicBezTo>
                <a:lnTo>
                  <a:pt x="9803898" y="5973491"/>
                </a:lnTo>
                <a:cubicBezTo>
                  <a:pt x="9803898" y="5964906"/>
                  <a:pt x="9801566" y="5958260"/>
                  <a:pt x="9796902" y="5953555"/>
                </a:cubicBezTo>
                <a:cubicBezTo>
                  <a:pt x="9792238" y="5948850"/>
                  <a:pt x="9785654" y="5946497"/>
                  <a:pt x="9777152" y="5946497"/>
                </a:cubicBezTo>
                <a:close/>
                <a:moveTo>
                  <a:pt x="9519977" y="5946497"/>
                </a:moveTo>
                <a:cubicBezTo>
                  <a:pt x="9511474" y="5946497"/>
                  <a:pt x="9504891" y="5948973"/>
                  <a:pt x="9500227" y="5953926"/>
                </a:cubicBezTo>
                <a:cubicBezTo>
                  <a:pt x="9495562" y="5958879"/>
                  <a:pt x="9493230" y="5965814"/>
                  <a:pt x="9493230" y="5974729"/>
                </a:cubicBezTo>
                <a:lnTo>
                  <a:pt x="9493230" y="5987854"/>
                </a:lnTo>
                <a:cubicBezTo>
                  <a:pt x="9493230" y="5996357"/>
                  <a:pt x="9495562" y="6002982"/>
                  <a:pt x="9500227" y="6007728"/>
                </a:cubicBezTo>
                <a:cubicBezTo>
                  <a:pt x="9504891" y="6012475"/>
                  <a:pt x="9511474" y="6014848"/>
                  <a:pt x="9519977" y="6014848"/>
                </a:cubicBezTo>
                <a:cubicBezTo>
                  <a:pt x="9528479" y="6014848"/>
                  <a:pt x="9535063" y="6012372"/>
                  <a:pt x="9539727" y="6007419"/>
                </a:cubicBezTo>
                <a:cubicBezTo>
                  <a:pt x="9544391" y="6002466"/>
                  <a:pt x="9546723" y="5995532"/>
                  <a:pt x="9546723" y="5986616"/>
                </a:cubicBezTo>
                <a:lnTo>
                  <a:pt x="9546723" y="5973491"/>
                </a:lnTo>
                <a:cubicBezTo>
                  <a:pt x="9546723" y="5964906"/>
                  <a:pt x="9544391" y="5958260"/>
                  <a:pt x="9539727" y="5953555"/>
                </a:cubicBezTo>
                <a:cubicBezTo>
                  <a:pt x="9535063" y="5948850"/>
                  <a:pt x="9528479" y="5946497"/>
                  <a:pt x="9519977" y="5946497"/>
                </a:cubicBezTo>
                <a:close/>
                <a:moveTo>
                  <a:pt x="9454540" y="5946497"/>
                </a:moveTo>
                <a:cubicBezTo>
                  <a:pt x="9446037" y="5946497"/>
                  <a:pt x="9439454" y="5948973"/>
                  <a:pt x="9434790" y="5953926"/>
                </a:cubicBezTo>
                <a:cubicBezTo>
                  <a:pt x="9430126" y="5958879"/>
                  <a:pt x="9427794" y="5965814"/>
                  <a:pt x="9427794" y="5974729"/>
                </a:cubicBezTo>
                <a:lnTo>
                  <a:pt x="9427794" y="6031812"/>
                </a:lnTo>
                <a:cubicBezTo>
                  <a:pt x="9427794" y="6032803"/>
                  <a:pt x="9427979" y="6033463"/>
                  <a:pt x="9428351" y="6033794"/>
                </a:cubicBezTo>
                <a:cubicBezTo>
                  <a:pt x="9428722" y="6034124"/>
                  <a:pt x="9429403" y="6034289"/>
                  <a:pt x="9430394" y="6034289"/>
                </a:cubicBezTo>
                <a:lnTo>
                  <a:pt x="9434975" y="6034289"/>
                </a:lnTo>
                <a:cubicBezTo>
                  <a:pt x="9435966" y="6034289"/>
                  <a:pt x="9436647" y="6034124"/>
                  <a:pt x="9437019" y="6033794"/>
                </a:cubicBezTo>
                <a:cubicBezTo>
                  <a:pt x="9437390" y="6033463"/>
                  <a:pt x="9437576" y="6032803"/>
                  <a:pt x="9437576" y="6031812"/>
                </a:cubicBezTo>
                <a:lnTo>
                  <a:pt x="9437576" y="6007171"/>
                </a:lnTo>
                <a:cubicBezTo>
                  <a:pt x="9441538" y="6012289"/>
                  <a:pt x="9447606" y="6014848"/>
                  <a:pt x="9455778" y="6014848"/>
                </a:cubicBezTo>
                <a:cubicBezTo>
                  <a:pt x="9472701" y="6014848"/>
                  <a:pt x="9481162" y="6005231"/>
                  <a:pt x="9481162" y="5985997"/>
                </a:cubicBezTo>
                <a:lnTo>
                  <a:pt x="9481162" y="5972872"/>
                </a:lnTo>
                <a:cubicBezTo>
                  <a:pt x="9481162" y="5964534"/>
                  <a:pt x="9478830" y="5958054"/>
                  <a:pt x="9474166" y="5953431"/>
                </a:cubicBezTo>
                <a:cubicBezTo>
                  <a:pt x="9469502" y="5948808"/>
                  <a:pt x="9462960" y="5946497"/>
                  <a:pt x="9454540" y="5946497"/>
                </a:cubicBezTo>
                <a:close/>
                <a:moveTo>
                  <a:pt x="9387865" y="5946497"/>
                </a:moveTo>
                <a:cubicBezTo>
                  <a:pt x="9379362" y="5946497"/>
                  <a:pt x="9372779" y="5948973"/>
                  <a:pt x="9368115" y="5953926"/>
                </a:cubicBezTo>
                <a:cubicBezTo>
                  <a:pt x="9363451" y="5958879"/>
                  <a:pt x="9361119" y="5965814"/>
                  <a:pt x="9361119" y="5974729"/>
                </a:cubicBezTo>
                <a:lnTo>
                  <a:pt x="9361119" y="6031812"/>
                </a:lnTo>
                <a:cubicBezTo>
                  <a:pt x="9361119" y="6032803"/>
                  <a:pt x="9361304" y="6033463"/>
                  <a:pt x="9361676" y="6033794"/>
                </a:cubicBezTo>
                <a:cubicBezTo>
                  <a:pt x="9362047" y="6034124"/>
                  <a:pt x="9362728" y="6034289"/>
                  <a:pt x="9363719" y="6034289"/>
                </a:cubicBezTo>
                <a:lnTo>
                  <a:pt x="9368301" y="6034289"/>
                </a:lnTo>
                <a:cubicBezTo>
                  <a:pt x="9369291" y="6034289"/>
                  <a:pt x="9369972" y="6034124"/>
                  <a:pt x="9370344" y="6033794"/>
                </a:cubicBezTo>
                <a:cubicBezTo>
                  <a:pt x="9370715" y="6033463"/>
                  <a:pt x="9370901" y="6032803"/>
                  <a:pt x="9370901" y="6031812"/>
                </a:cubicBezTo>
                <a:lnTo>
                  <a:pt x="9370901" y="6007171"/>
                </a:lnTo>
                <a:cubicBezTo>
                  <a:pt x="9374863" y="6012289"/>
                  <a:pt x="9380931" y="6014848"/>
                  <a:pt x="9389103" y="6014848"/>
                </a:cubicBezTo>
                <a:cubicBezTo>
                  <a:pt x="9406026" y="6014848"/>
                  <a:pt x="9414487" y="6005231"/>
                  <a:pt x="9414487" y="5985997"/>
                </a:cubicBezTo>
                <a:lnTo>
                  <a:pt x="9414487" y="5972872"/>
                </a:lnTo>
                <a:cubicBezTo>
                  <a:pt x="9414487" y="5964534"/>
                  <a:pt x="9412155" y="5958054"/>
                  <a:pt x="9407491" y="5953431"/>
                </a:cubicBezTo>
                <a:cubicBezTo>
                  <a:pt x="9402827" y="5948808"/>
                  <a:pt x="9396285" y="5946497"/>
                  <a:pt x="9387865" y="5946497"/>
                </a:cubicBezTo>
                <a:close/>
                <a:moveTo>
                  <a:pt x="9259335" y="5946497"/>
                </a:moveTo>
                <a:cubicBezTo>
                  <a:pt x="9252235" y="5946497"/>
                  <a:pt x="9246601" y="5948169"/>
                  <a:pt x="9242432" y="5951512"/>
                </a:cubicBezTo>
                <a:cubicBezTo>
                  <a:pt x="9238264" y="5954855"/>
                  <a:pt x="9236179" y="5959375"/>
                  <a:pt x="9236179" y="5965071"/>
                </a:cubicBezTo>
                <a:lnTo>
                  <a:pt x="9236179" y="5965690"/>
                </a:lnTo>
                <a:cubicBezTo>
                  <a:pt x="9236179" y="5974275"/>
                  <a:pt x="9241132" y="5979888"/>
                  <a:pt x="9251038" y="5982530"/>
                </a:cubicBezTo>
                <a:lnTo>
                  <a:pt x="9262059" y="5985378"/>
                </a:lnTo>
                <a:cubicBezTo>
                  <a:pt x="9266186" y="5986451"/>
                  <a:pt x="9269096" y="5987875"/>
                  <a:pt x="9270788" y="5989650"/>
                </a:cubicBezTo>
                <a:cubicBezTo>
                  <a:pt x="9272481" y="5991425"/>
                  <a:pt x="9273327" y="5993881"/>
                  <a:pt x="9273327" y="5997017"/>
                </a:cubicBezTo>
                <a:cubicBezTo>
                  <a:pt x="9273327" y="6003704"/>
                  <a:pt x="9268621" y="6007047"/>
                  <a:pt x="9259211" y="6007047"/>
                </a:cubicBezTo>
                <a:cubicBezTo>
                  <a:pt x="9254588" y="6007047"/>
                  <a:pt x="9251059" y="6006304"/>
                  <a:pt x="9248624" y="6004818"/>
                </a:cubicBezTo>
                <a:cubicBezTo>
                  <a:pt x="9246188" y="6003333"/>
                  <a:pt x="9244599" y="6000939"/>
                  <a:pt x="9243856" y="5997637"/>
                </a:cubicBezTo>
                <a:cubicBezTo>
                  <a:pt x="9243691" y="5996729"/>
                  <a:pt x="9243423" y="5996151"/>
                  <a:pt x="9243052" y="5995903"/>
                </a:cubicBezTo>
                <a:cubicBezTo>
                  <a:pt x="9242680" y="5995655"/>
                  <a:pt x="9241999" y="5995532"/>
                  <a:pt x="9241008" y="5995532"/>
                </a:cubicBezTo>
                <a:lnTo>
                  <a:pt x="9237417" y="5995532"/>
                </a:lnTo>
                <a:cubicBezTo>
                  <a:pt x="9236344" y="5995532"/>
                  <a:pt x="9235622" y="5995697"/>
                  <a:pt x="9235251" y="5996027"/>
                </a:cubicBezTo>
                <a:cubicBezTo>
                  <a:pt x="9234879" y="5996357"/>
                  <a:pt x="9234693" y="5996976"/>
                  <a:pt x="9234693" y="5997884"/>
                </a:cubicBezTo>
                <a:cubicBezTo>
                  <a:pt x="9234693" y="6002012"/>
                  <a:pt x="9236303" y="6005644"/>
                  <a:pt x="9239523" y="6008781"/>
                </a:cubicBezTo>
                <a:cubicBezTo>
                  <a:pt x="9243815" y="6012826"/>
                  <a:pt x="9250460" y="6014848"/>
                  <a:pt x="9259458" y="6014848"/>
                </a:cubicBezTo>
                <a:cubicBezTo>
                  <a:pt x="9275225" y="6014848"/>
                  <a:pt x="9283109" y="6008657"/>
                  <a:pt x="9283109" y="5996275"/>
                </a:cubicBezTo>
                <a:lnTo>
                  <a:pt x="9283109" y="5995655"/>
                </a:lnTo>
                <a:cubicBezTo>
                  <a:pt x="9283109" y="5986080"/>
                  <a:pt x="9278156" y="5980053"/>
                  <a:pt x="9268250" y="5977577"/>
                </a:cubicBezTo>
                <a:lnTo>
                  <a:pt x="9258096" y="5974977"/>
                </a:lnTo>
                <a:cubicBezTo>
                  <a:pt x="9253308" y="5973738"/>
                  <a:pt x="9250006" y="5972376"/>
                  <a:pt x="9248190" y="5970890"/>
                </a:cubicBezTo>
                <a:cubicBezTo>
                  <a:pt x="9246374" y="5969405"/>
                  <a:pt x="9245466" y="5967300"/>
                  <a:pt x="9245466" y="5964575"/>
                </a:cubicBezTo>
                <a:cubicBezTo>
                  <a:pt x="9245466" y="5961273"/>
                  <a:pt x="9246622" y="5958714"/>
                  <a:pt x="9248933" y="5956898"/>
                </a:cubicBezTo>
                <a:cubicBezTo>
                  <a:pt x="9251245" y="5955082"/>
                  <a:pt x="9254423" y="5954174"/>
                  <a:pt x="9258468" y="5954174"/>
                </a:cubicBezTo>
                <a:cubicBezTo>
                  <a:pt x="9267466" y="5954174"/>
                  <a:pt x="9272460" y="5957270"/>
                  <a:pt x="9273451" y="5963461"/>
                </a:cubicBezTo>
                <a:cubicBezTo>
                  <a:pt x="9273616" y="5964286"/>
                  <a:pt x="9273863" y="5964844"/>
                  <a:pt x="9274193" y="5965133"/>
                </a:cubicBezTo>
                <a:cubicBezTo>
                  <a:pt x="9274524" y="5965421"/>
                  <a:pt x="9275225" y="5965566"/>
                  <a:pt x="9276299" y="5965566"/>
                </a:cubicBezTo>
                <a:lnTo>
                  <a:pt x="9279889" y="5965566"/>
                </a:lnTo>
                <a:cubicBezTo>
                  <a:pt x="9280963" y="5965566"/>
                  <a:pt x="9281685" y="5965401"/>
                  <a:pt x="9282056" y="5965071"/>
                </a:cubicBezTo>
                <a:cubicBezTo>
                  <a:pt x="9282428" y="5964740"/>
                  <a:pt x="9282614" y="5964121"/>
                  <a:pt x="9282614" y="5963213"/>
                </a:cubicBezTo>
                <a:cubicBezTo>
                  <a:pt x="9282614" y="5959168"/>
                  <a:pt x="9281128" y="5955660"/>
                  <a:pt x="9278156" y="5952688"/>
                </a:cubicBezTo>
                <a:cubicBezTo>
                  <a:pt x="9274276" y="5948561"/>
                  <a:pt x="9268002" y="5946497"/>
                  <a:pt x="9259335" y="5946497"/>
                </a:cubicBezTo>
                <a:close/>
                <a:moveTo>
                  <a:pt x="9607292" y="5930028"/>
                </a:moveTo>
                <a:cubicBezTo>
                  <a:pt x="9606302" y="5930028"/>
                  <a:pt x="9605621" y="5930193"/>
                  <a:pt x="9605249" y="5930523"/>
                </a:cubicBezTo>
                <a:cubicBezTo>
                  <a:pt x="9604878" y="5930854"/>
                  <a:pt x="9604692" y="5931514"/>
                  <a:pt x="9604692" y="5932505"/>
                </a:cubicBezTo>
                <a:lnTo>
                  <a:pt x="9604692" y="5948230"/>
                </a:lnTo>
                <a:lnTo>
                  <a:pt x="9596643" y="5948230"/>
                </a:lnTo>
                <a:cubicBezTo>
                  <a:pt x="9595818" y="5948230"/>
                  <a:pt x="9595261" y="5948396"/>
                  <a:pt x="9594972" y="5948726"/>
                </a:cubicBezTo>
                <a:cubicBezTo>
                  <a:pt x="9594683" y="5949056"/>
                  <a:pt x="9594538" y="5949716"/>
                  <a:pt x="9594538" y="5950707"/>
                </a:cubicBezTo>
                <a:lnTo>
                  <a:pt x="9594538" y="5953926"/>
                </a:lnTo>
                <a:cubicBezTo>
                  <a:pt x="9594538" y="5954917"/>
                  <a:pt x="9594683" y="5955577"/>
                  <a:pt x="9594972" y="5955908"/>
                </a:cubicBezTo>
                <a:cubicBezTo>
                  <a:pt x="9595261" y="5956238"/>
                  <a:pt x="9595818" y="5956403"/>
                  <a:pt x="9596643" y="5956403"/>
                </a:cubicBezTo>
                <a:lnTo>
                  <a:pt x="9604692" y="5956403"/>
                </a:lnTo>
                <a:lnTo>
                  <a:pt x="9604692" y="5996646"/>
                </a:lnTo>
                <a:cubicBezTo>
                  <a:pt x="9604692" y="6002342"/>
                  <a:pt x="9605992" y="6006511"/>
                  <a:pt x="9608592" y="6009152"/>
                </a:cubicBezTo>
                <a:cubicBezTo>
                  <a:pt x="9611193" y="6011794"/>
                  <a:pt x="9615258" y="6013115"/>
                  <a:pt x="9620789" y="6013115"/>
                </a:cubicBezTo>
                <a:lnTo>
                  <a:pt x="9627476" y="6013115"/>
                </a:lnTo>
                <a:cubicBezTo>
                  <a:pt x="9628384" y="6013115"/>
                  <a:pt x="9628962" y="6012950"/>
                  <a:pt x="9629209" y="6012619"/>
                </a:cubicBezTo>
                <a:cubicBezTo>
                  <a:pt x="9629457" y="6012289"/>
                  <a:pt x="9629581" y="6011629"/>
                  <a:pt x="9629581" y="6010638"/>
                </a:cubicBezTo>
                <a:lnTo>
                  <a:pt x="9629581" y="6006924"/>
                </a:lnTo>
                <a:cubicBezTo>
                  <a:pt x="9629581" y="6005933"/>
                  <a:pt x="9629457" y="6005273"/>
                  <a:pt x="9629209" y="6004942"/>
                </a:cubicBezTo>
                <a:cubicBezTo>
                  <a:pt x="9628962" y="6004612"/>
                  <a:pt x="9628384" y="6004447"/>
                  <a:pt x="9627476" y="6004447"/>
                </a:cubicBezTo>
                <a:lnTo>
                  <a:pt x="9621656" y="6004447"/>
                </a:lnTo>
                <a:cubicBezTo>
                  <a:pt x="9619097" y="6004447"/>
                  <a:pt x="9617260" y="6003704"/>
                  <a:pt x="9616146" y="6002218"/>
                </a:cubicBezTo>
                <a:cubicBezTo>
                  <a:pt x="9615031" y="6000732"/>
                  <a:pt x="9614474" y="5998338"/>
                  <a:pt x="9614474" y="5995036"/>
                </a:cubicBezTo>
                <a:lnTo>
                  <a:pt x="9614474" y="5956403"/>
                </a:lnTo>
                <a:lnTo>
                  <a:pt x="9627228" y="5956403"/>
                </a:lnTo>
                <a:cubicBezTo>
                  <a:pt x="9628136" y="5956403"/>
                  <a:pt x="9628714" y="5956238"/>
                  <a:pt x="9628962" y="5955908"/>
                </a:cubicBezTo>
                <a:cubicBezTo>
                  <a:pt x="9629209" y="5955577"/>
                  <a:pt x="9629333" y="5954917"/>
                  <a:pt x="9629333" y="5953926"/>
                </a:cubicBezTo>
                <a:lnTo>
                  <a:pt x="9629333" y="5950707"/>
                </a:lnTo>
                <a:cubicBezTo>
                  <a:pt x="9629333" y="5949716"/>
                  <a:pt x="9629209" y="5949056"/>
                  <a:pt x="9628962" y="5948726"/>
                </a:cubicBezTo>
                <a:cubicBezTo>
                  <a:pt x="9628714" y="5948396"/>
                  <a:pt x="9628136" y="5948230"/>
                  <a:pt x="9627228" y="5948230"/>
                </a:cubicBezTo>
                <a:lnTo>
                  <a:pt x="9614474" y="5948230"/>
                </a:lnTo>
                <a:lnTo>
                  <a:pt x="9614474" y="5932505"/>
                </a:lnTo>
                <a:cubicBezTo>
                  <a:pt x="9614474" y="5931514"/>
                  <a:pt x="9614288" y="5930854"/>
                  <a:pt x="9613917" y="5930523"/>
                </a:cubicBezTo>
                <a:cubicBezTo>
                  <a:pt x="9613545" y="5930193"/>
                  <a:pt x="9612864" y="5930028"/>
                  <a:pt x="9611874" y="5930028"/>
                </a:cubicBezTo>
                <a:close/>
                <a:moveTo>
                  <a:pt x="9102467" y="5930028"/>
                </a:moveTo>
                <a:cubicBezTo>
                  <a:pt x="9101477" y="5930028"/>
                  <a:pt x="9100796" y="5930193"/>
                  <a:pt x="9100424" y="5930523"/>
                </a:cubicBezTo>
                <a:cubicBezTo>
                  <a:pt x="9100053" y="5930854"/>
                  <a:pt x="9099867" y="5931514"/>
                  <a:pt x="9099867" y="5932505"/>
                </a:cubicBezTo>
                <a:lnTo>
                  <a:pt x="9099867" y="5948230"/>
                </a:lnTo>
                <a:lnTo>
                  <a:pt x="9091818" y="5948230"/>
                </a:lnTo>
                <a:cubicBezTo>
                  <a:pt x="9090993" y="5948230"/>
                  <a:pt x="9090436" y="5948396"/>
                  <a:pt x="9090147" y="5948726"/>
                </a:cubicBezTo>
                <a:cubicBezTo>
                  <a:pt x="9089858" y="5949056"/>
                  <a:pt x="9089713" y="5949716"/>
                  <a:pt x="9089713" y="5950707"/>
                </a:cubicBezTo>
                <a:lnTo>
                  <a:pt x="9089713" y="5953926"/>
                </a:lnTo>
                <a:cubicBezTo>
                  <a:pt x="9089713" y="5954917"/>
                  <a:pt x="9089858" y="5955577"/>
                  <a:pt x="9090147" y="5955908"/>
                </a:cubicBezTo>
                <a:cubicBezTo>
                  <a:pt x="9090436" y="5956238"/>
                  <a:pt x="9090993" y="5956403"/>
                  <a:pt x="9091818" y="5956403"/>
                </a:cubicBezTo>
                <a:lnTo>
                  <a:pt x="9099867" y="5956403"/>
                </a:lnTo>
                <a:lnTo>
                  <a:pt x="9099867" y="5996646"/>
                </a:lnTo>
                <a:cubicBezTo>
                  <a:pt x="9099867" y="6002342"/>
                  <a:pt x="9101167" y="6006511"/>
                  <a:pt x="9103767" y="6009152"/>
                </a:cubicBezTo>
                <a:cubicBezTo>
                  <a:pt x="9106368" y="6011794"/>
                  <a:pt x="9110433" y="6013115"/>
                  <a:pt x="9115964" y="6013115"/>
                </a:cubicBezTo>
                <a:lnTo>
                  <a:pt x="9122651" y="6013115"/>
                </a:lnTo>
                <a:cubicBezTo>
                  <a:pt x="9123559" y="6013115"/>
                  <a:pt x="9124137" y="6012950"/>
                  <a:pt x="9124384" y="6012619"/>
                </a:cubicBezTo>
                <a:cubicBezTo>
                  <a:pt x="9124632" y="6012289"/>
                  <a:pt x="9124756" y="6011629"/>
                  <a:pt x="9124756" y="6010638"/>
                </a:cubicBezTo>
                <a:lnTo>
                  <a:pt x="9124756" y="6006924"/>
                </a:lnTo>
                <a:cubicBezTo>
                  <a:pt x="9124756" y="6005933"/>
                  <a:pt x="9124632" y="6005273"/>
                  <a:pt x="9124384" y="6004942"/>
                </a:cubicBezTo>
                <a:cubicBezTo>
                  <a:pt x="9124137" y="6004612"/>
                  <a:pt x="9123559" y="6004447"/>
                  <a:pt x="9122651" y="6004447"/>
                </a:cubicBezTo>
                <a:lnTo>
                  <a:pt x="9116831" y="6004447"/>
                </a:lnTo>
                <a:cubicBezTo>
                  <a:pt x="9114272" y="6004447"/>
                  <a:pt x="9112435" y="6003704"/>
                  <a:pt x="9111321" y="6002218"/>
                </a:cubicBezTo>
                <a:cubicBezTo>
                  <a:pt x="9110206" y="6000732"/>
                  <a:pt x="9109649" y="5998338"/>
                  <a:pt x="9109649" y="5995036"/>
                </a:cubicBezTo>
                <a:lnTo>
                  <a:pt x="9109649" y="5956403"/>
                </a:lnTo>
                <a:lnTo>
                  <a:pt x="9122403" y="5956403"/>
                </a:lnTo>
                <a:cubicBezTo>
                  <a:pt x="9123311" y="5956403"/>
                  <a:pt x="9123889" y="5956238"/>
                  <a:pt x="9124137" y="5955908"/>
                </a:cubicBezTo>
                <a:cubicBezTo>
                  <a:pt x="9124384" y="5955577"/>
                  <a:pt x="9124508" y="5954917"/>
                  <a:pt x="9124508" y="5953926"/>
                </a:cubicBezTo>
                <a:lnTo>
                  <a:pt x="9124508" y="5950707"/>
                </a:lnTo>
                <a:cubicBezTo>
                  <a:pt x="9124508" y="5949716"/>
                  <a:pt x="9124384" y="5949056"/>
                  <a:pt x="9124137" y="5948726"/>
                </a:cubicBezTo>
                <a:cubicBezTo>
                  <a:pt x="9123889" y="5948396"/>
                  <a:pt x="9123311" y="5948230"/>
                  <a:pt x="9122403" y="5948230"/>
                </a:cubicBezTo>
                <a:lnTo>
                  <a:pt x="9109649" y="5948230"/>
                </a:lnTo>
                <a:lnTo>
                  <a:pt x="9109649" y="5932505"/>
                </a:lnTo>
                <a:cubicBezTo>
                  <a:pt x="9109649" y="5931514"/>
                  <a:pt x="9109463" y="5930854"/>
                  <a:pt x="9109092" y="5930523"/>
                </a:cubicBezTo>
                <a:cubicBezTo>
                  <a:pt x="9108720" y="5930193"/>
                  <a:pt x="9108039" y="5930028"/>
                  <a:pt x="9107049" y="5930028"/>
                </a:cubicBezTo>
                <a:close/>
                <a:moveTo>
                  <a:pt x="9700580" y="5924951"/>
                </a:moveTo>
                <a:cubicBezTo>
                  <a:pt x="9694554" y="5924951"/>
                  <a:pt x="9689869" y="5926499"/>
                  <a:pt x="9686526" y="5929595"/>
                </a:cubicBezTo>
                <a:cubicBezTo>
                  <a:pt x="9683183" y="5932690"/>
                  <a:pt x="9681511" y="5937045"/>
                  <a:pt x="9681511" y="5942658"/>
                </a:cubicBezTo>
                <a:lnTo>
                  <a:pt x="9681511" y="5948230"/>
                </a:lnTo>
                <a:lnTo>
                  <a:pt x="9673586" y="5948230"/>
                </a:lnTo>
                <a:cubicBezTo>
                  <a:pt x="9672761" y="5948230"/>
                  <a:pt x="9672203" y="5948396"/>
                  <a:pt x="9671915" y="5948726"/>
                </a:cubicBezTo>
                <a:cubicBezTo>
                  <a:pt x="9671626" y="5949056"/>
                  <a:pt x="9671481" y="5949716"/>
                  <a:pt x="9671481" y="5950707"/>
                </a:cubicBezTo>
                <a:lnTo>
                  <a:pt x="9671481" y="5953926"/>
                </a:lnTo>
                <a:cubicBezTo>
                  <a:pt x="9671481" y="5954917"/>
                  <a:pt x="9671626" y="5955577"/>
                  <a:pt x="9671915" y="5955908"/>
                </a:cubicBezTo>
                <a:cubicBezTo>
                  <a:pt x="9672203" y="5956238"/>
                  <a:pt x="9672761" y="5956403"/>
                  <a:pt x="9673586" y="5956403"/>
                </a:cubicBezTo>
                <a:lnTo>
                  <a:pt x="9681511" y="5956403"/>
                </a:lnTo>
                <a:lnTo>
                  <a:pt x="9681511" y="6010638"/>
                </a:lnTo>
                <a:cubicBezTo>
                  <a:pt x="9681511" y="6011629"/>
                  <a:pt x="9681697" y="6012289"/>
                  <a:pt x="9682068" y="6012619"/>
                </a:cubicBezTo>
                <a:cubicBezTo>
                  <a:pt x="9682440" y="6012950"/>
                  <a:pt x="9683121" y="6013115"/>
                  <a:pt x="9684111" y="6013115"/>
                </a:cubicBezTo>
                <a:lnTo>
                  <a:pt x="9688693" y="6013115"/>
                </a:lnTo>
                <a:cubicBezTo>
                  <a:pt x="9689683" y="6013115"/>
                  <a:pt x="9690365" y="6012950"/>
                  <a:pt x="9690736" y="6012619"/>
                </a:cubicBezTo>
                <a:cubicBezTo>
                  <a:pt x="9691107" y="6012289"/>
                  <a:pt x="9691293" y="6011629"/>
                  <a:pt x="9691293" y="6010638"/>
                </a:cubicBezTo>
                <a:lnTo>
                  <a:pt x="9691293" y="5956403"/>
                </a:lnTo>
                <a:lnTo>
                  <a:pt x="9702561" y="5956403"/>
                </a:lnTo>
                <a:cubicBezTo>
                  <a:pt x="9703469" y="5956403"/>
                  <a:pt x="9704047" y="5956238"/>
                  <a:pt x="9704295" y="5955908"/>
                </a:cubicBezTo>
                <a:cubicBezTo>
                  <a:pt x="9704543" y="5955577"/>
                  <a:pt x="9704666" y="5954917"/>
                  <a:pt x="9704666" y="5953926"/>
                </a:cubicBezTo>
                <a:lnTo>
                  <a:pt x="9704666" y="5950707"/>
                </a:lnTo>
                <a:cubicBezTo>
                  <a:pt x="9704666" y="5949716"/>
                  <a:pt x="9704543" y="5949056"/>
                  <a:pt x="9704295" y="5948726"/>
                </a:cubicBezTo>
                <a:cubicBezTo>
                  <a:pt x="9704047" y="5948396"/>
                  <a:pt x="9703469" y="5948230"/>
                  <a:pt x="9702561" y="5948230"/>
                </a:cubicBezTo>
                <a:lnTo>
                  <a:pt x="9691293" y="5948230"/>
                </a:lnTo>
                <a:lnTo>
                  <a:pt x="9691293" y="5943154"/>
                </a:lnTo>
                <a:cubicBezTo>
                  <a:pt x="9691293" y="5939521"/>
                  <a:pt x="9692057" y="5936962"/>
                  <a:pt x="9693584" y="5935476"/>
                </a:cubicBezTo>
                <a:cubicBezTo>
                  <a:pt x="9695111" y="5933991"/>
                  <a:pt x="9697732" y="5933248"/>
                  <a:pt x="9701447" y="5933248"/>
                </a:cubicBezTo>
                <a:lnTo>
                  <a:pt x="9705038" y="5933248"/>
                </a:lnTo>
                <a:cubicBezTo>
                  <a:pt x="9705946" y="5933248"/>
                  <a:pt x="9706524" y="5933083"/>
                  <a:pt x="9706771" y="5932752"/>
                </a:cubicBezTo>
                <a:cubicBezTo>
                  <a:pt x="9707019" y="5932422"/>
                  <a:pt x="9707143" y="5931762"/>
                  <a:pt x="9707143" y="5930771"/>
                </a:cubicBezTo>
                <a:lnTo>
                  <a:pt x="9707143" y="5927428"/>
                </a:lnTo>
                <a:cubicBezTo>
                  <a:pt x="9707143" y="5926437"/>
                  <a:pt x="9707019" y="5925777"/>
                  <a:pt x="9706771" y="5925447"/>
                </a:cubicBezTo>
                <a:cubicBezTo>
                  <a:pt x="9706524" y="5925116"/>
                  <a:pt x="9705946" y="5924951"/>
                  <a:pt x="9705038" y="5924951"/>
                </a:cubicBezTo>
                <a:close/>
                <a:moveTo>
                  <a:pt x="9136357" y="5924951"/>
                </a:moveTo>
                <a:cubicBezTo>
                  <a:pt x="9135367" y="5924951"/>
                  <a:pt x="9134686" y="5925116"/>
                  <a:pt x="9134314" y="5925447"/>
                </a:cubicBezTo>
                <a:cubicBezTo>
                  <a:pt x="9133943" y="5925777"/>
                  <a:pt x="9133757" y="5926437"/>
                  <a:pt x="9133757" y="5927428"/>
                </a:cubicBezTo>
                <a:lnTo>
                  <a:pt x="9133757" y="6010638"/>
                </a:lnTo>
                <a:cubicBezTo>
                  <a:pt x="9133757" y="6011629"/>
                  <a:pt x="9133943" y="6012289"/>
                  <a:pt x="9134314" y="6012619"/>
                </a:cubicBezTo>
                <a:cubicBezTo>
                  <a:pt x="9134686" y="6012950"/>
                  <a:pt x="9135367" y="6013115"/>
                  <a:pt x="9136357" y="6013115"/>
                </a:cubicBezTo>
                <a:lnTo>
                  <a:pt x="9140939" y="6013115"/>
                </a:lnTo>
                <a:cubicBezTo>
                  <a:pt x="9141929" y="6013115"/>
                  <a:pt x="9142610" y="6012950"/>
                  <a:pt x="9142982" y="6012619"/>
                </a:cubicBezTo>
                <a:cubicBezTo>
                  <a:pt x="9143353" y="6012289"/>
                  <a:pt x="9143539" y="6011629"/>
                  <a:pt x="9143539" y="6010638"/>
                </a:cubicBezTo>
                <a:lnTo>
                  <a:pt x="9143539" y="5972624"/>
                </a:lnTo>
                <a:cubicBezTo>
                  <a:pt x="9143539" y="5967341"/>
                  <a:pt x="9145025" y="5963110"/>
                  <a:pt x="9147997" y="5959932"/>
                </a:cubicBezTo>
                <a:cubicBezTo>
                  <a:pt x="9150969" y="5956754"/>
                  <a:pt x="9154890" y="5955165"/>
                  <a:pt x="9159760" y="5955165"/>
                </a:cubicBezTo>
                <a:cubicBezTo>
                  <a:pt x="9164631" y="5955165"/>
                  <a:pt x="9168201" y="5956382"/>
                  <a:pt x="9170471" y="5958817"/>
                </a:cubicBezTo>
                <a:cubicBezTo>
                  <a:pt x="9172741" y="5961253"/>
                  <a:pt x="9173876" y="5965112"/>
                  <a:pt x="9173876" y="5970395"/>
                </a:cubicBezTo>
                <a:lnTo>
                  <a:pt x="9173876" y="6010638"/>
                </a:lnTo>
                <a:cubicBezTo>
                  <a:pt x="9173876" y="6011629"/>
                  <a:pt x="9174062" y="6012289"/>
                  <a:pt x="9174433" y="6012619"/>
                </a:cubicBezTo>
                <a:cubicBezTo>
                  <a:pt x="9174805" y="6012950"/>
                  <a:pt x="9175486" y="6013115"/>
                  <a:pt x="9176477" y="6013115"/>
                </a:cubicBezTo>
                <a:lnTo>
                  <a:pt x="9181058" y="6013115"/>
                </a:lnTo>
                <a:cubicBezTo>
                  <a:pt x="9182049" y="6013115"/>
                  <a:pt x="9182730" y="6012950"/>
                  <a:pt x="9183101" y="6012619"/>
                </a:cubicBezTo>
                <a:cubicBezTo>
                  <a:pt x="9183473" y="6012289"/>
                  <a:pt x="9183658" y="6011629"/>
                  <a:pt x="9183658" y="6010638"/>
                </a:cubicBezTo>
                <a:lnTo>
                  <a:pt x="9183658" y="5968290"/>
                </a:lnTo>
                <a:cubicBezTo>
                  <a:pt x="9183658" y="5961191"/>
                  <a:pt x="9181822" y="5955784"/>
                  <a:pt x="9178148" y="5952069"/>
                </a:cubicBezTo>
                <a:cubicBezTo>
                  <a:pt x="9174475" y="5948354"/>
                  <a:pt x="9169212" y="5946497"/>
                  <a:pt x="9162361" y="5946497"/>
                </a:cubicBezTo>
                <a:cubicBezTo>
                  <a:pt x="9154188" y="5946497"/>
                  <a:pt x="9147914" y="5949262"/>
                  <a:pt x="9143539" y="5954793"/>
                </a:cubicBezTo>
                <a:lnTo>
                  <a:pt x="9143539" y="5927428"/>
                </a:lnTo>
                <a:cubicBezTo>
                  <a:pt x="9143539" y="5926437"/>
                  <a:pt x="9143353" y="5925777"/>
                  <a:pt x="9142982" y="5925447"/>
                </a:cubicBezTo>
                <a:cubicBezTo>
                  <a:pt x="9142610" y="5925116"/>
                  <a:pt x="9141929" y="5924951"/>
                  <a:pt x="9140939" y="5924951"/>
                </a:cubicBezTo>
                <a:close/>
                <a:moveTo>
                  <a:pt x="8967498" y="5924951"/>
                </a:moveTo>
                <a:cubicBezTo>
                  <a:pt x="8966177" y="5924951"/>
                  <a:pt x="8965517" y="5925447"/>
                  <a:pt x="8965517" y="5926437"/>
                </a:cubicBezTo>
                <a:cubicBezTo>
                  <a:pt x="8965517" y="5926520"/>
                  <a:pt x="8965538" y="5926685"/>
                  <a:pt x="8965579" y="5926933"/>
                </a:cubicBezTo>
                <a:cubicBezTo>
                  <a:pt x="8965620" y="5927180"/>
                  <a:pt x="8965682" y="5927469"/>
                  <a:pt x="8965765" y="5927799"/>
                </a:cubicBezTo>
                <a:lnTo>
                  <a:pt x="8983348" y="6010391"/>
                </a:lnTo>
                <a:cubicBezTo>
                  <a:pt x="8983678" y="6012207"/>
                  <a:pt x="8984751" y="6013115"/>
                  <a:pt x="8986567" y="6013115"/>
                </a:cubicBezTo>
                <a:lnTo>
                  <a:pt x="8993873" y="6013115"/>
                </a:lnTo>
                <a:cubicBezTo>
                  <a:pt x="8994781" y="6013115"/>
                  <a:pt x="8995483" y="6012929"/>
                  <a:pt x="8995978" y="6012558"/>
                </a:cubicBezTo>
                <a:cubicBezTo>
                  <a:pt x="8996473" y="6012186"/>
                  <a:pt x="8996845" y="6011464"/>
                  <a:pt x="8997092" y="6010391"/>
                </a:cubicBezTo>
                <a:lnTo>
                  <a:pt x="9011084" y="5945135"/>
                </a:lnTo>
                <a:lnTo>
                  <a:pt x="9024581" y="6010391"/>
                </a:lnTo>
                <a:cubicBezTo>
                  <a:pt x="9024912" y="6012207"/>
                  <a:pt x="9025985" y="6013115"/>
                  <a:pt x="9027801" y="6013115"/>
                </a:cubicBezTo>
                <a:lnTo>
                  <a:pt x="9035107" y="6013115"/>
                </a:lnTo>
                <a:cubicBezTo>
                  <a:pt x="9036015" y="6013115"/>
                  <a:pt x="9036716" y="6012929"/>
                  <a:pt x="9037212" y="6012558"/>
                </a:cubicBezTo>
                <a:cubicBezTo>
                  <a:pt x="9037707" y="6012186"/>
                  <a:pt x="9038078" y="6011464"/>
                  <a:pt x="9038326" y="6010391"/>
                </a:cubicBezTo>
                <a:lnTo>
                  <a:pt x="9056900" y="5927799"/>
                </a:lnTo>
                <a:cubicBezTo>
                  <a:pt x="9056982" y="5927469"/>
                  <a:pt x="9057044" y="5927180"/>
                  <a:pt x="9057085" y="5926933"/>
                </a:cubicBezTo>
                <a:cubicBezTo>
                  <a:pt x="9057127" y="5926685"/>
                  <a:pt x="9057147" y="5926520"/>
                  <a:pt x="9057147" y="5926437"/>
                </a:cubicBezTo>
                <a:cubicBezTo>
                  <a:pt x="9057147" y="5925447"/>
                  <a:pt x="9056487" y="5924951"/>
                  <a:pt x="9055166" y="5924951"/>
                </a:cubicBezTo>
                <a:lnTo>
                  <a:pt x="9050337" y="5924951"/>
                </a:lnTo>
                <a:cubicBezTo>
                  <a:pt x="9049264" y="5924951"/>
                  <a:pt x="9048521" y="5925096"/>
                  <a:pt x="9048108" y="5925385"/>
                </a:cubicBezTo>
                <a:cubicBezTo>
                  <a:pt x="9047695" y="5925674"/>
                  <a:pt x="9047406" y="5926272"/>
                  <a:pt x="9047241" y="5927180"/>
                </a:cubicBezTo>
                <a:lnTo>
                  <a:pt x="9031516" y="6000856"/>
                </a:lnTo>
                <a:lnTo>
                  <a:pt x="9017400" y="5930771"/>
                </a:lnTo>
                <a:cubicBezTo>
                  <a:pt x="9017069" y="5928955"/>
                  <a:pt x="9015996" y="5928047"/>
                  <a:pt x="9014180" y="5928047"/>
                </a:cubicBezTo>
                <a:lnTo>
                  <a:pt x="9008979" y="5928047"/>
                </a:lnTo>
                <a:cubicBezTo>
                  <a:pt x="9008071" y="5928047"/>
                  <a:pt x="9007370" y="5928233"/>
                  <a:pt x="9006874" y="5928604"/>
                </a:cubicBezTo>
                <a:cubicBezTo>
                  <a:pt x="9006379" y="5928976"/>
                  <a:pt x="9006008" y="5929698"/>
                  <a:pt x="9005760" y="5930771"/>
                </a:cubicBezTo>
                <a:lnTo>
                  <a:pt x="8990653" y="6000608"/>
                </a:lnTo>
                <a:lnTo>
                  <a:pt x="8975547" y="5927180"/>
                </a:lnTo>
                <a:cubicBezTo>
                  <a:pt x="8975382" y="5926272"/>
                  <a:pt x="8975093" y="5925674"/>
                  <a:pt x="8974680" y="5925385"/>
                </a:cubicBezTo>
                <a:cubicBezTo>
                  <a:pt x="8974267" y="5925096"/>
                  <a:pt x="8973524" y="5924951"/>
                  <a:pt x="8972451" y="5924951"/>
                </a:cubicBezTo>
                <a:close/>
                <a:moveTo>
                  <a:pt x="9072035" y="5923713"/>
                </a:moveTo>
                <a:cubicBezTo>
                  <a:pt x="9070136" y="5923713"/>
                  <a:pt x="9068630" y="5924208"/>
                  <a:pt x="9067515" y="5925199"/>
                </a:cubicBezTo>
                <a:cubicBezTo>
                  <a:pt x="9066401" y="5926190"/>
                  <a:pt x="9065844" y="5927510"/>
                  <a:pt x="9065844" y="5929161"/>
                </a:cubicBezTo>
                <a:lnTo>
                  <a:pt x="9065844" y="5931143"/>
                </a:lnTo>
                <a:cubicBezTo>
                  <a:pt x="9065844" y="5932876"/>
                  <a:pt x="9066401" y="5934238"/>
                  <a:pt x="9067515" y="5935229"/>
                </a:cubicBezTo>
                <a:cubicBezTo>
                  <a:pt x="9068630" y="5936219"/>
                  <a:pt x="9070136" y="5936715"/>
                  <a:pt x="9072035" y="5936715"/>
                </a:cubicBezTo>
                <a:cubicBezTo>
                  <a:pt x="9074016" y="5936715"/>
                  <a:pt x="9075585" y="5936219"/>
                  <a:pt x="9076740" y="5935229"/>
                </a:cubicBezTo>
                <a:cubicBezTo>
                  <a:pt x="9077896" y="5934238"/>
                  <a:pt x="9078474" y="5932876"/>
                  <a:pt x="9078474" y="5931143"/>
                </a:cubicBezTo>
                <a:lnTo>
                  <a:pt x="9078474" y="5929161"/>
                </a:lnTo>
                <a:cubicBezTo>
                  <a:pt x="9078474" y="5927510"/>
                  <a:pt x="9077896" y="5926190"/>
                  <a:pt x="9076740" y="5925199"/>
                </a:cubicBezTo>
                <a:cubicBezTo>
                  <a:pt x="9075585" y="5924208"/>
                  <a:pt x="9074016" y="5923713"/>
                  <a:pt x="9072035" y="5923713"/>
                </a:cubicBezTo>
                <a:close/>
                <a:moveTo>
                  <a:pt x="2439953" y="2150973"/>
                </a:moveTo>
                <a:cubicBezTo>
                  <a:pt x="2443796" y="2150973"/>
                  <a:pt x="2448172" y="2151080"/>
                  <a:pt x="2453296" y="2151293"/>
                </a:cubicBezTo>
                <a:cubicBezTo>
                  <a:pt x="2458313" y="2151507"/>
                  <a:pt x="2464184" y="2151934"/>
                  <a:pt x="2470909" y="2152788"/>
                </a:cubicBezTo>
                <a:lnTo>
                  <a:pt x="2470909" y="2166451"/>
                </a:lnTo>
                <a:cubicBezTo>
                  <a:pt x="2470909" y="2178086"/>
                  <a:pt x="2468774" y="2186199"/>
                  <a:pt x="2464504" y="2191109"/>
                </a:cubicBezTo>
                <a:cubicBezTo>
                  <a:pt x="2460234" y="2195913"/>
                  <a:pt x="2453189" y="2198368"/>
                  <a:pt x="2443262" y="2198368"/>
                </a:cubicBezTo>
                <a:lnTo>
                  <a:pt x="2438138" y="2198368"/>
                </a:lnTo>
                <a:cubicBezTo>
                  <a:pt x="2429599" y="2198368"/>
                  <a:pt x="2423087" y="2196660"/>
                  <a:pt x="2418390" y="2193244"/>
                </a:cubicBezTo>
                <a:cubicBezTo>
                  <a:pt x="2413694" y="2189828"/>
                  <a:pt x="2411345" y="2183744"/>
                  <a:pt x="2411345" y="2174991"/>
                </a:cubicBezTo>
                <a:cubicBezTo>
                  <a:pt x="2411345" y="2166238"/>
                  <a:pt x="2413694" y="2160046"/>
                  <a:pt x="2418497" y="2156417"/>
                </a:cubicBezTo>
                <a:cubicBezTo>
                  <a:pt x="2423301" y="2152788"/>
                  <a:pt x="2430452" y="2150973"/>
                  <a:pt x="2439953" y="2150973"/>
                </a:cubicBezTo>
                <a:close/>
                <a:moveTo>
                  <a:pt x="2284904" y="2088655"/>
                </a:moveTo>
                <a:lnTo>
                  <a:pt x="2307057" y="2097602"/>
                </a:lnTo>
                <a:cubicBezTo>
                  <a:pt x="2311753" y="2103579"/>
                  <a:pt x="2314102" y="2112866"/>
                  <a:pt x="2314102" y="2125675"/>
                </a:cubicBezTo>
                <a:lnTo>
                  <a:pt x="2253044" y="2125675"/>
                </a:lnTo>
                <a:cubicBezTo>
                  <a:pt x="2253364" y="2112546"/>
                  <a:pt x="2256140" y="2103046"/>
                  <a:pt x="2261050" y="2097281"/>
                </a:cubicBezTo>
                <a:close/>
                <a:moveTo>
                  <a:pt x="2284854" y="2088635"/>
                </a:moveTo>
                <a:lnTo>
                  <a:pt x="2284961" y="2088635"/>
                </a:lnTo>
                <a:lnTo>
                  <a:pt x="2284904" y="2088655"/>
                </a:lnTo>
                <a:close/>
                <a:moveTo>
                  <a:pt x="2284534" y="2059494"/>
                </a:moveTo>
                <a:cubicBezTo>
                  <a:pt x="2262864" y="2059494"/>
                  <a:pt x="2246106" y="2065899"/>
                  <a:pt x="2234364" y="2078815"/>
                </a:cubicBezTo>
                <a:cubicBezTo>
                  <a:pt x="2222622" y="2091624"/>
                  <a:pt x="2216751" y="2109877"/>
                  <a:pt x="2216751" y="2133361"/>
                </a:cubicBezTo>
                <a:lnTo>
                  <a:pt x="2216751" y="2157058"/>
                </a:lnTo>
                <a:cubicBezTo>
                  <a:pt x="2216751" y="2179581"/>
                  <a:pt x="2222622" y="2196874"/>
                  <a:pt x="2234364" y="2209043"/>
                </a:cubicBezTo>
                <a:cubicBezTo>
                  <a:pt x="2246106" y="2221211"/>
                  <a:pt x="2262758" y="2227296"/>
                  <a:pt x="2284213" y="2227296"/>
                </a:cubicBezTo>
                <a:cubicBezTo>
                  <a:pt x="2294994" y="2227296"/>
                  <a:pt x="2304815" y="2225801"/>
                  <a:pt x="2313888" y="2222599"/>
                </a:cubicBezTo>
                <a:cubicBezTo>
                  <a:pt x="2322961" y="2219397"/>
                  <a:pt x="2330327" y="2214914"/>
                  <a:pt x="2335984" y="2209043"/>
                </a:cubicBezTo>
                <a:cubicBezTo>
                  <a:pt x="2339400" y="2205627"/>
                  <a:pt x="2342389" y="2201357"/>
                  <a:pt x="2344951" y="2196127"/>
                </a:cubicBezTo>
                <a:cubicBezTo>
                  <a:pt x="2347513" y="2190896"/>
                  <a:pt x="2348794" y="2186413"/>
                  <a:pt x="2348794" y="2182570"/>
                </a:cubicBezTo>
                <a:cubicBezTo>
                  <a:pt x="2348794" y="2180008"/>
                  <a:pt x="2348046" y="2178087"/>
                  <a:pt x="2346659" y="2177126"/>
                </a:cubicBezTo>
                <a:cubicBezTo>
                  <a:pt x="2345271" y="2176165"/>
                  <a:pt x="2342816" y="2175632"/>
                  <a:pt x="2339400" y="2175632"/>
                </a:cubicBezTo>
                <a:lnTo>
                  <a:pt x="2320506" y="2175632"/>
                </a:lnTo>
                <a:cubicBezTo>
                  <a:pt x="2316237" y="2175632"/>
                  <a:pt x="2313461" y="2177340"/>
                  <a:pt x="2312287" y="2180755"/>
                </a:cubicBezTo>
                <a:cubicBezTo>
                  <a:pt x="2309085" y="2191323"/>
                  <a:pt x="2300118" y="2196554"/>
                  <a:pt x="2285281" y="2196554"/>
                </a:cubicBezTo>
                <a:cubicBezTo>
                  <a:pt x="2273752" y="2196554"/>
                  <a:pt x="2265426" y="2193351"/>
                  <a:pt x="2260516" y="2186947"/>
                </a:cubicBezTo>
                <a:cubicBezTo>
                  <a:pt x="2255499" y="2180542"/>
                  <a:pt x="2253044" y="2169761"/>
                  <a:pt x="2253044" y="2154603"/>
                </a:cubicBezTo>
                <a:lnTo>
                  <a:pt x="2253044" y="2153109"/>
                </a:lnTo>
                <a:lnTo>
                  <a:pt x="2341215" y="2153109"/>
                </a:lnTo>
                <a:lnTo>
                  <a:pt x="2341108" y="2153215"/>
                </a:lnTo>
                <a:cubicBezTo>
                  <a:pt x="2345164" y="2153215"/>
                  <a:pt x="2347833" y="2152575"/>
                  <a:pt x="2349007" y="2151401"/>
                </a:cubicBezTo>
                <a:cubicBezTo>
                  <a:pt x="2350181" y="2150120"/>
                  <a:pt x="2350822" y="2147771"/>
                  <a:pt x="2350822" y="2144356"/>
                </a:cubicBezTo>
                <a:lnTo>
                  <a:pt x="2350822" y="2130052"/>
                </a:lnTo>
                <a:cubicBezTo>
                  <a:pt x="2350822" y="2106888"/>
                  <a:pt x="2345271" y="2089382"/>
                  <a:pt x="2333956" y="2077427"/>
                </a:cubicBezTo>
                <a:cubicBezTo>
                  <a:pt x="2322641" y="2065472"/>
                  <a:pt x="2306203" y="2059494"/>
                  <a:pt x="2284534" y="2059494"/>
                </a:cubicBezTo>
                <a:close/>
                <a:moveTo>
                  <a:pt x="2444223" y="2059280"/>
                </a:moveTo>
                <a:cubicBezTo>
                  <a:pt x="2430773" y="2059280"/>
                  <a:pt x="2419992" y="2060774"/>
                  <a:pt x="2411666" y="2063870"/>
                </a:cubicBezTo>
                <a:cubicBezTo>
                  <a:pt x="2403339" y="2066966"/>
                  <a:pt x="2396615" y="2071235"/>
                  <a:pt x="2391598" y="2076679"/>
                </a:cubicBezTo>
                <a:cubicBezTo>
                  <a:pt x="2385300" y="2083618"/>
                  <a:pt x="2382204" y="2090983"/>
                  <a:pt x="2382204" y="2098882"/>
                </a:cubicBezTo>
                <a:cubicBezTo>
                  <a:pt x="2382204" y="2101124"/>
                  <a:pt x="2382845" y="2102832"/>
                  <a:pt x="2384019" y="2103899"/>
                </a:cubicBezTo>
                <a:cubicBezTo>
                  <a:pt x="2385300" y="2105073"/>
                  <a:pt x="2387541" y="2105607"/>
                  <a:pt x="2390744" y="2105607"/>
                </a:cubicBezTo>
                <a:lnTo>
                  <a:pt x="2410491" y="2105607"/>
                </a:lnTo>
                <a:cubicBezTo>
                  <a:pt x="2413800" y="2105607"/>
                  <a:pt x="2416042" y="2105287"/>
                  <a:pt x="2417216" y="2104540"/>
                </a:cubicBezTo>
                <a:cubicBezTo>
                  <a:pt x="2418497" y="2103899"/>
                  <a:pt x="2419458" y="2102298"/>
                  <a:pt x="2420312" y="2099843"/>
                </a:cubicBezTo>
                <a:cubicBezTo>
                  <a:pt x="2421913" y="2095146"/>
                  <a:pt x="2424795" y="2091837"/>
                  <a:pt x="2428851" y="2089916"/>
                </a:cubicBezTo>
                <a:cubicBezTo>
                  <a:pt x="2432908" y="2087994"/>
                  <a:pt x="2438031" y="2087033"/>
                  <a:pt x="2444329" y="2087033"/>
                </a:cubicBezTo>
                <a:cubicBezTo>
                  <a:pt x="2453403" y="2087033"/>
                  <a:pt x="2460127" y="2089168"/>
                  <a:pt x="2464504" y="2093545"/>
                </a:cubicBezTo>
                <a:cubicBezTo>
                  <a:pt x="2468880" y="2097921"/>
                  <a:pt x="2471015" y="2105820"/>
                  <a:pt x="2471015" y="2117135"/>
                </a:cubicBezTo>
                <a:lnTo>
                  <a:pt x="2471015" y="2125034"/>
                </a:lnTo>
                <a:cubicBezTo>
                  <a:pt x="2465785" y="2124394"/>
                  <a:pt x="2460127" y="2123967"/>
                  <a:pt x="2454150" y="2123647"/>
                </a:cubicBezTo>
                <a:cubicBezTo>
                  <a:pt x="2448065" y="2123327"/>
                  <a:pt x="2442835" y="2123220"/>
                  <a:pt x="2438138" y="2123220"/>
                </a:cubicBezTo>
                <a:lnTo>
                  <a:pt x="2438031" y="2123113"/>
                </a:lnTo>
                <a:cubicBezTo>
                  <a:pt x="2426716" y="2123113"/>
                  <a:pt x="2416256" y="2124714"/>
                  <a:pt x="2406862" y="2127810"/>
                </a:cubicBezTo>
                <a:cubicBezTo>
                  <a:pt x="2397362" y="2131012"/>
                  <a:pt x="2389890" y="2136349"/>
                  <a:pt x="2384339" y="2143821"/>
                </a:cubicBezTo>
                <a:cubicBezTo>
                  <a:pt x="2378788" y="2151293"/>
                  <a:pt x="2376013" y="2161754"/>
                  <a:pt x="2376013" y="2175097"/>
                </a:cubicBezTo>
                <a:cubicBezTo>
                  <a:pt x="2376013" y="2192924"/>
                  <a:pt x="2381137" y="2205946"/>
                  <a:pt x="2391384" y="2213846"/>
                </a:cubicBezTo>
                <a:cubicBezTo>
                  <a:pt x="2401632" y="2221745"/>
                  <a:pt x="2417536" y="2225801"/>
                  <a:pt x="2438992" y="2225801"/>
                </a:cubicBezTo>
                <a:lnTo>
                  <a:pt x="2447532" y="2225801"/>
                </a:lnTo>
                <a:cubicBezTo>
                  <a:pt x="2462796" y="2225801"/>
                  <a:pt x="2474538" y="2223453"/>
                  <a:pt x="2482971" y="2218542"/>
                </a:cubicBezTo>
                <a:cubicBezTo>
                  <a:pt x="2491403" y="2213632"/>
                  <a:pt x="2497381" y="2207227"/>
                  <a:pt x="2500797" y="2199222"/>
                </a:cubicBezTo>
                <a:cubicBezTo>
                  <a:pt x="2504213" y="2191216"/>
                  <a:pt x="2505921" y="2182783"/>
                  <a:pt x="2505921" y="2173816"/>
                </a:cubicBezTo>
                <a:lnTo>
                  <a:pt x="2505921" y="2114573"/>
                </a:lnTo>
                <a:cubicBezTo>
                  <a:pt x="2505921" y="2102618"/>
                  <a:pt x="2504213" y="2092584"/>
                  <a:pt x="2500477" y="2084365"/>
                </a:cubicBezTo>
                <a:cubicBezTo>
                  <a:pt x="2496741" y="2076146"/>
                  <a:pt x="2490443" y="2069954"/>
                  <a:pt x="2481583" y="2065685"/>
                </a:cubicBezTo>
                <a:cubicBezTo>
                  <a:pt x="2472723" y="2061415"/>
                  <a:pt x="2460234" y="2059280"/>
                  <a:pt x="2444223" y="2059280"/>
                </a:cubicBezTo>
                <a:close/>
                <a:moveTo>
                  <a:pt x="2636896" y="2018931"/>
                </a:moveTo>
                <a:cubicBezTo>
                  <a:pt x="2633053" y="2018931"/>
                  <a:pt x="2630385" y="2019571"/>
                  <a:pt x="2629104" y="2020639"/>
                </a:cubicBezTo>
                <a:cubicBezTo>
                  <a:pt x="2627823" y="2021706"/>
                  <a:pt x="2627182" y="2024161"/>
                  <a:pt x="2627182" y="2027791"/>
                </a:cubicBezTo>
                <a:lnTo>
                  <a:pt x="2627182" y="2063657"/>
                </a:lnTo>
                <a:lnTo>
                  <a:pt x="2611064" y="2063657"/>
                </a:lnTo>
                <a:cubicBezTo>
                  <a:pt x="2607968" y="2063657"/>
                  <a:pt x="2605940" y="2064297"/>
                  <a:pt x="2604979" y="2065365"/>
                </a:cubicBezTo>
                <a:cubicBezTo>
                  <a:pt x="2604019" y="2066432"/>
                  <a:pt x="2603485" y="2068781"/>
                  <a:pt x="2603485" y="2072196"/>
                </a:cubicBezTo>
                <a:lnTo>
                  <a:pt x="2603485" y="2085006"/>
                </a:lnTo>
                <a:cubicBezTo>
                  <a:pt x="2603485" y="2088421"/>
                  <a:pt x="2603912" y="2090770"/>
                  <a:pt x="2604979" y="2091837"/>
                </a:cubicBezTo>
                <a:cubicBezTo>
                  <a:pt x="2606047" y="2093011"/>
                  <a:pt x="2607968" y="2093545"/>
                  <a:pt x="2611064" y="2093545"/>
                </a:cubicBezTo>
                <a:lnTo>
                  <a:pt x="2627182" y="2093545"/>
                </a:lnTo>
                <a:lnTo>
                  <a:pt x="2627182" y="2175311"/>
                </a:lnTo>
                <a:cubicBezTo>
                  <a:pt x="2627182" y="2189935"/>
                  <a:pt x="2630491" y="2201464"/>
                  <a:pt x="2637216" y="2210110"/>
                </a:cubicBezTo>
                <a:cubicBezTo>
                  <a:pt x="2643941" y="2218756"/>
                  <a:pt x="2656217" y="2223026"/>
                  <a:pt x="2674043" y="2223026"/>
                </a:cubicBezTo>
                <a:lnTo>
                  <a:pt x="2691015" y="2223026"/>
                </a:lnTo>
                <a:lnTo>
                  <a:pt x="2691122" y="2223133"/>
                </a:lnTo>
                <a:cubicBezTo>
                  <a:pt x="2694324" y="2223133"/>
                  <a:pt x="2696459" y="2222492"/>
                  <a:pt x="2697313" y="2221425"/>
                </a:cubicBezTo>
                <a:cubicBezTo>
                  <a:pt x="2698274" y="2220357"/>
                  <a:pt x="2698701" y="2218009"/>
                  <a:pt x="2698701" y="2214593"/>
                </a:cubicBezTo>
                <a:lnTo>
                  <a:pt x="2698701" y="2200289"/>
                </a:lnTo>
                <a:cubicBezTo>
                  <a:pt x="2698701" y="2196874"/>
                  <a:pt x="2698167" y="2194525"/>
                  <a:pt x="2697206" y="2193458"/>
                </a:cubicBezTo>
                <a:cubicBezTo>
                  <a:pt x="2696139" y="2192284"/>
                  <a:pt x="2694218" y="2191750"/>
                  <a:pt x="2691122" y="2191750"/>
                </a:cubicBezTo>
                <a:lnTo>
                  <a:pt x="2680234" y="2191750"/>
                </a:lnTo>
                <a:cubicBezTo>
                  <a:pt x="2674150" y="2191750"/>
                  <a:pt x="2669880" y="2189935"/>
                  <a:pt x="2667318" y="2186413"/>
                </a:cubicBezTo>
                <a:cubicBezTo>
                  <a:pt x="2664756" y="2182890"/>
                  <a:pt x="2663475" y="2177339"/>
                  <a:pt x="2663475" y="2169867"/>
                </a:cubicBezTo>
                <a:lnTo>
                  <a:pt x="2663475" y="2093545"/>
                </a:lnTo>
                <a:lnTo>
                  <a:pt x="2691122" y="2093545"/>
                </a:lnTo>
                <a:cubicBezTo>
                  <a:pt x="2694111" y="2093545"/>
                  <a:pt x="2696139" y="2092905"/>
                  <a:pt x="2697206" y="2091837"/>
                </a:cubicBezTo>
                <a:cubicBezTo>
                  <a:pt x="2698167" y="2090770"/>
                  <a:pt x="2698701" y="2088421"/>
                  <a:pt x="2698701" y="2085006"/>
                </a:cubicBezTo>
                <a:lnTo>
                  <a:pt x="2698701" y="2072196"/>
                </a:lnTo>
                <a:cubicBezTo>
                  <a:pt x="2698701" y="2068781"/>
                  <a:pt x="2698167" y="2066432"/>
                  <a:pt x="2697206" y="2065365"/>
                </a:cubicBezTo>
                <a:cubicBezTo>
                  <a:pt x="2696139" y="2064191"/>
                  <a:pt x="2694218" y="2063657"/>
                  <a:pt x="2691122" y="2063657"/>
                </a:cubicBezTo>
                <a:lnTo>
                  <a:pt x="2663475" y="2063657"/>
                </a:lnTo>
                <a:lnTo>
                  <a:pt x="2663475" y="2027791"/>
                </a:lnTo>
                <a:cubicBezTo>
                  <a:pt x="2663475" y="2024161"/>
                  <a:pt x="2662728" y="2021706"/>
                  <a:pt x="2661447" y="2020639"/>
                </a:cubicBezTo>
                <a:cubicBezTo>
                  <a:pt x="2660059" y="2019465"/>
                  <a:pt x="2657498" y="2018931"/>
                  <a:pt x="2653655" y="2018931"/>
                </a:cubicBezTo>
                <a:close/>
                <a:moveTo>
                  <a:pt x="2552035" y="2006549"/>
                </a:moveTo>
                <a:cubicBezTo>
                  <a:pt x="2548192" y="2006549"/>
                  <a:pt x="2545523" y="2007083"/>
                  <a:pt x="2544242" y="2008257"/>
                </a:cubicBezTo>
                <a:cubicBezTo>
                  <a:pt x="2542961" y="2009431"/>
                  <a:pt x="2542321" y="2011779"/>
                  <a:pt x="2542321" y="2015409"/>
                </a:cubicBezTo>
                <a:lnTo>
                  <a:pt x="2542321" y="2214166"/>
                </a:lnTo>
                <a:cubicBezTo>
                  <a:pt x="2542321" y="2217796"/>
                  <a:pt x="2542855" y="2220144"/>
                  <a:pt x="2544242" y="2221318"/>
                </a:cubicBezTo>
                <a:cubicBezTo>
                  <a:pt x="2545630" y="2222492"/>
                  <a:pt x="2548192" y="2223026"/>
                  <a:pt x="2552035" y="2223026"/>
                </a:cubicBezTo>
                <a:lnTo>
                  <a:pt x="2568794" y="2223026"/>
                </a:lnTo>
                <a:cubicBezTo>
                  <a:pt x="2572636" y="2223026"/>
                  <a:pt x="2575305" y="2222386"/>
                  <a:pt x="2576586" y="2221318"/>
                </a:cubicBezTo>
                <a:cubicBezTo>
                  <a:pt x="2577974" y="2220251"/>
                  <a:pt x="2578614" y="2217796"/>
                  <a:pt x="2578614" y="2214166"/>
                </a:cubicBezTo>
                <a:lnTo>
                  <a:pt x="2578614" y="2015409"/>
                </a:lnTo>
                <a:cubicBezTo>
                  <a:pt x="2578614" y="2011779"/>
                  <a:pt x="2577867" y="2009324"/>
                  <a:pt x="2576586" y="2008257"/>
                </a:cubicBezTo>
                <a:cubicBezTo>
                  <a:pt x="2575198" y="2007083"/>
                  <a:pt x="2572636" y="2006549"/>
                  <a:pt x="2568794" y="2006549"/>
                </a:cubicBezTo>
                <a:close/>
                <a:moveTo>
                  <a:pt x="2034752" y="2006549"/>
                </a:moveTo>
                <a:cubicBezTo>
                  <a:pt x="2030910" y="2006549"/>
                  <a:pt x="2028241" y="2007189"/>
                  <a:pt x="2026960" y="2008257"/>
                </a:cubicBezTo>
                <a:cubicBezTo>
                  <a:pt x="2025572" y="2009431"/>
                  <a:pt x="2024932" y="2011779"/>
                  <a:pt x="2024932" y="2015409"/>
                </a:cubicBezTo>
                <a:lnTo>
                  <a:pt x="2024932" y="2214166"/>
                </a:lnTo>
                <a:cubicBezTo>
                  <a:pt x="2024932" y="2217796"/>
                  <a:pt x="2025679" y="2220251"/>
                  <a:pt x="2026960" y="2221318"/>
                </a:cubicBezTo>
                <a:cubicBezTo>
                  <a:pt x="2028348" y="2222492"/>
                  <a:pt x="2030910" y="2223026"/>
                  <a:pt x="2034752" y="2223026"/>
                </a:cubicBezTo>
                <a:lnTo>
                  <a:pt x="2052259" y="2223026"/>
                </a:lnTo>
                <a:cubicBezTo>
                  <a:pt x="2056101" y="2223026"/>
                  <a:pt x="2058770" y="2222386"/>
                  <a:pt x="2060051" y="2221318"/>
                </a:cubicBezTo>
                <a:cubicBezTo>
                  <a:pt x="2061439" y="2220251"/>
                  <a:pt x="2062079" y="2217796"/>
                  <a:pt x="2062079" y="2214166"/>
                </a:cubicBezTo>
                <a:lnTo>
                  <a:pt x="2062079" y="2125996"/>
                </a:lnTo>
                <a:lnTo>
                  <a:pt x="2144272" y="2125996"/>
                </a:lnTo>
                <a:lnTo>
                  <a:pt x="2144272" y="2214166"/>
                </a:lnTo>
                <a:cubicBezTo>
                  <a:pt x="2144272" y="2217796"/>
                  <a:pt x="2144912" y="2220251"/>
                  <a:pt x="2146193" y="2221318"/>
                </a:cubicBezTo>
                <a:cubicBezTo>
                  <a:pt x="2147581" y="2222492"/>
                  <a:pt x="2150143" y="2223026"/>
                  <a:pt x="2153986" y="2223026"/>
                </a:cubicBezTo>
                <a:lnTo>
                  <a:pt x="2171598" y="2223026"/>
                </a:lnTo>
                <a:cubicBezTo>
                  <a:pt x="2175441" y="2223026"/>
                  <a:pt x="2178110" y="2222386"/>
                  <a:pt x="2179391" y="2221318"/>
                </a:cubicBezTo>
                <a:cubicBezTo>
                  <a:pt x="2180672" y="2220251"/>
                  <a:pt x="2181312" y="2217796"/>
                  <a:pt x="2181312" y="2214166"/>
                </a:cubicBezTo>
                <a:lnTo>
                  <a:pt x="2181312" y="2015409"/>
                </a:lnTo>
                <a:cubicBezTo>
                  <a:pt x="2181312" y="2011779"/>
                  <a:pt x="2180672" y="2009324"/>
                  <a:pt x="2179391" y="2008257"/>
                </a:cubicBezTo>
                <a:cubicBezTo>
                  <a:pt x="2178003" y="2007083"/>
                  <a:pt x="2175441" y="2006549"/>
                  <a:pt x="2171598" y="2006549"/>
                </a:cubicBezTo>
                <a:lnTo>
                  <a:pt x="2153986" y="2006549"/>
                </a:lnTo>
                <a:cubicBezTo>
                  <a:pt x="2150143" y="2006549"/>
                  <a:pt x="2147474" y="2007189"/>
                  <a:pt x="2146193" y="2008257"/>
                </a:cubicBezTo>
                <a:cubicBezTo>
                  <a:pt x="2144912" y="2009431"/>
                  <a:pt x="2144272" y="2011779"/>
                  <a:pt x="2144272" y="2015409"/>
                </a:cubicBezTo>
                <a:lnTo>
                  <a:pt x="2144272" y="2093225"/>
                </a:lnTo>
                <a:lnTo>
                  <a:pt x="2062186" y="2093225"/>
                </a:lnTo>
                <a:lnTo>
                  <a:pt x="2062186" y="2015409"/>
                </a:lnTo>
                <a:cubicBezTo>
                  <a:pt x="2062186" y="2011779"/>
                  <a:pt x="2061439" y="2009324"/>
                  <a:pt x="2060158" y="2008257"/>
                </a:cubicBezTo>
                <a:cubicBezTo>
                  <a:pt x="2058770" y="2007083"/>
                  <a:pt x="2056208" y="2006549"/>
                  <a:pt x="2052365" y="2006549"/>
                </a:cubicBezTo>
                <a:close/>
                <a:moveTo>
                  <a:pt x="2737769" y="2006442"/>
                </a:moveTo>
                <a:cubicBezTo>
                  <a:pt x="2733926" y="2006442"/>
                  <a:pt x="2731257" y="2007082"/>
                  <a:pt x="2729976" y="2008257"/>
                </a:cubicBezTo>
                <a:cubicBezTo>
                  <a:pt x="2728695" y="2009538"/>
                  <a:pt x="2728055" y="2011886"/>
                  <a:pt x="2728055" y="2015302"/>
                </a:cubicBezTo>
                <a:lnTo>
                  <a:pt x="2728055" y="2214059"/>
                </a:lnTo>
                <a:cubicBezTo>
                  <a:pt x="2728055" y="2217582"/>
                  <a:pt x="2728589" y="2219930"/>
                  <a:pt x="2729976" y="2221105"/>
                </a:cubicBezTo>
                <a:cubicBezTo>
                  <a:pt x="2731364" y="2222279"/>
                  <a:pt x="2733926" y="2222919"/>
                  <a:pt x="2737769" y="2222919"/>
                </a:cubicBezTo>
                <a:lnTo>
                  <a:pt x="2754528" y="2222919"/>
                </a:lnTo>
                <a:cubicBezTo>
                  <a:pt x="2758584" y="2222919"/>
                  <a:pt x="2761252" y="2222385"/>
                  <a:pt x="2762427" y="2221105"/>
                </a:cubicBezTo>
                <a:cubicBezTo>
                  <a:pt x="2763601" y="2219824"/>
                  <a:pt x="2764241" y="2217475"/>
                  <a:pt x="2764241" y="2214059"/>
                </a:cubicBezTo>
                <a:lnTo>
                  <a:pt x="2764241" y="2125035"/>
                </a:lnTo>
                <a:cubicBezTo>
                  <a:pt x="2764241" y="2114254"/>
                  <a:pt x="2767017" y="2105928"/>
                  <a:pt x="2772461" y="2099950"/>
                </a:cubicBezTo>
                <a:cubicBezTo>
                  <a:pt x="2778011" y="2093972"/>
                  <a:pt x="2785483" y="2090983"/>
                  <a:pt x="2794984" y="2090983"/>
                </a:cubicBezTo>
                <a:cubicBezTo>
                  <a:pt x="2805018" y="2090983"/>
                  <a:pt x="2812063" y="2093438"/>
                  <a:pt x="2815905" y="2098455"/>
                </a:cubicBezTo>
                <a:cubicBezTo>
                  <a:pt x="2819748" y="2103472"/>
                  <a:pt x="2821670" y="2110624"/>
                  <a:pt x="2821670" y="2119911"/>
                </a:cubicBezTo>
                <a:lnTo>
                  <a:pt x="2821670" y="2214166"/>
                </a:lnTo>
                <a:cubicBezTo>
                  <a:pt x="2821670" y="2217689"/>
                  <a:pt x="2822417" y="2220037"/>
                  <a:pt x="2823698" y="2221211"/>
                </a:cubicBezTo>
                <a:cubicBezTo>
                  <a:pt x="2825085" y="2222385"/>
                  <a:pt x="2827647" y="2223026"/>
                  <a:pt x="2831490" y="2223026"/>
                </a:cubicBezTo>
                <a:lnTo>
                  <a:pt x="2848249" y="2223026"/>
                </a:lnTo>
                <a:cubicBezTo>
                  <a:pt x="2852305" y="2223026"/>
                  <a:pt x="2854974" y="2222385"/>
                  <a:pt x="2856148" y="2221211"/>
                </a:cubicBezTo>
                <a:cubicBezTo>
                  <a:pt x="2857322" y="2219930"/>
                  <a:pt x="2857963" y="2217582"/>
                  <a:pt x="2857963" y="2214166"/>
                </a:cubicBezTo>
                <a:lnTo>
                  <a:pt x="2857963" y="2114467"/>
                </a:lnTo>
                <a:cubicBezTo>
                  <a:pt x="2857963" y="2097495"/>
                  <a:pt x="2853800" y="2084045"/>
                  <a:pt x="2845367" y="2074225"/>
                </a:cubicBezTo>
                <a:cubicBezTo>
                  <a:pt x="2836934" y="2064404"/>
                  <a:pt x="2824125" y="2059494"/>
                  <a:pt x="2806939" y="2059494"/>
                </a:cubicBezTo>
                <a:cubicBezTo>
                  <a:pt x="2788686" y="2059494"/>
                  <a:pt x="2774489" y="2065151"/>
                  <a:pt x="2764348" y="2076466"/>
                </a:cubicBezTo>
                <a:lnTo>
                  <a:pt x="2764348" y="2015409"/>
                </a:lnTo>
                <a:lnTo>
                  <a:pt x="2764241" y="2015302"/>
                </a:lnTo>
                <a:cubicBezTo>
                  <a:pt x="2764241" y="2011779"/>
                  <a:pt x="2763601" y="2009431"/>
                  <a:pt x="2762427" y="2008257"/>
                </a:cubicBezTo>
                <a:cubicBezTo>
                  <a:pt x="2761252" y="2007082"/>
                  <a:pt x="2758584" y="2006442"/>
                  <a:pt x="2754528" y="2006442"/>
                </a:cubicBezTo>
                <a:close/>
                <a:moveTo>
                  <a:pt x="2753034" y="1859134"/>
                </a:moveTo>
                <a:cubicBezTo>
                  <a:pt x="2756877" y="1859134"/>
                  <a:pt x="2761253" y="1859241"/>
                  <a:pt x="2766377" y="1859455"/>
                </a:cubicBezTo>
                <a:cubicBezTo>
                  <a:pt x="2771394" y="1859668"/>
                  <a:pt x="2777265" y="1860095"/>
                  <a:pt x="2783990" y="1860949"/>
                </a:cubicBezTo>
                <a:lnTo>
                  <a:pt x="2783990" y="1874612"/>
                </a:lnTo>
                <a:cubicBezTo>
                  <a:pt x="2783990" y="1886248"/>
                  <a:pt x="2781855" y="1894360"/>
                  <a:pt x="2777585" y="1899270"/>
                </a:cubicBezTo>
                <a:cubicBezTo>
                  <a:pt x="2773315" y="1904074"/>
                  <a:pt x="2766270" y="1906529"/>
                  <a:pt x="2756343" y="1906529"/>
                </a:cubicBezTo>
                <a:lnTo>
                  <a:pt x="2751219" y="1906529"/>
                </a:lnTo>
                <a:cubicBezTo>
                  <a:pt x="2742680" y="1906529"/>
                  <a:pt x="2736168" y="1904821"/>
                  <a:pt x="2731471" y="1901405"/>
                </a:cubicBezTo>
                <a:cubicBezTo>
                  <a:pt x="2726775" y="1897989"/>
                  <a:pt x="2724426" y="1891905"/>
                  <a:pt x="2724426" y="1883152"/>
                </a:cubicBezTo>
                <a:cubicBezTo>
                  <a:pt x="2724426" y="1874399"/>
                  <a:pt x="2726775" y="1868208"/>
                  <a:pt x="2731578" y="1864578"/>
                </a:cubicBezTo>
                <a:cubicBezTo>
                  <a:pt x="2736382" y="1860949"/>
                  <a:pt x="2743533" y="1859134"/>
                  <a:pt x="2753034" y="1859134"/>
                </a:cubicBezTo>
                <a:close/>
                <a:moveTo>
                  <a:pt x="3573897" y="1797970"/>
                </a:moveTo>
                <a:cubicBezTo>
                  <a:pt x="3585211" y="1797970"/>
                  <a:pt x="3593537" y="1801173"/>
                  <a:pt x="3598768" y="1807684"/>
                </a:cubicBezTo>
                <a:cubicBezTo>
                  <a:pt x="3603998" y="1814195"/>
                  <a:pt x="3606667" y="1824336"/>
                  <a:pt x="3606667" y="1838106"/>
                </a:cubicBezTo>
                <a:lnTo>
                  <a:pt x="3606667" y="1857000"/>
                </a:lnTo>
                <a:cubicBezTo>
                  <a:pt x="3606667" y="1884753"/>
                  <a:pt x="3595779" y="1898630"/>
                  <a:pt x="3573790" y="1898630"/>
                </a:cubicBezTo>
                <a:cubicBezTo>
                  <a:pt x="3551800" y="1898630"/>
                  <a:pt x="3540699" y="1884753"/>
                  <a:pt x="3540699" y="1857000"/>
                </a:cubicBezTo>
                <a:lnTo>
                  <a:pt x="3540699" y="1838106"/>
                </a:lnTo>
                <a:lnTo>
                  <a:pt x="3540806" y="1838106"/>
                </a:lnTo>
                <a:cubicBezTo>
                  <a:pt x="3540806" y="1824336"/>
                  <a:pt x="3543474" y="1814195"/>
                  <a:pt x="3548812" y="1807684"/>
                </a:cubicBezTo>
                <a:cubicBezTo>
                  <a:pt x="3554149" y="1801173"/>
                  <a:pt x="3562582" y="1797970"/>
                  <a:pt x="3573897" y="1797970"/>
                </a:cubicBezTo>
                <a:close/>
                <a:moveTo>
                  <a:pt x="2918807" y="1797970"/>
                </a:moveTo>
                <a:cubicBezTo>
                  <a:pt x="2930122" y="1797970"/>
                  <a:pt x="2938448" y="1801173"/>
                  <a:pt x="2943679" y="1807684"/>
                </a:cubicBezTo>
                <a:cubicBezTo>
                  <a:pt x="2948909" y="1814195"/>
                  <a:pt x="2951578" y="1824336"/>
                  <a:pt x="2951578" y="1838106"/>
                </a:cubicBezTo>
                <a:lnTo>
                  <a:pt x="2951578" y="1857000"/>
                </a:lnTo>
                <a:cubicBezTo>
                  <a:pt x="2951578" y="1884753"/>
                  <a:pt x="2940797" y="1898630"/>
                  <a:pt x="2918701" y="1898630"/>
                </a:cubicBezTo>
                <a:cubicBezTo>
                  <a:pt x="2896605" y="1898630"/>
                  <a:pt x="2885610" y="1884753"/>
                  <a:pt x="2885610" y="1857000"/>
                </a:cubicBezTo>
                <a:lnTo>
                  <a:pt x="2885610" y="1838106"/>
                </a:lnTo>
                <a:lnTo>
                  <a:pt x="2885717" y="1838106"/>
                </a:lnTo>
                <a:cubicBezTo>
                  <a:pt x="2885717" y="1824336"/>
                  <a:pt x="2888385" y="1814195"/>
                  <a:pt x="2893723" y="1807684"/>
                </a:cubicBezTo>
                <a:cubicBezTo>
                  <a:pt x="2899060" y="1801173"/>
                  <a:pt x="2907493" y="1797970"/>
                  <a:pt x="2918807" y="1797970"/>
                </a:cubicBezTo>
                <a:close/>
                <a:moveTo>
                  <a:pt x="2268145" y="1796816"/>
                </a:moveTo>
                <a:lnTo>
                  <a:pt x="2290298" y="1805763"/>
                </a:lnTo>
                <a:cubicBezTo>
                  <a:pt x="2294995" y="1811740"/>
                  <a:pt x="2297343" y="1821027"/>
                  <a:pt x="2297343" y="1833836"/>
                </a:cubicBezTo>
                <a:lnTo>
                  <a:pt x="2236286" y="1833836"/>
                </a:lnTo>
                <a:cubicBezTo>
                  <a:pt x="2236606" y="1820707"/>
                  <a:pt x="2239274" y="1811207"/>
                  <a:pt x="2244291" y="1805442"/>
                </a:cubicBezTo>
                <a:close/>
                <a:moveTo>
                  <a:pt x="2268095" y="1796796"/>
                </a:moveTo>
                <a:lnTo>
                  <a:pt x="2268202" y="1796796"/>
                </a:lnTo>
                <a:lnTo>
                  <a:pt x="2268145" y="1796816"/>
                </a:lnTo>
                <a:close/>
                <a:moveTo>
                  <a:pt x="3276827" y="1771819"/>
                </a:moveTo>
                <a:cubicBezTo>
                  <a:pt x="3272984" y="1771819"/>
                  <a:pt x="3270316" y="1772459"/>
                  <a:pt x="3269035" y="1773527"/>
                </a:cubicBezTo>
                <a:cubicBezTo>
                  <a:pt x="3267647" y="1774701"/>
                  <a:pt x="3267006" y="1777049"/>
                  <a:pt x="3267006" y="1780678"/>
                </a:cubicBezTo>
                <a:lnTo>
                  <a:pt x="3267006" y="1922328"/>
                </a:lnTo>
                <a:cubicBezTo>
                  <a:pt x="3267006" y="1925957"/>
                  <a:pt x="3267754" y="1928412"/>
                  <a:pt x="3269035" y="1929480"/>
                </a:cubicBezTo>
                <a:cubicBezTo>
                  <a:pt x="3270422" y="1930654"/>
                  <a:pt x="3272984" y="1931188"/>
                  <a:pt x="3276827" y="1931188"/>
                </a:cubicBezTo>
                <a:lnTo>
                  <a:pt x="3293586" y="1931188"/>
                </a:lnTo>
                <a:cubicBezTo>
                  <a:pt x="3297428" y="1931188"/>
                  <a:pt x="3300097" y="1930547"/>
                  <a:pt x="3301378" y="1929480"/>
                </a:cubicBezTo>
                <a:cubicBezTo>
                  <a:pt x="3302659" y="1928412"/>
                  <a:pt x="3303299" y="1925957"/>
                  <a:pt x="3303299" y="1922328"/>
                </a:cubicBezTo>
                <a:lnTo>
                  <a:pt x="3303299" y="1780678"/>
                </a:lnTo>
                <a:cubicBezTo>
                  <a:pt x="3303299" y="1777049"/>
                  <a:pt x="3302659" y="1774594"/>
                  <a:pt x="3301378" y="1773527"/>
                </a:cubicBezTo>
                <a:cubicBezTo>
                  <a:pt x="3299990" y="1772352"/>
                  <a:pt x="3297428" y="1771819"/>
                  <a:pt x="3293586" y="1771819"/>
                </a:cubicBezTo>
                <a:close/>
                <a:moveTo>
                  <a:pt x="3033237" y="1771819"/>
                </a:moveTo>
                <a:cubicBezTo>
                  <a:pt x="3029394" y="1771819"/>
                  <a:pt x="3026726" y="1772352"/>
                  <a:pt x="3025445" y="1773527"/>
                </a:cubicBezTo>
                <a:cubicBezTo>
                  <a:pt x="3024164" y="1774701"/>
                  <a:pt x="3023523" y="1777049"/>
                  <a:pt x="3023523" y="1780678"/>
                </a:cubicBezTo>
                <a:lnTo>
                  <a:pt x="3023523" y="1922328"/>
                </a:lnTo>
                <a:cubicBezTo>
                  <a:pt x="3023523" y="1925957"/>
                  <a:pt x="3024057" y="1928306"/>
                  <a:pt x="3025445" y="1929480"/>
                </a:cubicBezTo>
                <a:cubicBezTo>
                  <a:pt x="3026832" y="1930654"/>
                  <a:pt x="3029394" y="1931188"/>
                  <a:pt x="3033237" y="1931188"/>
                </a:cubicBezTo>
                <a:lnTo>
                  <a:pt x="3049996" y="1931188"/>
                </a:lnTo>
                <a:cubicBezTo>
                  <a:pt x="3053839" y="1931188"/>
                  <a:pt x="3056507" y="1930547"/>
                  <a:pt x="3057788" y="1929480"/>
                </a:cubicBezTo>
                <a:cubicBezTo>
                  <a:pt x="3059176" y="1928412"/>
                  <a:pt x="3059816" y="1925957"/>
                  <a:pt x="3059816" y="1922328"/>
                </a:cubicBezTo>
                <a:lnTo>
                  <a:pt x="3059816" y="1780678"/>
                </a:lnTo>
                <a:cubicBezTo>
                  <a:pt x="3059816" y="1777049"/>
                  <a:pt x="3059069" y="1774594"/>
                  <a:pt x="3057788" y="1773527"/>
                </a:cubicBezTo>
                <a:cubicBezTo>
                  <a:pt x="3056401" y="1772352"/>
                  <a:pt x="3053839" y="1771819"/>
                  <a:pt x="3049996" y="1771819"/>
                </a:cubicBezTo>
                <a:close/>
                <a:moveTo>
                  <a:pt x="2376761" y="1771819"/>
                </a:moveTo>
                <a:cubicBezTo>
                  <a:pt x="2372918" y="1771819"/>
                  <a:pt x="2370249" y="1772459"/>
                  <a:pt x="2368969" y="1773527"/>
                </a:cubicBezTo>
                <a:cubicBezTo>
                  <a:pt x="2367581" y="1774701"/>
                  <a:pt x="2366940" y="1777049"/>
                  <a:pt x="2366940" y="1780678"/>
                </a:cubicBezTo>
                <a:lnTo>
                  <a:pt x="2366940" y="1922328"/>
                </a:lnTo>
                <a:cubicBezTo>
                  <a:pt x="2366940" y="1925957"/>
                  <a:pt x="2367688" y="1928412"/>
                  <a:pt x="2368969" y="1929480"/>
                </a:cubicBezTo>
                <a:cubicBezTo>
                  <a:pt x="2370356" y="1930654"/>
                  <a:pt x="2372918" y="1931188"/>
                  <a:pt x="2376761" y="1931188"/>
                </a:cubicBezTo>
                <a:lnTo>
                  <a:pt x="2393520" y="1931188"/>
                </a:lnTo>
                <a:cubicBezTo>
                  <a:pt x="2397362" y="1931188"/>
                  <a:pt x="2400031" y="1930547"/>
                  <a:pt x="2401312" y="1929480"/>
                </a:cubicBezTo>
                <a:cubicBezTo>
                  <a:pt x="2402593" y="1928412"/>
                  <a:pt x="2403233" y="1925957"/>
                  <a:pt x="2403233" y="1922328"/>
                </a:cubicBezTo>
                <a:lnTo>
                  <a:pt x="2403233" y="1780678"/>
                </a:lnTo>
                <a:cubicBezTo>
                  <a:pt x="2403233" y="1777049"/>
                  <a:pt x="2402593" y="1774594"/>
                  <a:pt x="2401312" y="1773527"/>
                </a:cubicBezTo>
                <a:cubicBezTo>
                  <a:pt x="2399924" y="1772352"/>
                  <a:pt x="2397362" y="1771819"/>
                  <a:pt x="2393520" y="1771819"/>
                </a:cubicBezTo>
                <a:close/>
                <a:moveTo>
                  <a:pt x="3573683" y="1767655"/>
                </a:moveTo>
                <a:cubicBezTo>
                  <a:pt x="3551800" y="1767655"/>
                  <a:pt x="3534828" y="1773739"/>
                  <a:pt x="3522659" y="1785908"/>
                </a:cubicBezTo>
                <a:cubicBezTo>
                  <a:pt x="3510490" y="1798077"/>
                  <a:pt x="3504406" y="1815049"/>
                  <a:pt x="3504406" y="1836718"/>
                </a:cubicBezTo>
                <a:lnTo>
                  <a:pt x="3504406" y="1861910"/>
                </a:lnTo>
                <a:cubicBezTo>
                  <a:pt x="3504406" y="1883579"/>
                  <a:pt x="3509743" y="1900231"/>
                  <a:pt x="3520524" y="1911866"/>
                </a:cubicBezTo>
                <a:cubicBezTo>
                  <a:pt x="3531306" y="1923501"/>
                  <a:pt x="3546783" y="1929372"/>
                  <a:pt x="3567065" y="1929372"/>
                </a:cubicBezTo>
                <a:cubicBezTo>
                  <a:pt x="3584144" y="1929372"/>
                  <a:pt x="3597060" y="1924782"/>
                  <a:pt x="3606026" y="1915709"/>
                </a:cubicBezTo>
                <a:lnTo>
                  <a:pt x="3606026" y="1930867"/>
                </a:lnTo>
                <a:cubicBezTo>
                  <a:pt x="3606026" y="1940367"/>
                  <a:pt x="3603358" y="1947732"/>
                  <a:pt x="3598127" y="1952749"/>
                </a:cubicBezTo>
                <a:cubicBezTo>
                  <a:pt x="3595459" y="1955205"/>
                  <a:pt x="3591936" y="1957233"/>
                  <a:pt x="3587453" y="1958727"/>
                </a:cubicBezTo>
                <a:cubicBezTo>
                  <a:pt x="3583077" y="1960221"/>
                  <a:pt x="3577953" y="1960969"/>
                  <a:pt x="3572295" y="1960969"/>
                </a:cubicBezTo>
                <a:cubicBezTo>
                  <a:pt x="3565784" y="1960969"/>
                  <a:pt x="3560767" y="1960221"/>
                  <a:pt x="3557351" y="1958834"/>
                </a:cubicBezTo>
                <a:cubicBezTo>
                  <a:pt x="3553935" y="1957446"/>
                  <a:pt x="3550840" y="1954778"/>
                  <a:pt x="3547958" y="1950935"/>
                </a:cubicBezTo>
                <a:lnTo>
                  <a:pt x="3547851" y="1950935"/>
                </a:lnTo>
                <a:cubicBezTo>
                  <a:pt x="3546250" y="1948480"/>
                  <a:pt x="3544755" y="1946985"/>
                  <a:pt x="3543581" y="1946238"/>
                </a:cubicBezTo>
                <a:cubicBezTo>
                  <a:pt x="3542407" y="1945491"/>
                  <a:pt x="3540699" y="1945171"/>
                  <a:pt x="3538457" y="1945171"/>
                </a:cubicBezTo>
                <a:lnTo>
                  <a:pt x="3518389" y="1945171"/>
                </a:lnTo>
                <a:cubicBezTo>
                  <a:pt x="3512946" y="1945171"/>
                  <a:pt x="3510170" y="1947092"/>
                  <a:pt x="3510170" y="1950935"/>
                </a:cubicBezTo>
                <a:cubicBezTo>
                  <a:pt x="3510170" y="1962036"/>
                  <a:pt x="3515721" y="1970896"/>
                  <a:pt x="3526609" y="1977514"/>
                </a:cubicBezTo>
                <a:cubicBezTo>
                  <a:pt x="3537497" y="1984132"/>
                  <a:pt x="3552441" y="1987441"/>
                  <a:pt x="3571548" y="1987441"/>
                </a:cubicBezTo>
                <a:cubicBezTo>
                  <a:pt x="3596099" y="1987441"/>
                  <a:pt x="3614032" y="1982744"/>
                  <a:pt x="3625240" y="1973351"/>
                </a:cubicBezTo>
                <a:cubicBezTo>
                  <a:pt x="3636449" y="1963958"/>
                  <a:pt x="3642106" y="1948907"/>
                  <a:pt x="3642106" y="1928198"/>
                </a:cubicBezTo>
                <a:lnTo>
                  <a:pt x="3642106" y="1830314"/>
                </a:lnTo>
                <a:cubicBezTo>
                  <a:pt x="3642106" y="1810459"/>
                  <a:pt x="3636128" y="1795088"/>
                  <a:pt x="3624173" y="1784094"/>
                </a:cubicBezTo>
                <a:cubicBezTo>
                  <a:pt x="3612218" y="1773099"/>
                  <a:pt x="3595566" y="1767655"/>
                  <a:pt x="3573683" y="1767655"/>
                </a:cubicBezTo>
                <a:close/>
                <a:moveTo>
                  <a:pt x="3421893" y="1767655"/>
                </a:moveTo>
                <a:cubicBezTo>
                  <a:pt x="3412499" y="1767655"/>
                  <a:pt x="3404066" y="1769363"/>
                  <a:pt x="3396488" y="1772779"/>
                </a:cubicBezTo>
                <a:cubicBezTo>
                  <a:pt x="3388909" y="1776195"/>
                  <a:pt x="3382824" y="1780998"/>
                  <a:pt x="3378128" y="1787082"/>
                </a:cubicBezTo>
                <a:lnTo>
                  <a:pt x="3378128" y="1780678"/>
                </a:lnTo>
                <a:cubicBezTo>
                  <a:pt x="3378128" y="1777048"/>
                  <a:pt x="3377380" y="1774593"/>
                  <a:pt x="3376099" y="1773526"/>
                </a:cubicBezTo>
                <a:cubicBezTo>
                  <a:pt x="3374712" y="1772352"/>
                  <a:pt x="3372150" y="1771818"/>
                  <a:pt x="3368307" y="1771818"/>
                </a:cubicBezTo>
                <a:lnTo>
                  <a:pt x="3352189" y="1771818"/>
                </a:lnTo>
                <a:cubicBezTo>
                  <a:pt x="3348346" y="1771818"/>
                  <a:pt x="3345677" y="1772352"/>
                  <a:pt x="3344396" y="1773526"/>
                </a:cubicBezTo>
                <a:cubicBezTo>
                  <a:pt x="3343116" y="1774700"/>
                  <a:pt x="3342475" y="1777048"/>
                  <a:pt x="3342475" y="1780678"/>
                </a:cubicBezTo>
                <a:lnTo>
                  <a:pt x="3342475" y="1922221"/>
                </a:lnTo>
                <a:cubicBezTo>
                  <a:pt x="3342475" y="1925850"/>
                  <a:pt x="3343009" y="1928198"/>
                  <a:pt x="3344396" y="1929372"/>
                </a:cubicBezTo>
                <a:cubicBezTo>
                  <a:pt x="3345784" y="1930547"/>
                  <a:pt x="3348346" y="1931080"/>
                  <a:pt x="3352189" y="1931080"/>
                </a:cubicBezTo>
                <a:lnTo>
                  <a:pt x="3368948" y="1931080"/>
                </a:lnTo>
                <a:cubicBezTo>
                  <a:pt x="3372790" y="1931080"/>
                  <a:pt x="3375459" y="1930440"/>
                  <a:pt x="3376740" y="1929372"/>
                </a:cubicBezTo>
                <a:cubicBezTo>
                  <a:pt x="3378128" y="1928305"/>
                  <a:pt x="3378768" y="1925850"/>
                  <a:pt x="3378768" y="1922221"/>
                </a:cubicBezTo>
                <a:lnTo>
                  <a:pt x="3378768" y="1833196"/>
                </a:lnTo>
                <a:cubicBezTo>
                  <a:pt x="3378768" y="1822415"/>
                  <a:pt x="3381543" y="1814089"/>
                  <a:pt x="3387094" y="1808111"/>
                </a:cubicBezTo>
                <a:cubicBezTo>
                  <a:pt x="3392645" y="1802133"/>
                  <a:pt x="3400117" y="1799145"/>
                  <a:pt x="3410044" y="1799145"/>
                </a:cubicBezTo>
                <a:cubicBezTo>
                  <a:pt x="3419971" y="1799145"/>
                  <a:pt x="3426803" y="1801600"/>
                  <a:pt x="3430539" y="1806617"/>
                </a:cubicBezTo>
                <a:cubicBezTo>
                  <a:pt x="3434275" y="1811634"/>
                  <a:pt x="3436196" y="1818785"/>
                  <a:pt x="3436196" y="1828072"/>
                </a:cubicBezTo>
                <a:lnTo>
                  <a:pt x="3436196" y="1922327"/>
                </a:lnTo>
                <a:cubicBezTo>
                  <a:pt x="3436196" y="1925957"/>
                  <a:pt x="3436944" y="1928412"/>
                  <a:pt x="3438225" y="1929479"/>
                </a:cubicBezTo>
                <a:cubicBezTo>
                  <a:pt x="3439612" y="1930653"/>
                  <a:pt x="3442174" y="1931187"/>
                  <a:pt x="3446017" y="1931187"/>
                </a:cubicBezTo>
                <a:lnTo>
                  <a:pt x="3462776" y="1931187"/>
                </a:lnTo>
                <a:cubicBezTo>
                  <a:pt x="3466618" y="1931187"/>
                  <a:pt x="3469287" y="1930547"/>
                  <a:pt x="3470568" y="1929479"/>
                </a:cubicBezTo>
                <a:cubicBezTo>
                  <a:pt x="3471956" y="1928412"/>
                  <a:pt x="3472596" y="1925957"/>
                  <a:pt x="3472596" y="1922327"/>
                </a:cubicBezTo>
                <a:lnTo>
                  <a:pt x="3472596" y="1822628"/>
                </a:lnTo>
                <a:cubicBezTo>
                  <a:pt x="3472596" y="1805656"/>
                  <a:pt x="3468433" y="1792206"/>
                  <a:pt x="3460107" y="1782386"/>
                </a:cubicBezTo>
                <a:cubicBezTo>
                  <a:pt x="3451781" y="1772565"/>
                  <a:pt x="3439078" y="1767655"/>
                  <a:pt x="3422106" y="1767655"/>
                </a:cubicBezTo>
                <a:close/>
                <a:moveTo>
                  <a:pt x="3178516" y="1767655"/>
                </a:moveTo>
                <a:cubicBezTo>
                  <a:pt x="3169122" y="1767655"/>
                  <a:pt x="3160689" y="1769363"/>
                  <a:pt x="3153111" y="1772779"/>
                </a:cubicBezTo>
                <a:cubicBezTo>
                  <a:pt x="3145532" y="1776195"/>
                  <a:pt x="3139447" y="1780998"/>
                  <a:pt x="3134751" y="1787082"/>
                </a:cubicBezTo>
                <a:lnTo>
                  <a:pt x="3134751" y="1780678"/>
                </a:lnTo>
                <a:cubicBezTo>
                  <a:pt x="3134751" y="1777048"/>
                  <a:pt x="3134110" y="1774593"/>
                  <a:pt x="3132829" y="1773526"/>
                </a:cubicBezTo>
                <a:cubicBezTo>
                  <a:pt x="3131441" y="1772352"/>
                  <a:pt x="3128880" y="1771818"/>
                  <a:pt x="3125037" y="1771818"/>
                </a:cubicBezTo>
                <a:lnTo>
                  <a:pt x="3108918" y="1771818"/>
                </a:lnTo>
                <a:cubicBezTo>
                  <a:pt x="3105076" y="1771818"/>
                  <a:pt x="3102407" y="1772458"/>
                  <a:pt x="3101126" y="1773526"/>
                </a:cubicBezTo>
                <a:cubicBezTo>
                  <a:pt x="3099738" y="1774700"/>
                  <a:pt x="3099098" y="1777048"/>
                  <a:pt x="3099098" y="1780678"/>
                </a:cubicBezTo>
                <a:lnTo>
                  <a:pt x="3099098" y="1922221"/>
                </a:lnTo>
                <a:cubicBezTo>
                  <a:pt x="3099098" y="1925850"/>
                  <a:pt x="3099845" y="1928305"/>
                  <a:pt x="3101126" y="1929372"/>
                </a:cubicBezTo>
                <a:cubicBezTo>
                  <a:pt x="3102514" y="1930547"/>
                  <a:pt x="3105076" y="1931080"/>
                  <a:pt x="3108918" y="1931080"/>
                </a:cubicBezTo>
                <a:lnTo>
                  <a:pt x="3125677" y="1931080"/>
                </a:lnTo>
                <a:cubicBezTo>
                  <a:pt x="3129520" y="1931080"/>
                  <a:pt x="3132189" y="1930440"/>
                  <a:pt x="3133470" y="1929372"/>
                </a:cubicBezTo>
                <a:cubicBezTo>
                  <a:pt x="3134751" y="1928305"/>
                  <a:pt x="3135391" y="1925850"/>
                  <a:pt x="3135391" y="1922221"/>
                </a:cubicBezTo>
                <a:lnTo>
                  <a:pt x="3135391" y="1833196"/>
                </a:lnTo>
                <a:cubicBezTo>
                  <a:pt x="3135391" y="1822415"/>
                  <a:pt x="3138166" y="1814089"/>
                  <a:pt x="3143717" y="1808111"/>
                </a:cubicBezTo>
                <a:cubicBezTo>
                  <a:pt x="3149268" y="1802133"/>
                  <a:pt x="3156740" y="1799145"/>
                  <a:pt x="3166667" y="1799145"/>
                </a:cubicBezTo>
                <a:cubicBezTo>
                  <a:pt x="3176594" y="1799145"/>
                  <a:pt x="3183426" y="1801600"/>
                  <a:pt x="3187162" y="1806617"/>
                </a:cubicBezTo>
                <a:cubicBezTo>
                  <a:pt x="3190898" y="1811634"/>
                  <a:pt x="3192819" y="1818785"/>
                  <a:pt x="3192819" y="1828072"/>
                </a:cubicBezTo>
                <a:lnTo>
                  <a:pt x="3192819" y="1922327"/>
                </a:lnTo>
                <a:cubicBezTo>
                  <a:pt x="3192819" y="1925957"/>
                  <a:pt x="3193460" y="1928412"/>
                  <a:pt x="3194741" y="1929479"/>
                </a:cubicBezTo>
                <a:cubicBezTo>
                  <a:pt x="3196128" y="1930653"/>
                  <a:pt x="3198690" y="1931187"/>
                  <a:pt x="3202533" y="1931187"/>
                </a:cubicBezTo>
                <a:lnTo>
                  <a:pt x="3219292" y="1931187"/>
                </a:lnTo>
                <a:cubicBezTo>
                  <a:pt x="3223135" y="1931187"/>
                  <a:pt x="3225803" y="1930547"/>
                  <a:pt x="3227084" y="1929479"/>
                </a:cubicBezTo>
                <a:cubicBezTo>
                  <a:pt x="3228472" y="1928412"/>
                  <a:pt x="3229112" y="1925957"/>
                  <a:pt x="3229112" y="1922327"/>
                </a:cubicBezTo>
                <a:lnTo>
                  <a:pt x="3229112" y="1822628"/>
                </a:lnTo>
                <a:cubicBezTo>
                  <a:pt x="3229112" y="1805656"/>
                  <a:pt x="3224949" y="1792206"/>
                  <a:pt x="3216623" y="1782386"/>
                </a:cubicBezTo>
                <a:cubicBezTo>
                  <a:pt x="3208297" y="1772565"/>
                  <a:pt x="3195595" y="1767655"/>
                  <a:pt x="3178622" y="1767655"/>
                </a:cubicBezTo>
                <a:close/>
                <a:moveTo>
                  <a:pt x="2918594" y="1767655"/>
                </a:moveTo>
                <a:cubicBezTo>
                  <a:pt x="2896711" y="1767655"/>
                  <a:pt x="2879739" y="1773739"/>
                  <a:pt x="2867570" y="1785908"/>
                </a:cubicBezTo>
                <a:cubicBezTo>
                  <a:pt x="2855401" y="1798077"/>
                  <a:pt x="2849317" y="1815049"/>
                  <a:pt x="2849317" y="1836718"/>
                </a:cubicBezTo>
                <a:lnTo>
                  <a:pt x="2849317" y="1861910"/>
                </a:lnTo>
                <a:cubicBezTo>
                  <a:pt x="2849317" y="1883579"/>
                  <a:pt x="2854654" y="1900231"/>
                  <a:pt x="2865435" y="1911866"/>
                </a:cubicBezTo>
                <a:cubicBezTo>
                  <a:pt x="2876216" y="1923501"/>
                  <a:pt x="2891694" y="1929372"/>
                  <a:pt x="2911976" y="1929372"/>
                </a:cubicBezTo>
                <a:cubicBezTo>
                  <a:pt x="2928948" y="1929372"/>
                  <a:pt x="2941971" y="1924782"/>
                  <a:pt x="2950831" y="1915709"/>
                </a:cubicBezTo>
                <a:lnTo>
                  <a:pt x="2950831" y="1930867"/>
                </a:lnTo>
                <a:cubicBezTo>
                  <a:pt x="2950831" y="1940367"/>
                  <a:pt x="2948162" y="1947732"/>
                  <a:pt x="2942932" y="1952749"/>
                </a:cubicBezTo>
                <a:cubicBezTo>
                  <a:pt x="2940263" y="1955205"/>
                  <a:pt x="2936740" y="1957233"/>
                  <a:pt x="2932257" y="1958727"/>
                </a:cubicBezTo>
                <a:cubicBezTo>
                  <a:pt x="2927881" y="1960221"/>
                  <a:pt x="2922757" y="1960969"/>
                  <a:pt x="2917100" y="1960969"/>
                </a:cubicBezTo>
                <a:cubicBezTo>
                  <a:pt x="2910695" y="1960969"/>
                  <a:pt x="2905678" y="1960221"/>
                  <a:pt x="2902262" y="1958834"/>
                </a:cubicBezTo>
                <a:cubicBezTo>
                  <a:pt x="2898846" y="1957446"/>
                  <a:pt x="2895751" y="1954778"/>
                  <a:pt x="2892869" y="1950935"/>
                </a:cubicBezTo>
                <a:lnTo>
                  <a:pt x="2892762" y="1950935"/>
                </a:lnTo>
                <a:cubicBezTo>
                  <a:pt x="2891161" y="1948480"/>
                  <a:pt x="2889666" y="1946985"/>
                  <a:pt x="2888492" y="1946238"/>
                </a:cubicBezTo>
                <a:cubicBezTo>
                  <a:pt x="2887318" y="1945491"/>
                  <a:pt x="2885610" y="1945171"/>
                  <a:pt x="2883368" y="1945171"/>
                </a:cubicBezTo>
                <a:lnTo>
                  <a:pt x="2863300" y="1945171"/>
                </a:lnTo>
                <a:cubicBezTo>
                  <a:pt x="2857856" y="1945171"/>
                  <a:pt x="2855081" y="1947092"/>
                  <a:pt x="2855081" y="1950935"/>
                </a:cubicBezTo>
                <a:cubicBezTo>
                  <a:pt x="2855081" y="1962036"/>
                  <a:pt x="2860632" y="1970896"/>
                  <a:pt x="2871520" y="1977514"/>
                </a:cubicBezTo>
                <a:cubicBezTo>
                  <a:pt x="2882408" y="1984132"/>
                  <a:pt x="2897459" y="1987441"/>
                  <a:pt x="2916459" y="1987441"/>
                </a:cubicBezTo>
                <a:cubicBezTo>
                  <a:pt x="2941010" y="1987441"/>
                  <a:pt x="2958943" y="1982744"/>
                  <a:pt x="2970151" y="1973351"/>
                </a:cubicBezTo>
                <a:cubicBezTo>
                  <a:pt x="2981359" y="1963958"/>
                  <a:pt x="2987017" y="1948907"/>
                  <a:pt x="2987017" y="1928198"/>
                </a:cubicBezTo>
                <a:lnTo>
                  <a:pt x="2987017" y="1830314"/>
                </a:lnTo>
                <a:cubicBezTo>
                  <a:pt x="2987017" y="1810459"/>
                  <a:pt x="2981039" y="1795088"/>
                  <a:pt x="2969084" y="1784094"/>
                </a:cubicBezTo>
                <a:cubicBezTo>
                  <a:pt x="2957129" y="1773099"/>
                  <a:pt x="2940477" y="1767655"/>
                  <a:pt x="2918594" y="1767655"/>
                </a:cubicBezTo>
                <a:close/>
                <a:moveTo>
                  <a:pt x="2520011" y="1767655"/>
                </a:moveTo>
                <a:cubicBezTo>
                  <a:pt x="2501544" y="1767655"/>
                  <a:pt x="2487561" y="1773953"/>
                  <a:pt x="2478061" y="1786762"/>
                </a:cubicBezTo>
                <a:lnTo>
                  <a:pt x="2478061" y="1780678"/>
                </a:lnTo>
                <a:cubicBezTo>
                  <a:pt x="2478061" y="1777048"/>
                  <a:pt x="2477420" y="1774593"/>
                  <a:pt x="2476139" y="1773526"/>
                </a:cubicBezTo>
                <a:cubicBezTo>
                  <a:pt x="2474752" y="1772352"/>
                  <a:pt x="2472190" y="1771818"/>
                  <a:pt x="2468347" y="1771818"/>
                </a:cubicBezTo>
                <a:lnTo>
                  <a:pt x="2452228" y="1771818"/>
                </a:lnTo>
                <a:cubicBezTo>
                  <a:pt x="2448386" y="1771818"/>
                  <a:pt x="2445717" y="1772458"/>
                  <a:pt x="2444436" y="1773526"/>
                </a:cubicBezTo>
                <a:cubicBezTo>
                  <a:pt x="2443048" y="1774700"/>
                  <a:pt x="2442408" y="1777048"/>
                  <a:pt x="2442408" y="1780678"/>
                </a:cubicBezTo>
                <a:lnTo>
                  <a:pt x="2442408" y="1922114"/>
                </a:lnTo>
                <a:cubicBezTo>
                  <a:pt x="2442408" y="1925743"/>
                  <a:pt x="2443155" y="1928198"/>
                  <a:pt x="2444436" y="1929266"/>
                </a:cubicBezTo>
                <a:cubicBezTo>
                  <a:pt x="2445824" y="1930440"/>
                  <a:pt x="2448386" y="1930974"/>
                  <a:pt x="2452228" y="1930974"/>
                </a:cubicBezTo>
                <a:lnTo>
                  <a:pt x="2468987" y="1930974"/>
                </a:lnTo>
                <a:cubicBezTo>
                  <a:pt x="2472830" y="1930974"/>
                  <a:pt x="2475499" y="1930333"/>
                  <a:pt x="2476780" y="1929266"/>
                </a:cubicBezTo>
                <a:cubicBezTo>
                  <a:pt x="2478061" y="1928198"/>
                  <a:pt x="2478701" y="1925743"/>
                  <a:pt x="2478701" y="1922114"/>
                </a:cubicBezTo>
                <a:lnTo>
                  <a:pt x="2478701" y="1833089"/>
                </a:lnTo>
                <a:cubicBezTo>
                  <a:pt x="2478701" y="1822308"/>
                  <a:pt x="2481370" y="1813982"/>
                  <a:pt x="2486600" y="1808004"/>
                </a:cubicBezTo>
                <a:cubicBezTo>
                  <a:pt x="2491831" y="1802027"/>
                  <a:pt x="2498555" y="1799038"/>
                  <a:pt x="2507842" y="1799038"/>
                </a:cubicBezTo>
                <a:cubicBezTo>
                  <a:pt x="2517129" y="1799038"/>
                  <a:pt x="2523640" y="1801493"/>
                  <a:pt x="2527163" y="1806510"/>
                </a:cubicBezTo>
                <a:cubicBezTo>
                  <a:pt x="2530685" y="1811527"/>
                  <a:pt x="2532500" y="1818679"/>
                  <a:pt x="2532500" y="1827965"/>
                </a:cubicBezTo>
                <a:lnTo>
                  <a:pt x="2532500" y="1922221"/>
                </a:lnTo>
                <a:cubicBezTo>
                  <a:pt x="2532500" y="1925850"/>
                  <a:pt x="2533141" y="1928305"/>
                  <a:pt x="2534421" y="1929372"/>
                </a:cubicBezTo>
                <a:cubicBezTo>
                  <a:pt x="2535809" y="1930547"/>
                  <a:pt x="2538371" y="1931080"/>
                  <a:pt x="2542214" y="1931080"/>
                </a:cubicBezTo>
                <a:lnTo>
                  <a:pt x="2558973" y="1931080"/>
                </a:lnTo>
                <a:cubicBezTo>
                  <a:pt x="2562815" y="1931080"/>
                  <a:pt x="2565484" y="1930440"/>
                  <a:pt x="2566765" y="1929372"/>
                </a:cubicBezTo>
                <a:cubicBezTo>
                  <a:pt x="2568046" y="1928305"/>
                  <a:pt x="2568686" y="1925850"/>
                  <a:pt x="2568686" y="1922221"/>
                </a:cubicBezTo>
                <a:lnTo>
                  <a:pt x="2568686" y="1833196"/>
                </a:lnTo>
                <a:cubicBezTo>
                  <a:pt x="2568686" y="1822415"/>
                  <a:pt x="2571355" y="1814089"/>
                  <a:pt x="2576585" y="1808111"/>
                </a:cubicBezTo>
                <a:cubicBezTo>
                  <a:pt x="2581816" y="1802133"/>
                  <a:pt x="2588434" y="1799145"/>
                  <a:pt x="2597827" y="1799145"/>
                </a:cubicBezTo>
                <a:cubicBezTo>
                  <a:pt x="2607221" y="1799145"/>
                  <a:pt x="2613626" y="1801600"/>
                  <a:pt x="2617148" y="1806617"/>
                </a:cubicBezTo>
                <a:cubicBezTo>
                  <a:pt x="2620671" y="1811634"/>
                  <a:pt x="2622485" y="1818785"/>
                  <a:pt x="2622485" y="1828072"/>
                </a:cubicBezTo>
                <a:lnTo>
                  <a:pt x="2622485" y="1922327"/>
                </a:lnTo>
                <a:cubicBezTo>
                  <a:pt x="2622485" y="1925957"/>
                  <a:pt x="2623019" y="1928305"/>
                  <a:pt x="2624407" y="1929479"/>
                </a:cubicBezTo>
                <a:cubicBezTo>
                  <a:pt x="2625794" y="1930653"/>
                  <a:pt x="2628356" y="1931187"/>
                  <a:pt x="2632199" y="1931187"/>
                </a:cubicBezTo>
                <a:lnTo>
                  <a:pt x="2648958" y="1931187"/>
                </a:lnTo>
                <a:cubicBezTo>
                  <a:pt x="2652801" y="1931187"/>
                  <a:pt x="2655363" y="1930547"/>
                  <a:pt x="2656750" y="1929479"/>
                </a:cubicBezTo>
                <a:cubicBezTo>
                  <a:pt x="2658138" y="1928412"/>
                  <a:pt x="2658778" y="1925957"/>
                  <a:pt x="2658778" y="1922327"/>
                </a:cubicBezTo>
                <a:lnTo>
                  <a:pt x="2658778" y="1822628"/>
                </a:lnTo>
                <a:cubicBezTo>
                  <a:pt x="2658778" y="1805656"/>
                  <a:pt x="2654829" y="1792206"/>
                  <a:pt x="2646823" y="1782386"/>
                </a:cubicBezTo>
                <a:cubicBezTo>
                  <a:pt x="2638817" y="1772565"/>
                  <a:pt x="2626648" y="1767655"/>
                  <a:pt x="2610210" y="1767655"/>
                </a:cubicBezTo>
                <a:lnTo>
                  <a:pt x="2609996" y="1767655"/>
                </a:lnTo>
                <a:cubicBezTo>
                  <a:pt x="2599215" y="1767655"/>
                  <a:pt x="2589715" y="1769576"/>
                  <a:pt x="2581389" y="1773419"/>
                </a:cubicBezTo>
                <a:cubicBezTo>
                  <a:pt x="2573063" y="1777262"/>
                  <a:pt x="2566551" y="1782813"/>
                  <a:pt x="2561641" y="1789858"/>
                </a:cubicBezTo>
                <a:cubicBezTo>
                  <a:pt x="2557798" y="1782706"/>
                  <a:pt x="2552461" y="1777262"/>
                  <a:pt x="2545523" y="1773419"/>
                </a:cubicBezTo>
                <a:cubicBezTo>
                  <a:pt x="2538691" y="1769576"/>
                  <a:pt x="2530152" y="1767655"/>
                  <a:pt x="2520011" y="1767655"/>
                </a:cubicBezTo>
                <a:close/>
                <a:moveTo>
                  <a:pt x="2267989" y="1767655"/>
                </a:moveTo>
                <a:cubicBezTo>
                  <a:pt x="2246319" y="1767655"/>
                  <a:pt x="2229561" y="1774060"/>
                  <a:pt x="2217819" y="1786976"/>
                </a:cubicBezTo>
                <a:cubicBezTo>
                  <a:pt x="2206077" y="1799785"/>
                  <a:pt x="2200206" y="1818038"/>
                  <a:pt x="2200206" y="1841522"/>
                </a:cubicBezTo>
                <a:lnTo>
                  <a:pt x="2200206" y="1865219"/>
                </a:lnTo>
                <a:cubicBezTo>
                  <a:pt x="2200206" y="1887742"/>
                  <a:pt x="2206077" y="1905035"/>
                  <a:pt x="2217819" y="1917204"/>
                </a:cubicBezTo>
                <a:cubicBezTo>
                  <a:pt x="2229561" y="1929372"/>
                  <a:pt x="2246213" y="1935457"/>
                  <a:pt x="2267668" y="1935457"/>
                </a:cubicBezTo>
                <a:cubicBezTo>
                  <a:pt x="2278449" y="1935457"/>
                  <a:pt x="2288377" y="1933962"/>
                  <a:pt x="2297343" y="1930760"/>
                </a:cubicBezTo>
                <a:cubicBezTo>
                  <a:pt x="2306310" y="1927558"/>
                  <a:pt x="2313675" y="1923075"/>
                  <a:pt x="2319332" y="1917204"/>
                </a:cubicBezTo>
                <a:cubicBezTo>
                  <a:pt x="2322748" y="1913788"/>
                  <a:pt x="2325737" y="1909518"/>
                  <a:pt x="2328299" y="1904288"/>
                </a:cubicBezTo>
                <a:cubicBezTo>
                  <a:pt x="2330861" y="1899057"/>
                  <a:pt x="2332142" y="1894574"/>
                  <a:pt x="2332142" y="1890731"/>
                </a:cubicBezTo>
                <a:cubicBezTo>
                  <a:pt x="2332142" y="1888169"/>
                  <a:pt x="2331395" y="1886248"/>
                  <a:pt x="2330007" y="1885287"/>
                </a:cubicBezTo>
                <a:cubicBezTo>
                  <a:pt x="2328619" y="1884326"/>
                  <a:pt x="2326164" y="1883793"/>
                  <a:pt x="2322748" y="1883793"/>
                </a:cubicBezTo>
                <a:lnTo>
                  <a:pt x="2303855" y="1883793"/>
                </a:lnTo>
                <a:cubicBezTo>
                  <a:pt x="2299585" y="1883793"/>
                  <a:pt x="2296809" y="1885501"/>
                  <a:pt x="2295635" y="1888916"/>
                </a:cubicBezTo>
                <a:cubicBezTo>
                  <a:pt x="2292326" y="1899484"/>
                  <a:pt x="2283360" y="1904715"/>
                  <a:pt x="2268522" y="1904715"/>
                </a:cubicBezTo>
                <a:cubicBezTo>
                  <a:pt x="2256994" y="1904715"/>
                  <a:pt x="2248668" y="1901512"/>
                  <a:pt x="2243758" y="1895108"/>
                </a:cubicBezTo>
                <a:cubicBezTo>
                  <a:pt x="2238741" y="1888703"/>
                  <a:pt x="2236286" y="1877922"/>
                  <a:pt x="2236286" y="1862764"/>
                </a:cubicBezTo>
                <a:lnTo>
                  <a:pt x="2236286" y="1861270"/>
                </a:lnTo>
                <a:lnTo>
                  <a:pt x="2324456" y="1861270"/>
                </a:lnTo>
                <a:lnTo>
                  <a:pt x="2324563" y="1861376"/>
                </a:lnTo>
                <a:cubicBezTo>
                  <a:pt x="2328619" y="1861376"/>
                  <a:pt x="2331288" y="1860843"/>
                  <a:pt x="2332462" y="1859562"/>
                </a:cubicBezTo>
                <a:cubicBezTo>
                  <a:pt x="2333636" y="1858281"/>
                  <a:pt x="2334277" y="1855932"/>
                  <a:pt x="2334277" y="1852517"/>
                </a:cubicBezTo>
                <a:lnTo>
                  <a:pt x="2334277" y="1838213"/>
                </a:lnTo>
                <a:cubicBezTo>
                  <a:pt x="2334277" y="1815049"/>
                  <a:pt x="2328726" y="1797543"/>
                  <a:pt x="2317411" y="1785588"/>
                </a:cubicBezTo>
                <a:cubicBezTo>
                  <a:pt x="2306096" y="1773633"/>
                  <a:pt x="2289658" y="1767655"/>
                  <a:pt x="2267989" y="1767655"/>
                </a:cubicBezTo>
                <a:close/>
                <a:moveTo>
                  <a:pt x="2757304" y="1767548"/>
                </a:moveTo>
                <a:cubicBezTo>
                  <a:pt x="2743854" y="1767548"/>
                  <a:pt x="2733073" y="1769042"/>
                  <a:pt x="2724747" y="1772138"/>
                </a:cubicBezTo>
                <a:cubicBezTo>
                  <a:pt x="2716420" y="1775234"/>
                  <a:pt x="2709696" y="1779503"/>
                  <a:pt x="2704679" y="1784947"/>
                </a:cubicBezTo>
                <a:cubicBezTo>
                  <a:pt x="2698381" y="1791886"/>
                  <a:pt x="2695285" y="1799251"/>
                  <a:pt x="2695285" y="1807150"/>
                </a:cubicBezTo>
                <a:cubicBezTo>
                  <a:pt x="2695285" y="1809392"/>
                  <a:pt x="2695926" y="1811100"/>
                  <a:pt x="2697100" y="1812167"/>
                </a:cubicBezTo>
                <a:cubicBezTo>
                  <a:pt x="2698381" y="1813341"/>
                  <a:pt x="2700622" y="1813875"/>
                  <a:pt x="2703825" y="1813875"/>
                </a:cubicBezTo>
                <a:lnTo>
                  <a:pt x="2723572" y="1813875"/>
                </a:lnTo>
                <a:cubicBezTo>
                  <a:pt x="2726881" y="1813875"/>
                  <a:pt x="2729123" y="1813555"/>
                  <a:pt x="2730297" y="1812808"/>
                </a:cubicBezTo>
                <a:cubicBezTo>
                  <a:pt x="2731578" y="1812167"/>
                  <a:pt x="2732539" y="1810566"/>
                  <a:pt x="2733393" y="1808111"/>
                </a:cubicBezTo>
                <a:cubicBezTo>
                  <a:pt x="2734994" y="1803414"/>
                  <a:pt x="2737876" y="1800105"/>
                  <a:pt x="2741932" y="1798184"/>
                </a:cubicBezTo>
                <a:cubicBezTo>
                  <a:pt x="2745989" y="1796262"/>
                  <a:pt x="2751112" y="1795301"/>
                  <a:pt x="2757410" y="1795301"/>
                </a:cubicBezTo>
                <a:cubicBezTo>
                  <a:pt x="2766484" y="1795301"/>
                  <a:pt x="2773208" y="1797436"/>
                  <a:pt x="2777585" y="1801813"/>
                </a:cubicBezTo>
                <a:cubicBezTo>
                  <a:pt x="2781961" y="1806189"/>
                  <a:pt x="2784096" y="1814088"/>
                  <a:pt x="2784096" y="1825403"/>
                </a:cubicBezTo>
                <a:lnTo>
                  <a:pt x="2784096" y="1833302"/>
                </a:lnTo>
                <a:cubicBezTo>
                  <a:pt x="2778866" y="1832662"/>
                  <a:pt x="2773208" y="1832235"/>
                  <a:pt x="2767231" y="1831915"/>
                </a:cubicBezTo>
                <a:cubicBezTo>
                  <a:pt x="2761146" y="1831594"/>
                  <a:pt x="2755916" y="1831488"/>
                  <a:pt x="2751219" y="1831488"/>
                </a:cubicBezTo>
                <a:lnTo>
                  <a:pt x="2751112" y="1831381"/>
                </a:lnTo>
                <a:cubicBezTo>
                  <a:pt x="2739797" y="1831381"/>
                  <a:pt x="2729337" y="1832982"/>
                  <a:pt x="2719943" y="1836078"/>
                </a:cubicBezTo>
                <a:cubicBezTo>
                  <a:pt x="2710443" y="1839280"/>
                  <a:pt x="2702971" y="1844617"/>
                  <a:pt x="2697420" y="1852089"/>
                </a:cubicBezTo>
                <a:cubicBezTo>
                  <a:pt x="2691869" y="1859561"/>
                  <a:pt x="2689094" y="1870022"/>
                  <a:pt x="2689094" y="1883365"/>
                </a:cubicBezTo>
                <a:cubicBezTo>
                  <a:pt x="2689094" y="1901192"/>
                  <a:pt x="2694218" y="1914214"/>
                  <a:pt x="2704465" y="1922114"/>
                </a:cubicBezTo>
                <a:cubicBezTo>
                  <a:pt x="2714713" y="1930013"/>
                  <a:pt x="2730617" y="1934069"/>
                  <a:pt x="2752073" y="1934069"/>
                </a:cubicBezTo>
                <a:lnTo>
                  <a:pt x="2760613" y="1934069"/>
                </a:lnTo>
                <a:cubicBezTo>
                  <a:pt x="2775877" y="1934069"/>
                  <a:pt x="2787619" y="1931721"/>
                  <a:pt x="2796052" y="1926810"/>
                </a:cubicBezTo>
                <a:cubicBezTo>
                  <a:pt x="2804484" y="1921900"/>
                  <a:pt x="2810462" y="1915495"/>
                  <a:pt x="2813878" y="1907490"/>
                </a:cubicBezTo>
                <a:cubicBezTo>
                  <a:pt x="2817294" y="1899484"/>
                  <a:pt x="2819002" y="1891051"/>
                  <a:pt x="2819002" y="1882084"/>
                </a:cubicBezTo>
                <a:lnTo>
                  <a:pt x="2819002" y="1822841"/>
                </a:lnTo>
                <a:cubicBezTo>
                  <a:pt x="2819002" y="1810886"/>
                  <a:pt x="2817294" y="1800852"/>
                  <a:pt x="2813558" y="1792633"/>
                </a:cubicBezTo>
                <a:cubicBezTo>
                  <a:pt x="2809822" y="1784414"/>
                  <a:pt x="2803524" y="1778222"/>
                  <a:pt x="2794664" y="1773953"/>
                </a:cubicBezTo>
                <a:cubicBezTo>
                  <a:pt x="2785804" y="1769683"/>
                  <a:pt x="2773315" y="1767548"/>
                  <a:pt x="2757304" y="1767548"/>
                </a:cubicBezTo>
                <a:close/>
                <a:moveTo>
                  <a:pt x="2061545" y="1746306"/>
                </a:moveTo>
                <a:lnTo>
                  <a:pt x="2099439" y="1746306"/>
                </a:lnTo>
                <a:cubicBezTo>
                  <a:pt x="2111395" y="1746306"/>
                  <a:pt x="2119721" y="1748868"/>
                  <a:pt x="2124524" y="1753778"/>
                </a:cubicBezTo>
                <a:cubicBezTo>
                  <a:pt x="2129328" y="1758795"/>
                  <a:pt x="2131676" y="1767228"/>
                  <a:pt x="2131676" y="1779183"/>
                </a:cubicBezTo>
                <a:lnTo>
                  <a:pt x="2131676" y="1783453"/>
                </a:lnTo>
                <a:cubicBezTo>
                  <a:pt x="2131676" y="1794875"/>
                  <a:pt x="2129328" y="1802881"/>
                  <a:pt x="2124418" y="1807791"/>
                </a:cubicBezTo>
                <a:cubicBezTo>
                  <a:pt x="2119614" y="1812594"/>
                  <a:pt x="2111288" y="1815050"/>
                  <a:pt x="2099546" y="1815050"/>
                </a:cubicBezTo>
                <a:lnTo>
                  <a:pt x="2061545" y="1815050"/>
                </a:lnTo>
                <a:close/>
                <a:moveTo>
                  <a:pt x="2034752" y="1714710"/>
                </a:moveTo>
                <a:cubicBezTo>
                  <a:pt x="2030910" y="1714710"/>
                  <a:pt x="2028241" y="1715350"/>
                  <a:pt x="2026960" y="1716525"/>
                </a:cubicBezTo>
                <a:cubicBezTo>
                  <a:pt x="2025572" y="1717806"/>
                  <a:pt x="2024932" y="1720154"/>
                  <a:pt x="2024932" y="1723570"/>
                </a:cubicBezTo>
                <a:lnTo>
                  <a:pt x="2024932" y="1922327"/>
                </a:lnTo>
                <a:cubicBezTo>
                  <a:pt x="2024932" y="1925850"/>
                  <a:pt x="2025679" y="1928198"/>
                  <a:pt x="2026960" y="1929373"/>
                </a:cubicBezTo>
                <a:cubicBezTo>
                  <a:pt x="2028348" y="1930547"/>
                  <a:pt x="2030910" y="1931187"/>
                  <a:pt x="2034752" y="1931187"/>
                </a:cubicBezTo>
                <a:lnTo>
                  <a:pt x="2051832" y="1931187"/>
                </a:lnTo>
                <a:cubicBezTo>
                  <a:pt x="2055888" y="1931187"/>
                  <a:pt x="2058556" y="1930547"/>
                  <a:pt x="2059731" y="1929373"/>
                </a:cubicBezTo>
                <a:cubicBezTo>
                  <a:pt x="2060905" y="1928092"/>
                  <a:pt x="2061545" y="1925743"/>
                  <a:pt x="2061545" y="1922327"/>
                </a:cubicBezTo>
                <a:lnTo>
                  <a:pt x="2061545" y="1846646"/>
                </a:lnTo>
                <a:lnTo>
                  <a:pt x="2094636" y="1846646"/>
                </a:lnTo>
                <a:lnTo>
                  <a:pt x="2135626" y="1922327"/>
                </a:lnTo>
                <a:cubicBezTo>
                  <a:pt x="2137654" y="1925957"/>
                  <a:pt x="2139468" y="1928412"/>
                  <a:pt x="2141070" y="1929479"/>
                </a:cubicBezTo>
                <a:cubicBezTo>
                  <a:pt x="2142671" y="1930653"/>
                  <a:pt x="2145126" y="1931187"/>
                  <a:pt x="2148328" y="1931187"/>
                </a:cubicBezTo>
                <a:lnTo>
                  <a:pt x="2171171" y="1931187"/>
                </a:lnTo>
                <a:cubicBezTo>
                  <a:pt x="2176402" y="1931187"/>
                  <a:pt x="2179071" y="1929479"/>
                  <a:pt x="2179071" y="1926277"/>
                </a:cubicBezTo>
                <a:cubicBezTo>
                  <a:pt x="2179071" y="1925316"/>
                  <a:pt x="2178750" y="1923929"/>
                  <a:pt x="2177896" y="1922327"/>
                </a:cubicBezTo>
                <a:lnTo>
                  <a:pt x="2132637" y="1842056"/>
                </a:lnTo>
                <a:cubicBezTo>
                  <a:pt x="2157188" y="1833943"/>
                  <a:pt x="2169464" y="1814516"/>
                  <a:pt x="2169464" y="1783667"/>
                </a:cubicBezTo>
                <a:lnTo>
                  <a:pt x="2169464" y="1777903"/>
                </a:lnTo>
                <a:cubicBezTo>
                  <a:pt x="2169464" y="1756020"/>
                  <a:pt x="2163806" y="1740008"/>
                  <a:pt x="2152705" y="1729868"/>
                </a:cubicBezTo>
                <a:cubicBezTo>
                  <a:pt x="2141497" y="1719727"/>
                  <a:pt x="2123884" y="1714710"/>
                  <a:pt x="2099760" y="1714710"/>
                </a:cubicBezTo>
                <a:close/>
                <a:moveTo>
                  <a:pt x="3285366" y="1710761"/>
                </a:moveTo>
                <a:cubicBezTo>
                  <a:pt x="3279069" y="1710761"/>
                  <a:pt x="3274052" y="1712362"/>
                  <a:pt x="3270316" y="1715458"/>
                </a:cubicBezTo>
                <a:cubicBezTo>
                  <a:pt x="3266473" y="1718660"/>
                  <a:pt x="3264658" y="1723143"/>
                  <a:pt x="3264658" y="1729014"/>
                </a:cubicBezTo>
                <a:lnTo>
                  <a:pt x="3264658" y="1735419"/>
                </a:lnTo>
                <a:cubicBezTo>
                  <a:pt x="3264658" y="1741076"/>
                  <a:pt x="3266579" y="1745560"/>
                  <a:pt x="3270316" y="1748762"/>
                </a:cubicBezTo>
                <a:cubicBezTo>
                  <a:pt x="3274052" y="1752071"/>
                  <a:pt x="3279069" y="1753672"/>
                  <a:pt x="3285366" y="1753672"/>
                </a:cubicBezTo>
                <a:cubicBezTo>
                  <a:pt x="3291878" y="1753672"/>
                  <a:pt x="3297002" y="1751964"/>
                  <a:pt x="3300738" y="1748762"/>
                </a:cubicBezTo>
                <a:cubicBezTo>
                  <a:pt x="3304474" y="1745560"/>
                  <a:pt x="3306395" y="1741076"/>
                  <a:pt x="3306395" y="1735419"/>
                </a:cubicBezTo>
                <a:lnTo>
                  <a:pt x="3306395" y="1729014"/>
                </a:lnTo>
                <a:cubicBezTo>
                  <a:pt x="3306395" y="1723143"/>
                  <a:pt x="3304474" y="1718553"/>
                  <a:pt x="3300738" y="1715458"/>
                </a:cubicBezTo>
                <a:cubicBezTo>
                  <a:pt x="3297002" y="1712362"/>
                  <a:pt x="3291664" y="1710761"/>
                  <a:pt x="3285366" y="1710761"/>
                </a:cubicBezTo>
                <a:close/>
                <a:moveTo>
                  <a:pt x="3041883" y="1710761"/>
                </a:moveTo>
                <a:cubicBezTo>
                  <a:pt x="3035585" y="1710761"/>
                  <a:pt x="3030568" y="1712362"/>
                  <a:pt x="3026832" y="1715458"/>
                </a:cubicBezTo>
                <a:cubicBezTo>
                  <a:pt x="3023096" y="1718660"/>
                  <a:pt x="3021175" y="1723143"/>
                  <a:pt x="3021175" y="1729014"/>
                </a:cubicBezTo>
                <a:lnTo>
                  <a:pt x="3021175" y="1735419"/>
                </a:lnTo>
                <a:cubicBezTo>
                  <a:pt x="3021175" y="1741076"/>
                  <a:pt x="3023096" y="1745560"/>
                  <a:pt x="3026832" y="1748762"/>
                </a:cubicBezTo>
                <a:cubicBezTo>
                  <a:pt x="3030568" y="1752071"/>
                  <a:pt x="3035585" y="1753672"/>
                  <a:pt x="3041883" y="1753672"/>
                </a:cubicBezTo>
                <a:cubicBezTo>
                  <a:pt x="3048395" y="1753672"/>
                  <a:pt x="3053518" y="1751964"/>
                  <a:pt x="3057254" y="1748762"/>
                </a:cubicBezTo>
                <a:cubicBezTo>
                  <a:pt x="3060991" y="1745560"/>
                  <a:pt x="3062912" y="1741076"/>
                  <a:pt x="3062912" y="1735419"/>
                </a:cubicBezTo>
                <a:lnTo>
                  <a:pt x="3062912" y="1729014"/>
                </a:lnTo>
                <a:cubicBezTo>
                  <a:pt x="3062912" y="1723143"/>
                  <a:pt x="3060991" y="1718553"/>
                  <a:pt x="3057254" y="1715458"/>
                </a:cubicBezTo>
                <a:cubicBezTo>
                  <a:pt x="3053518" y="1712362"/>
                  <a:pt x="3048181" y="1710761"/>
                  <a:pt x="3041883" y="1710761"/>
                </a:cubicBezTo>
                <a:close/>
                <a:moveTo>
                  <a:pt x="2385300" y="1710761"/>
                </a:moveTo>
                <a:cubicBezTo>
                  <a:pt x="2379002" y="1710761"/>
                  <a:pt x="2373985" y="1712362"/>
                  <a:pt x="2370249" y="1715458"/>
                </a:cubicBezTo>
                <a:cubicBezTo>
                  <a:pt x="2366407" y="1718660"/>
                  <a:pt x="2364592" y="1723143"/>
                  <a:pt x="2364592" y="1729014"/>
                </a:cubicBezTo>
                <a:lnTo>
                  <a:pt x="2364592" y="1735419"/>
                </a:lnTo>
                <a:cubicBezTo>
                  <a:pt x="2364592" y="1741076"/>
                  <a:pt x="2366513" y="1745560"/>
                  <a:pt x="2370249" y="1748762"/>
                </a:cubicBezTo>
                <a:cubicBezTo>
                  <a:pt x="2373985" y="1752071"/>
                  <a:pt x="2379002" y="1753672"/>
                  <a:pt x="2385300" y="1753672"/>
                </a:cubicBezTo>
                <a:cubicBezTo>
                  <a:pt x="2391812" y="1753672"/>
                  <a:pt x="2396935" y="1751964"/>
                  <a:pt x="2400672" y="1748762"/>
                </a:cubicBezTo>
                <a:cubicBezTo>
                  <a:pt x="2404408" y="1745560"/>
                  <a:pt x="2406329" y="1741076"/>
                  <a:pt x="2406329" y="1735419"/>
                </a:cubicBezTo>
                <a:lnTo>
                  <a:pt x="2406329" y="1729014"/>
                </a:lnTo>
                <a:cubicBezTo>
                  <a:pt x="2406329" y="1723143"/>
                  <a:pt x="2404408" y="1718553"/>
                  <a:pt x="2400672" y="1715458"/>
                </a:cubicBezTo>
                <a:cubicBezTo>
                  <a:pt x="2396935" y="1712362"/>
                  <a:pt x="2391598" y="1710761"/>
                  <a:pt x="2385300" y="1710761"/>
                </a:cubicBezTo>
                <a:close/>
                <a:moveTo>
                  <a:pt x="2013903" y="1466167"/>
                </a:moveTo>
                <a:cubicBezTo>
                  <a:pt x="1884055" y="1466167"/>
                  <a:pt x="1777698" y="1571376"/>
                  <a:pt x="1776844" y="1701189"/>
                </a:cubicBezTo>
                <a:lnTo>
                  <a:pt x="1776844" y="2037072"/>
                </a:lnTo>
                <a:lnTo>
                  <a:pt x="1909042" y="2037072"/>
                </a:lnTo>
                <a:lnTo>
                  <a:pt x="1909042" y="1701720"/>
                </a:lnTo>
                <a:cubicBezTo>
                  <a:pt x="1909362" y="1644237"/>
                  <a:pt x="1956454" y="1597466"/>
                  <a:pt x="2013903" y="1597466"/>
                </a:cubicBezTo>
                <a:lnTo>
                  <a:pt x="2336710" y="1597466"/>
                </a:lnTo>
                <a:lnTo>
                  <a:pt x="2336710" y="1466167"/>
                </a:lnTo>
                <a:close/>
                <a:moveTo>
                  <a:pt x="1425041" y="1197747"/>
                </a:moveTo>
                <a:cubicBezTo>
                  <a:pt x="1435219" y="1197747"/>
                  <a:pt x="1442612" y="1200776"/>
                  <a:pt x="1447326" y="1206834"/>
                </a:cubicBezTo>
                <a:cubicBezTo>
                  <a:pt x="1451933" y="1212891"/>
                  <a:pt x="1454290" y="1222302"/>
                  <a:pt x="1454290" y="1235282"/>
                </a:cubicBezTo>
                <a:lnTo>
                  <a:pt x="1393006" y="1235282"/>
                </a:lnTo>
                <a:cubicBezTo>
                  <a:pt x="1393328" y="1221977"/>
                  <a:pt x="1396006" y="1212350"/>
                  <a:pt x="1401042" y="1206509"/>
                </a:cubicBezTo>
                <a:cubicBezTo>
                  <a:pt x="1406077" y="1200668"/>
                  <a:pt x="1414006" y="1197747"/>
                  <a:pt x="1425041" y="1197747"/>
                </a:cubicBezTo>
                <a:close/>
                <a:moveTo>
                  <a:pt x="1296474" y="1172436"/>
                </a:moveTo>
                <a:cubicBezTo>
                  <a:pt x="1292617" y="1172436"/>
                  <a:pt x="1290045" y="1172977"/>
                  <a:pt x="1288653" y="1174167"/>
                </a:cubicBezTo>
                <a:cubicBezTo>
                  <a:pt x="1287260" y="1175357"/>
                  <a:pt x="1286617" y="1177737"/>
                  <a:pt x="1286617" y="1181414"/>
                </a:cubicBezTo>
                <a:lnTo>
                  <a:pt x="1286617" y="1324956"/>
                </a:lnTo>
                <a:cubicBezTo>
                  <a:pt x="1286617" y="1328633"/>
                  <a:pt x="1287260" y="1331013"/>
                  <a:pt x="1288653" y="1332203"/>
                </a:cubicBezTo>
                <a:cubicBezTo>
                  <a:pt x="1290045" y="1333393"/>
                  <a:pt x="1292617" y="1333934"/>
                  <a:pt x="1296474" y="1333934"/>
                </a:cubicBezTo>
                <a:lnTo>
                  <a:pt x="1313295" y="1333934"/>
                </a:lnTo>
                <a:cubicBezTo>
                  <a:pt x="1317152" y="1333934"/>
                  <a:pt x="1319723" y="1333285"/>
                  <a:pt x="1321116" y="1332203"/>
                </a:cubicBezTo>
                <a:cubicBezTo>
                  <a:pt x="1322509" y="1331121"/>
                  <a:pt x="1323152" y="1328633"/>
                  <a:pt x="1323152" y="1324956"/>
                </a:cubicBezTo>
                <a:lnTo>
                  <a:pt x="1323152" y="1181414"/>
                </a:lnTo>
                <a:cubicBezTo>
                  <a:pt x="1323152" y="1177737"/>
                  <a:pt x="1322509" y="1175357"/>
                  <a:pt x="1321116" y="1174167"/>
                </a:cubicBezTo>
                <a:cubicBezTo>
                  <a:pt x="1319723" y="1172977"/>
                  <a:pt x="1317152" y="1172436"/>
                  <a:pt x="1313295" y="1172436"/>
                </a:cubicBezTo>
                <a:close/>
                <a:moveTo>
                  <a:pt x="1110052" y="1172436"/>
                </a:moveTo>
                <a:cubicBezTo>
                  <a:pt x="1106195" y="1172436"/>
                  <a:pt x="1103516" y="1172977"/>
                  <a:pt x="1102231" y="1174167"/>
                </a:cubicBezTo>
                <a:cubicBezTo>
                  <a:pt x="1100945" y="1175357"/>
                  <a:pt x="1100302" y="1177737"/>
                  <a:pt x="1100302" y="1181414"/>
                </a:cubicBezTo>
                <a:lnTo>
                  <a:pt x="1100302" y="1324956"/>
                </a:lnTo>
                <a:cubicBezTo>
                  <a:pt x="1100302" y="1328633"/>
                  <a:pt x="1100838" y="1331013"/>
                  <a:pt x="1102231" y="1332203"/>
                </a:cubicBezTo>
                <a:cubicBezTo>
                  <a:pt x="1103623" y="1333393"/>
                  <a:pt x="1106195" y="1333934"/>
                  <a:pt x="1110052" y="1333934"/>
                </a:cubicBezTo>
                <a:lnTo>
                  <a:pt x="1126873" y="1333934"/>
                </a:lnTo>
                <a:cubicBezTo>
                  <a:pt x="1130730" y="1333934"/>
                  <a:pt x="1133408" y="1333285"/>
                  <a:pt x="1134694" y="1332203"/>
                </a:cubicBezTo>
                <a:cubicBezTo>
                  <a:pt x="1136087" y="1331121"/>
                  <a:pt x="1136730" y="1328633"/>
                  <a:pt x="1136730" y="1324956"/>
                </a:cubicBezTo>
                <a:lnTo>
                  <a:pt x="1136730" y="1181414"/>
                </a:lnTo>
                <a:cubicBezTo>
                  <a:pt x="1136730" y="1177737"/>
                  <a:pt x="1135980" y="1175249"/>
                  <a:pt x="1134694" y="1174167"/>
                </a:cubicBezTo>
                <a:cubicBezTo>
                  <a:pt x="1133301" y="1172977"/>
                  <a:pt x="1130730" y="1172436"/>
                  <a:pt x="1126873" y="1172436"/>
                </a:cubicBezTo>
                <a:close/>
                <a:moveTo>
                  <a:pt x="1424720" y="1168217"/>
                </a:moveTo>
                <a:cubicBezTo>
                  <a:pt x="1402970" y="1168217"/>
                  <a:pt x="1386149" y="1174707"/>
                  <a:pt x="1374364" y="1187796"/>
                </a:cubicBezTo>
                <a:cubicBezTo>
                  <a:pt x="1362579" y="1200776"/>
                  <a:pt x="1356686" y="1219273"/>
                  <a:pt x="1356686" y="1243071"/>
                </a:cubicBezTo>
                <a:lnTo>
                  <a:pt x="1356686" y="1267084"/>
                </a:lnTo>
                <a:cubicBezTo>
                  <a:pt x="1356686" y="1289908"/>
                  <a:pt x="1362579" y="1307432"/>
                  <a:pt x="1374364" y="1319763"/>
                </a:cubicBezTo>
                <a:cubicBezTo>
                  <a:pt x="1386149" y="1332094"/>
                  <a:pt x="1402863" y="1338260"/>
                  <a:pt x="1424398" y="1338260"/>
                </a:cubicBezTo>
                <a:cubicBezTo>
                  <a:pt x="1435219" y="1338260"/>
                  <a:pt x="1445076" y="1336637"/>
                  <a:pt x="1454183" y="1333500"/>
                </a:cubicBezTo>
                <a:cubicBezTo>
                  <a:pt x="1463183" y="1330255"/>
                  <a:pt x="1470575" y="1325712"/>
                  <a:pt x="1476254" y="1319763"/>
                </a:cubicBezTo>
                <a:cubicBezTo>
                  <a:pt x="1479682" y="1316301"/>
                  <a:pt x="1482682" y="1311975"/>
                  <a:pt x="1485253" y="1306674"/>
                </a:cubicBezTo>
                <a:cubicBezTo>
                  <a:pt x="1487825" y="1301374"/>
                  <a:pt x="1489110" y="1296831"/>
                  <a:pt x="1489110" y="1292937"/>
                </a:cubicBezTo>
                <a:cubicBezTo>
                  <a:pt x="1489110" y="1290341"/>
                  <a:pt x="1488360" y="1288394"/>
                  <a:pt x="1486968" y="1287420"/>
                </a:cubicBezTo>
                <a:cubicBezTo>
                  <a:pt x="1485575" y="1286447"/>
                  <a:pt x="1483111" y="1285906"/>
                  <a:pt x="1479682" y="1285906"/>
                </a:cubicBezTo>
                <a:lnTo>
                  <a:pt x="1460719" y="1285906"/>
                </a:lnTo>
                <a:cubicBezTo>
                  <a:pt x="1456433" y="1285906"/>
                  <a:pt x="1453647" y="1287636"/>
                  <a:pt x="1452469" y="1291098"/>
                </a:cubicBezTo>
                <a:cubicBezTo>
                  <a:pt x="1449255" y="1301807"/>
                  <a:pt x="1440255" y="1307107"/>
                  <a:pt x="1425362" y="1307107"/>
                </a:cubicBezTo>
                <a:cubicBezTo>
                  <a:pt x="1413791" y="1307107"/>
                  <a:pt x="1405435" y="1303862"/>
                  <a:pt x="1400506" y="1297372"/>
                </a:cubicBezTo>
                <a:cubicBezTo>
                  <a:pt x="1395471" y="1290882"/>
                  <a:pt x="1393006" y="1279956"/>
                  <a:pt x="1393006" y="1264596"/>
                </a:cubicBezTo>
                <a:lnTo>
                  <a:pt x="1393006" y="1263082"/>
                </a:lnTo>
                <a:lnTo>
                  <a:pt x="1481504" y="1263082"/>
                </a:lnTo>
                <a:lnTo>
                  <a:pt x="1481504" y="1263190"/>
                </a:lnTo>
                <a:cubicBezTo>
                  <a:pt x="1485575" y="1263190"/>
                  <a:pt x="1488253" y="1262541"/>
                  <a:pt x="1489432" y="1261351"/>
                </a:cubicBezTo>
                <a:cubicBezTo>
                  <a:pt x="1490610" y="1260053"/>
                  <a:pt x="1491253" y="1257673"/>
                  <a:pt x="1491253" y="1254212"/>
                </a:cubicBezTo>
                <a:lnTo>
                  <a:pt x="1491253" y="1239717"/>
                </a:lnTo>
                <a:cubicBezTo>
                  <a:pt x="1491253" y="1216244"/>
                  <a:pt x="1485575" y="1198505"/>
                  <a:pt x="1474325" y="1186390"/>
                </a:cubicBezTo>
                <a:cubicBezTo>
                  <a:pt x="1462968" y="1174275"/>
                  <a:pt x="1446469" y="1168217"/>
                  <a:pt x="1424720" y="1168217"/>
                </a:cubicBezTo>
                <a:close/>
                <a:moveTo>
                  <a:pt x="1577822" y="1168109"/>
                </a:moveTo>
                <a:cubicBezTo>
                  <a:pt x="1558751" y="1168109"/>
                  <a:pt x="1543859" y="1172328"/>
                  <a:pt x="1533145" y="1180765"/>
                </a:cubicBezTo>
                <a:cubicBezTo>
                  <a:pt x="1522431" y="1189094"/>
                  <a:pt x="1517074" y="1200993"/>
                  <a:pt x="1517074" y="1216136"/>
                </a:cubicBezTo>
                <a:lnTo>
                  <a:pt x="1517074" y="1220463"/>
                </a:lnTo>
                <a:cubicBezTo>
                  <a:pt x="1517074" y="1241773"/>
                  <a:pt x="1530252" y="1255943"/>
                  <a:pt x="1556716" y="1262974"/>
                </a:cubicBezTo>
                <a:lnTo>
                  <a:pt x="1576858" y="1268166"/>
                </a:lnTo>
                <a:cubicBezTo>
                  <a:pt x="1584572" y="1270113"/>
                  <a:pt x="1590465" y="1272168"/>
                  <a:pt x="1594536" y="1274115"/>
                </a:cubicBezTo>
                <a:cubicBezTo>
                  <a:pt x="1598607" y="1276062"/>
                  <a:pt x="1601393" y="1278334"/>
                  <a:pt x="1602893" y="1281038"/>
                </a:cubicBezTo>
                <a:cubicBezTo>
                  <a:pt x="1604393" y="1283742"/>
                  <a:pt x="1605143" y="1287204"/>
                  <a:pt x="1605143" y="1291531"/>
                </a:cubicBezTo>
                <a:cubicBezTo>
                  <a:pt x="1605143" y="1297913"/>
                  <a:pt x="1603107" y="1302456"/>
                  <a:pt x="1599036" y="1305376"/>
                </a:cubicBezTo>
                <a:cubicBezTo>
                  <a:pt x="1594965" y="1308297"/>
                  <a:pt x="1588108" y="1309703"/>
                  <a:pt x="1578572" y="1309703"/>
                </a:cubicBezTo>
                <a:cubicBezTo>
                  <a:pt x="1569572" y="1309703"/>
                  <a:pt x="1562930" y="1308405"/>
                  <a:pt x="1558430" y="1305593"/>
                </a:cubicBezTo>
                <a:cubicBezTo>
                  <a:pt x="1553930" y="1302780"/>
                  <a:pt x="1551144" y="1298345"/>
                  <a:pt x="1550180" y="1292180"/>
                </a:cubicBezTo>
                <a:cubicBezTo>
                  <a:pt x="1549537" y="1288286"/>
                  <a:pt x="1546859" y="1286339"/>
                  <a:pt x="1541930" y="1286339"/>
                </a:cubicBezTo>
                <a:lnTo>
                  <a:pt x="1522967" y="1286339"/>
                </a:lnTo>
                <a:cubicBezTo>
                  <a:pt x="1517503" y="1286339"/>
                  <a:pt x="1514717" y="1288610"/>
                  <a:pt x="1514717" y="1293153"/>
                </a:cubicBezTo>
                <a:cubicBezTo>
                  <a:pt x="1514717" y="1304727"/>
                  <a:pt x="1518681" y="1314355"/>
                  <a:pt x="1526609" y="1322143"/>
                </a:cubicBezTo>
                <a:cubicBezTo>
                  <a:pt x="1537859" y="1332852"/>
                  <a:pt x="1555430" y="1338152"/>
                  <a:pt x="1579429" y="1338152"/>
                </a:cubicBezTo>
                <a:lnTo>
                  <a:pt x="1579536" y="1337936"/>
                </a:lnTo>
                <a:cubicBezTo>
                  <a:pt x="1598822" y="1337936"/>
                  <a:pt x="1613821" y="1333825"/>
                  <a:pt x="1624642" y="1325496"/>
                </a:cubicBezTo>
                <a:cubicBezTo>
                  <a:pt x="1635463" y="1317167"/>
                  <a:pt x="1640820" y="1305593"/>
                  <a:pt x="1640820" y="1290557"/>
                </a:cubicBezTo>
                <a:lnTo>
                  <a:pt x="1640820" y="1284392"/>
                </a:lnTo>
                <a:cubicBezTo>
                  <a:pt x="1640820" y="1262000"/>
                  <a:pt x="1628178" y="1247506"/>
                  <a:pt x="1603000" y="1240691"/>
                </a:cubicBezTo>
                <a:lnTo>
                  <a:pt x="1577072" y="1233876"/>
                </a:lnTo>
                <a:cubicBezTo>
                  <a:pt x="1567323" y="1231172"/>
                  <a:pt x="1560573" y="1228468"/>
                  <a:pt x="1556930" y="1225547"/>
                </a:cubicBezTo>
                <a:cubicBezTo>
                  <a:pt x="1553287" y="1222627"/>
                  <a:pt x="1551466" y="1218624"/>
                  <a:pt x="1551466" y="1213540"/>
                </a:cubicBezTo>
                <a:cubicBezTo>
                  <a:pt x="1551466" y="1207807"/>
                  <a:pt x="1553609" y="1203481"/>
                  <a:pt x="1557894" y="1200344"/>
                </a:cubicBezTo>
                <a:cubicBezTo>
                  <a:pt x="1562180" y="1197207"/>
                  <a:pt x="1568073" y="1195692"/>
                  <a:pt x="1575572" y="1195692"/>
                </a:cubicBezTo>
                <a:cubicBezTo>
                  <a:pt x="1593357" y="1195692"/>
                  <a:pt x="1603000" y="1201209"/>
                  <a:pt x="1604607" y="1212350"/>
                </a:cubicBezTo>
                <a:cubicBezTo>
                  <a:pt x="1605036" y="1214838"/>
                  <a:pt x="1605893" y="1216461"/>
                  <a:pt x="1607071" y="1217326"/>
                </a:cubicBezTo>
                <a:cubicBezTo>
                  <a:pt x="1608250" y="1218083"/>
                  <a:pt x="1610607" y="1218516"/>
                  <a:pt x="1614035" y="1218516"/>
                </a:cubicBezTo>
                <a:lnTo>
                  <a:pt x="1629892" y="1218516"/>
                </a:lnTo>
                <a:cubicBezTo>
                  <a:pt x="1633749" y="1218516"/>
                  <a:pt x="1636428" y="1217975"/>
                  <a:pt x="1637713" y="1217002"/>
                </a:cubicBezTo>
                <a:cubicBezTo>
                  <a:pt x="1639106" y="1216028"/>
                  <a:pt x="1639749" y="1214081"/>
                  <a:pt x="1639749" y="1211161"/>
                </a:cubicBezTo>
                <a:cubicBezTo>
                  <a:pt x="1639749" y="1200127"/>
                  <a:pt x="1635999" y="1190825"/>
                  <a:pt x="1628499" y="1183469"/>
                </a:cubicBezTo>
                <a:cubicBezTo>
                  <a:pt x="1617678" y="1173193"/>
                  <a:pt x="1600857" y="1168109"/>
                  <a:pt x="1577822" y="1168109"/>
                </a:cubicBezTo>
                <a:close/>
                <a:moveTo>
                  <a:pt x="1195227" y="1127113"/>
                </a:moveTo>
                <a:cubicBezTo>
                  <a:pt x="1191370" y="1127113"/>
                  <a:pt x="1188691" y="1127762"/>
                  <a:pt x="1187406" y="1128844"/>
                </a:cubicBezTo>
                <a:cubicBezTo>
                  <a:pt x="1186013" y="1129925"/>
                  <a:pt x="1185370" y="1132413"/>
                  <a:pt x="1185370" y="1136091"/>
                </a:cubicBezTo>
                <a:lnTo>
                  <a:pt x="1185370" y="1172436"/>
                </a:lnTo>
                <a:lnTo>
                  <a:pt x="1169192" y="1172436"/>
                </a:lnTo>
                <a:cubicBezTo>
                  <a:pt x="1166085" y="1172436"/>
                  <a:pt x="1164049" y="1173085"/>
                  <a:pt x="1163085" y="1174167"/>
                </a:cubicBezTo>
                <a:cubicBezTo>
                  <a:pt x="1162121" y="1175249"/>
                  <a:pt x="1161585" y="1177628"/>
                  <a:pt x="1161585" y="1181090"/>
                </a:cubicBezTo>
                <a:lnTo>
                  <a:pt x="1161585" y="1194070"/>
                </a:lnTo>
                <a:cubicBezTo>
                  <a:pt x="1161585" y="1197532"/>
                  <a:pt x="1162014" y="1199911"/>
                  <a:pt x="1163085" y="1200993"/>
                </a:cubicBezTo>
                <a:cubicBezTo>
                  <a:pt x="1164156" y="1202183"/>
                  <a:pt x="1166192" y="1202724"/>
                  <a:pt x="1169192" y="1202724"/>
                </a:cubicBezTo>
                <a:lnTo>
                  <a:pt x="1185370" y="1202724"/>
                </a:lnTo>
                <a:lnTo>
                  <a:pt x="1185370" y="1285582"/>
                </a:lnTo>
                <a:cubicBezTo>
                  <a:pt x="1185370" y="1300401"/>
                  <a:pt x="1188691" y="1312083"/>
                  <a:pt x="1195441" y="1320845"/>
                </a:cubicBezTo>
                <a:cubicBezTo>
                  <a:pt x="1202191" y="1329607"/>
                  <a:pt x="1214512" y="1333934"/>
                  <a:pt x="1232404" y="1333934"/>
                </a:cubicBezTo>
                <a:lnTo>
                  <a:pt x="1249547" y="1333934"/>
                </a:lnTo>
                <a:lnTo>
                  <a:pt x="1249761" y="1334042"/>
                </a:lnTo>
                <a:cubicBezTo>
                  <a:pt x="1252975" y="1334042"/>
                  <a:pt x="1255118" y="1333393"/>
                  <a:pt x="1255975" y="1332311"/>
                </a:cubicBezTo>
                <a:cubicBezTo>
                  <a:pt x="1256939" y="1331229"/>
                  <a:pt x="1257368" y="1328850"/>
                  <a:pt x="1257368" y="1325388"/>
                </a:cubicBezTo>
                <a:lnTo>
                  <a:pt x="1257368" y="1310893"/>
                </a:lnTo>
                <a:cubicBezTo>
                  <a:pt x="1257368" y="1307432"/>
                  <a:pt x="1256939" y="1305160"/>
                  <a:pt x="1255868" y="1303971"/>
                </a:cubicBezTo>
                <a:cubicBezTo>
                  <a:pt x="1254796" y="1302781"/>
                  <a:pt x="1252761" y="1302240"/>
                  <a:pt x="1249761" y="1302240"/>
                </a:cubicBezTo>
                <a:lnTo>
                  <a:pt x="1238725" y="1302240"/>
                </a:lnTo>
                <a:cubicBezTo>
                  <a:pt x="1232619" y="1302240"/>
                  <a:pt x="1228333" y="1300401"/>
                  <a:pt x="1225762" y="1296831"/>
                </a:cubicBezTo>
                <a:cubicBezTo>
                  <a:pt x="1223190" y="1293262"/>
                  <a:pt x="1221905" y="1287637"/>
                  <a:pt x="1221905" y="1280065"/>
                </a:cubicBezTo>
                <a:lnTo>
                  <a:pt x="1221905" y="1202724"/>
                </a:lnTo>
                <a:lnTo>
                  <a:pt x="1249654" y="1202724"/>
                </a:lnTo>
                <a:cubicBezTo>
                  <a:pt x="1252761" y="1202724"/>
                  <a:pt x="1254796" y="1202075"/>
                  <a:pt x="1255761" y="1200993"/>
                </a:cubicBezTo>
                <a:cubicBezTo>
                  <a:pt x="1256725" y="1199911"/>
                  <a:pt x="1257261" y="1197532"/>
                  <a:pt x="1257261" y="1194070"/>
                </a:cubicBezTo>
                <a:lnTo>
                  <a:pt x="1257261" y="1181090"/>
                </a:lnTo>
                <a:cubicBezTo>
                  <a:pt x="1257261" y="1177628"/>
                  <a:pt x="1256832" y="1175357"/>
                  <a:pt x="1255761" y="1174167"/>
                </a:cubicBezTo>
                <a:cubicBezTo>
                  <a:pt x="1254689" y="1172977"/>
                  <a:pt x="1252654" y="1172436"/>
                  <a:pt x="1249654" y="1172436"/>
                </a:cubicBezTo>
                <a:lnTo>
                  <a:pt x="1221905" y="1172436"/>
                </a:lnTo>
                <a:lnTo>
                  <a:pt x="1221905" y="1136091"/>
                </a:lnTo>
                <a:cubicBezTo>
                  <a:pt x="1221905" y="1132413"/>
                  <a:pt x="1221155" y="1129925"/>
                  <a:pt x="1219869" y="1128844"/>
                </a:cubicBezTo>
                <a:cubicBezTo>
                  <a:pt x="1218476" y="1127654"/>
                  <a:pt x="1215905" y="1127113"/>
                  <a:pt x="1212048" y="1127113"/>
                </a:cubicBezTo>
                <a:close/>
                <a:moveTo>
                  <a:pt x="1305152" y="1110455"/>
                </a:moveTo>
                <a:cubicBezTo>
                  <a:pt x="1298831" y="1110455"/>
                  <a:pt x="1293795" y="1112078"/>
                  <a:pt x="1290045" y="1115214"/>
                </a:cubicBezTo>
                <a:cubicBezTo>
                  <a:pt x="1286188" y="1118460"/>
                  <a:pt x="1284367" y="1123003"/>
                  <a:pt x="1284367" y="1128952"/>
                </a:cubicBezTo>
                <a:lnTo>
                  <a:pt x="1284367" y="1135442"/>
                </a:lnTo>
                <a:cubicBezTo>
                  <a:pt x="1284367" y="1141175"/>
                  <a:pt x="1286296" y="1145718"/>
                  <a:pt x="1290045" y="1148963"/>
                </a:cubicBezTo>
                <a:cubicBezTo>
                  <a:pt x="1293795" y="1152317"/>
                  <a:pt x="1298831" y="1153939"/>
                  <a:pt x="1305152" y="1153939"/>
                </a:cubicBezTo>
                <a:cubicBezTo>
                  <a:pt x="1311688" y="1153939"/>
                  <a:pt x="1316830" y="1152209"/>
                  <a:pt x="1320580" y="1148963"/>
                </a:cubicBezTo>
                <a:cubicBezTo>
                  <a:pt x="1324330" y="1145718"/>
                  <a:pt x="1326259" y="1141175"/>
                  <a:pt x="1326259" y="1135442"/>
                </a:cubicBezTo>
                <a:lnTo>
                  <a:pt x="1326259" y="1128952"/>
                </a:lnTo>
                <a:cubicBezTo>
                  <a:pt x="1326259" y="1123003"/>
                  <a:pt x="1324330" y="1118351"/>
                  <a:pt x="1320580" y="1115214"/>
                </a:cubicBezTo>
                <a:cubicBezTo>
                  <a:pt x="1316830" y="1112078"/>
                  <a:pt x="1311473" y="1110455"/>
                  <a:pt x="1305152" y="1110455"/>
                </a:cubicBezTo>
                <a:close/>
                <a:moveTo>
                  <a:pt x="1118730" y="1110455"/>
                </a:moveTo>
                <a:cubicBezTo>
                  <a:pt x="1112409" y="1110455"/>
                  <a:pt x="1107373" y="1112078"/>
                  <a:pt x="1103623" y="1115214"/>
                </a:cubicBezTo>
                <a:cubicBezTo>
                  <a:pt x="1099874" y="1118460"/>
                  <a:pt x="1097945" y="1123003"/>
                  <a:pt x="1097945" y="1128952"/>
                </a:cubicBezTo>
                <a:lnTo>
                  <a:pt x="1097945" y="1135442"/>
                </a:lnTo>
                <a:cubicBezTo>
                  <a:pt x="1097945" y="1141175"/>
                  <a:pt x="1099874" y="1145718"/>
                  <a:pt x="1103623" y="1148963"/>
                </a:cubicBezTo>
                <a:cubicBezTo>
                  <a:pt x="1107373" y="1152317"/>
                  <a:pt x="1112409" y="1153939"/>
                  <a:pt x="1118730" y="1153939"/>
                </a:cubicBezTo>
                <a:cubicBezTo>
                  <a:pt x="1125266" y="1153939"/>
                  <a:pt x="1130408" y="1152209"/>
                  <a:pt x="1134158" y="1148963"/>
                </a:cubicBezTo>
                <a:cubicBezTo>
                  <a:pt x="1137908" y="1145718"/>
                  <a:pt x="1139837" y="1141175"/>
                  <a:pt x="1139837" y="1135442"/>
                </a:cubicBezTo>
                <a:lnTo>
                  <a:pt x="1139837" y="1128952"/>
                </a:lnTo>
                <a:cubicBezTo>
                  <a:pt x="1139837" y="1123003"/>
                  <a:pt x="1137908" y="1118351"/>
                  <a:pt x="1134158" y="1115214"/>
                </a:cubicBezTo>
                <a:cubicBezTo>
                  <a:pt x="1130408" y="1112078"/>
                  <a:pt x="1125051" y="1110455"/>
                  <a:pt x="1118730" y="1110455"/>
                </a:cubicBezTo>
                <a:close/>
                <a:moveTo>
                  <a:pt x="995949" y="1109697"/>
                </a:moveTo>
                <a:cubicBezTo>
                  <a:pt x="977628" y="1109697"/>
                  <a:pt x="962093" y="1113591"/>
                  <a:pt x="949557" y="1121271"/>
                </a:cubicBezTo>
                <a:cubicBezTo>
                  <a:pt x="937022" y="1128951"/>
                  <a:pt x="927916" y="1140093"/>
                  <a:pt x="922452" y="1154696"/>
                </a:cubicBezTo>
                <a:cubicBezTo>
                  <a:pt x="919988" y="1161078"/>
                  <a:pt x="918166" y="1168109"/>
                  <a:pt x="917094" y="1175681"/>
                </a:cubicBezTo>
                <a:cubicBezTo>
                  <a:pt x="915916" y="1183252"/>
                  <a:pt x="915380" y="1192447"/>
                  <a:pt x="915380" y="1203372"/>
                </a:cubicBezTo>
                <a:lnTo>
                  <a:pt x="915380" y="1248371"/>
                </a:lnTo>
                <a:cubicBezTo>
                  <a:pt x="915380" y="1260269"/>
                  <a:pt x="915808" y="1269896"/>
                  <a:pt x="916880" y="1277144"/>
                </a:cubicBezTo>
                <a:cubicBezTo>
                  <a:pt x="917844" y="1284499"/>
                  <a:pt x="919666" y="1291098"/>
                  <a:pt x="922344" y="1297047"/>
                </a:cubicBezTo>
                <a:cubicBezTo>
                  <a:pt x="934664" y="1324955"/>
                  <a:pt x="957914" y="1338909"/>
                  <a:pt x="991878" y="1338909"/>
                </a:cubicBezTo>
                <a:cubicBezTo>
                  <a:pt x="1019198" y="1338909"/>
                  <a:pt x="1039555" y="1331878"/>
                  <a:pt x="1052946" y="1317924"/>
                </a:cubicBezTo>
                <a:cubicBezTo>
                  <a:pt x="1058946" y="1311542"/>
                  <a:pt x="1063339" y="1304619"/>
                  <a:pt x="1066017" y="1297263"/>
                </a:cubicBezTo>
                <a:cubicBezTo>
                  <a:pt x="1068696" y="1289800"/>
                  <a:pt x="1069981" y="1280713"/>
                  <a:pt x="1069981" y="1269788"/>
                </a:cubicBezTo>
                <a:cubicBezTo>
                  <a:pt x="1069981" y="1266543"/>
                  <a:pt x="1069231" y="1264272"/>
                  <a:pt x="1067946" y="1263190"/>
                </a:cubicBezTo>
                <a:cubicBezTo>
                  <a:pt x="1066553" y="1262000"/>
                  <a:pt x="1063982" y="1261459"/>
                  <a:pt x="1060124" y="1261459"/>
                </a:cubicBezTo>
                <a:lnTo>
                  <a:pt x="1041805" y="1261459"/>
                </a:lnTo>
                <a:cubicBezTo>
                  <a:pt x="1038162" y="1261459"/>
                  <a:pt x="1035591" y="1262000"/>
                  <a:pt x="1034305" y="1262974"/>
                </a:cubicBezTo>
                <a:cubicBezTo>
                  <a:pt x="1033019" y="1264055"/>
                  <a:pt x="1032269" y="1266111"/>
                  <a:pt x="1032055" y="1269139"/>
                </a:cubicBezTo>
                <a:lnTo>
                  <a:pt x="1032269" y="1269247"/>
                </a:lnTo>
                <a:cubicBezTo>
                  <a:pt x="1031841" y="1281687"/>
                  <a:pt x="1028519" y="1290881"/>
                  <a:pt x="1022305" y="1296939"/>
                </a:cubicBezTo>
                <a:cubicBezTo>
                  <a:pt x="1016091" y="1302996"/>
                  <a:pt x="1006663" y="1305917"/>
                  <a:pt x="993806" y="1305917"/>
                </a:cubicBezTo>
                <a:cubicBezTo>
                  <a:pt x="979557" y="1305917"/>
                  <a:pt x="969271" y="1301590"/>
                  <a:pt x="962950" y="1292828"/>
                </a:cubicBezTo>
                <a:cubicBezTo>
                  <a:pt x="956629" y="1284175"/>
                  <a:pt x="953522" y="1269896"/>
                  <a:pt x="953522" y="1250210"/>
                </a:cubicBezTo>
                <a:lnTo>
                  <a:pt x="953522" y="1198504"/>
                </a:lnTo>
                <a:cubicBezTo>
                  <a:pt x="953522" y="1178168"/>
                  <a:pt x="956522" y="1163782"/>
                  <a:pt x="962629" y="1155236"/>
                </a:cubicBezTo>
                <a:cubicBezTo>
                  <a:pt x="968735" y="1146691"/>
                  <a:pt x="979128" y="1142472"/>
                  <a:pt x="994020" y="1142472"/>
                </a:cubicBezTo>
                <a:cubicBezTo>
                  <a:pt x="1007199" y="1142472"/>
                  <a:pt x="1016734" y="1145285"/>
                  <a:pt x="1022520" y="1150910"/>
                </a:cubicBezTo>
                <a:cubicBezTo>
                  <a:pt x="1028305" y="1156535"/>
                  <a:pt x="1031305" y="1165729"/>
                  <a:pt x="1031519" y="1178493"/>
                </a:cubicBezTo>
                <a:cubicBezTo>
                  <a:pt x="1031733" y="1181522"/>
                  <a:pt x="1032483" y="1183685"/>
                  <a:pt x="1033769" y="1184659"/>
                </a:cubicBezTo>
                <a:cubicBezTo>
                  <a:pt x="1035162" y="1185632"/>
                  <a:pt x="1037626" y="1186173"/>
                  <a:pt x="1041269" y="1186173"/>
                </a:cubicBezTo>
                <a:lnTo>
                  <a:pt x="1060232" y="1186173"/>
                </a:lnTo>
                <a:cubicBezTo>
                  <a:pt x="1064089" y="1186173"/>
                  <a:pt x="1066767" y="1185524"/>
                  <a:pt x="1068053" y="1184442"/>
                </a:cubicBezTo>
                <a:cubicBezTo>
                  <a:pt x="1069446" y="1183361"/>
                  <a:pt x="1070088" y="1181089"/>
                  <a:pt x="1070088" y="1177844"/>
                </a:cubicBezTo>
                <a:cubicBezTo>
                  <a:pt x="1070088" y="1167352"/>
                  <a:pt x="1068910" y="1158482"/>
                  <a:pt x="1066446" y="1151018"/>
                </a:cubicBezTo>
                <a:cubicBezTo>
                  <a:pt x="1063982" y="1143554"/>
                  <a:pt x="1059803" y="1136739"/>
                  <a:pt x="1053910" y="1130357"/>
                </a:cubicBezTo>
                <a:cubicBezTo>
                  <a:pt x="1041269" y="1116620"/>
                  <a:pt x="1021984" y="1109697"/>
                  <a:pt x="995949" y="1109697"/>
                </a:cubicBezTo>
                <a:close/>
                <a:moveTo>
                  <a:pt x="1737975" y="995380"/>
                </a:moveTo>
                <a:lnTo>
                  <a:pt x="1737975" y="1330732"/>
                </a:lnTo>
                <a:cubicBezTo>
                  <a:pt x="1737655" y="1388215"/>
                  <a:pt x="1690563" y="1434986"/>
                  <a:pt x="1633114" y="1434986"/>
                </a:cubicBezTo>
                <a:lnTo>
                  <a:pt x="1310307" y="1434986"/>
                </a:lnTo>
                <a:lnTo>
                  <a:pt x="1310307" y="1566285"/>
                </a:lnTo>
                <a:lnTo>
                  <a:pt x="1633114" y="1566285"/>
                </a:lnTo>
                <a:cubicBezTo>
                  <a:pt x="1762962" y="1566285"/>
                  <a:pt x="1869319" y="1461076"/>
                  <a:pt x="1870173" y="1331263"/>
                </a:cubicBezTo>
                <a:lnTo>
                  <a:pt x="1870173" y="995380"/>
                </a:lnTo>
                <a:close/>
                <a:moveTo>
                  <a:pt x="1294438" y="902011"/>
                </a:moveTo>
                <a:cubicBezTo>
                  <a:pt x="1304616" y="902011"/>
                  <a:pt x="1312009" y="905040"/>
                  <a:pt x="1316723" y="911098"/>
                </a:cubicBezTo>
                <a:cubicBezTo>
                  <a:pt x="1321330" y="917155"/>
                  <a:pt x="1323687" y="926566"/>
                  <a:pt x="1323687" y="939546"/>
                </a:cubicBezTo>
                <a:lnTo>
                  <a:pt x="1262403" y="939546"/>
                </a:lnTo>
                <a:cubicBezTo>
                  <a:pt x="1262725" y="926241"/>
                  <a:pt x="1265403" y="916614"/>
                  <a:pt x="1270439" y="910773"/>
                </a:cubicBezTo>
                <a:cubicBezTo>
                  <a:pt x="1275474" y="904932"/>
                  <a:pt x="1283403" y="902011"/>
                  <a:pt x="1294438" y="902011"/>
                </a:cubicBezTo>
                <a:close/>
                <a:moveTo>
                  <a:pt x="756812" y="902011"/>
                </a:moveTo>
                <a:cubicBezTo>
                  <a:pt x="766992" y="902011"/>
                  <a:pt x="774384" y="905040"/>
                  <a:pt x="779098" y="911098"/>
                </a:cubicBezTo>
                <a:cubicBezTo>
                  <a:pt x="783704" y="917155"/>
                  <a:pt x="786062" y="926566"/>
                  <a:pt x="786062" y="939546"/>
                </a:cubicBezTo>
                <a:lnTo>
                  <a:pt x="724780" y="939546"/>
                </a:lnTo>
                <a:cubicBezTo>
                  <a:pt x="725100" y="926241"/>
                  <a:pt x="727780" y="916614"/>
                  <a:pt x="732814" y="910773"/>
                </a:cubicBezTo>
                <a:cubicBezTo>
                  <a:pt x="737850" y="904932"/>
                  <a:pt x="745778" y="902011"/>
                  <a:pt x="756812" y="902011"/>
                </a:cubicBezTo>
                <a:close/>
                <a:moveTo>
                  <a:pt x="1165871" y="876700"/>
                </a:moveTo>
                <a:cubicBezTo>
                  <a:pt x="1162014" y="876700"/>
                  <a:pt x="1159335" y="877349"/>
                  <a:pt x="1158050" y="878431"/>
                </a:cubicBezTo>
                <a:cubicBezTo>
                  <a:pt x="1156657" y="879621"/>
                  <a:pt x="1156014" y="882000"/>
                  <a:pt x="1156014" y="885678"/>
                </a:cubicBezTo>
                <a:lnTo>
                  <a:pt x="1156014" y="1029220"/>
                </a:lnTo>
                <a:cubicBezTo>
                  <a:pt x="1156014" y="1032897"/>
                  <a:pt x="1156764" y="1035385"/>
                  <a:pt x="1158050" y="1036467"/>
                </a:cubicBezTo>
                <a:cubicBezTo>
                  <a:pt x="1159442" y="1037657"/>
                  <a:pt x="1162014" y="1038198"/>
                  <a:pt x="1165871" y="1038198"/>
                </a:cubicBezTo>
                <a:lnTo>
                  <a:pt x="1182692" y="1038198"/>
                </a:lnTo>
                <a:cubicBezTo>
                  <a:pt x="1186549" y="1038198"/>
                  <a:pt x="1189227" y="1037549"/>
                  <a:pt x="1190513" y="1036467"/>
                </a:cubicBezTo>
                <a:cubicBezTo>
                  <a:pt x="1191906" y="1035385"/>
                  <a:pt x="1192548" y="1032897"/>
                  <a:pt x="1192548" y="1029220"/>
                </a:cubicBezTo>
                <a:lnTo>
                  <a:pt x="1192548" y="885678"/>
                </a:lnTo>
                <a:cubicBezTo>
                  <a:pt x="1192548" y="882000"/>
                  <a:pt x="1191799" y="879513"/>
                  <a:pt x="1190513" y="878431"/>
                </a:cubicBezTo>
                <a:cubicBezTo>
                  <a:pt x="1189120" y="877241"/>
                  <a:pt x="1186549" y="876700"/>
                  <a:pt x="1182692" y="876700"/>
                </a:cubicBezTo>
                <a:close/>
                <a:moveTo>
                  <a:pt x="1013948" y="876700"/>
                </a:moveTo>
                <a:cubicBezTo>
                  <a:pt x="1010091" y="876700"/>
                  <a:pt x="1007412" y="877349"/>
                  <a:pt x="1006127" y="878431"/>
                </a:cubicBezTo>
                <a:cubicBezTo>
                  <a:pt x="1004734" y="879621"/>
                  <a:pt x="1004091" y="882000"/>
                  <a:pt x="1004091" y="885678"/>
                </a:cubicBezTo>
                <a:lnTo>
                  <a:pt x="1004091" y="1029220"/>
                </a:lnTo>
                <a:cubicBezTo>
                  <a:pt x="1004091" y="1032897"/>
                  <a:pt x="1004842" y="1035385"/>
                  <a:pt x="1006127" y="1036467"/>
                </a:cubicBezTo>
                <a:cubicBezTo>
                  <a:pt x="1007519" y="1037657"/>
                  <a:pt x="1010091" y="1038198"/>
                  <a:pt x="1013948" y="1038198"/>
                </a:cubicBezTo>
                <a:lnTo>
                  <a:pt x="1030769" y="1038198"/>
                </a:lnTo>
                <a:cubicBezTo>
                  <a:pt x="1034626" y="1038198"/>
                  <a:pt x="1037304" y="1037549"/>
                  <a:pt x="1038590" y="1036467"/>
                </a:cubicBezTo>
                <a:cubicBezTo>
                  <a:pt x="1039983" y="1035385"/>
                  <a:pt x="1040625" y="1032897"/>
                  <a:pt x="1040625" y="1029220"/>
                </a:cubicBezTo>
                <a:lnTo>
                  <a:pt x="1040625" y="885678"/>
                </a:lnTo>
                <a:cubicBezTo>
                  <a:pt x="1040625" y="882000"/>
                  <a:pt x="1039876" y="879513"/>
                  <a:pt x="1038590" y="878431"/>
                </a:cubicBezTo>
                <a:cubicBezTo>
                  <a:pt x="1037197" y="877241"/>
                  <a:pt x="1034626" y="876700"/>
                  <a:pt x="1030769" y="876700"/>
                </a:cubicBezTo>
                <a:close/>
                <a:moveTo>
                  <a:pt x="1473040" y="872481"/>
                </a:moveTo>
                <a:cubicBezTo>
                  <a:pt x="1463612" y="872481"/>
                  <a:pt x="1455148" y="874212"/>
                  <a:pt x="1447541" y="877673"/>
                </a:cubicBezTo>
                <a:cubicBezTo>
                  <a:pt x="1439934" y="881135"/>
                  <a:pt x="1433827" y="886002"/>
                  <a:pt x="1429113" y="892168"/>
                </a:cubicBezTo>
                <a:lnTo>
                  <a:pt x="1429113" y="885678"/>
                </a:lnTo>
                <a:cubicBezTo>
                  <a:pt x="1429113" y="882000"/>
                  <a:pt x="1428470" y="879620"/>
                  <a:pt x="1427077" y="878430"/>
                </a:cubicBezTo>
                <a:cubicBezTo>
                  <a:pt x="1425684" y="877240"/>
                  <a:pt x="1423113" y="876700"/>
                  <a:pt x="1419256" y="876700"/>
                </a:cubicBezTo>
                <a:lnTo>
                  <a:pt x="1403078" y="876700"/>
                </a:lnTo>
                <a:cubicBezTo>
                  <a:pt x="1399221" y="876700"/>
                  <a:pt x="1396542" y="877349"/>
                  <a:pt x="1395257" y="878430"/>
                </a:cubicBezTo>
                <a:cubicBezTo>
                  <a:pt x="1393864" y="879620"/>
                  <a:pt x="1393221" y="882000"/>
                  <a:pt x="1393221" y="885678"/>
                </a:cubicBezTo>
                <a:lnTo>
                  <a:pt x="1393221" y="1029111"/>
                </a:lnTo>
                <a:cubicBezTo>
                  <a:pt x="1393221" y="1032789"/>
                  <a:pt x="1393971" y="1035277"/>
                  <a:pt x="1395257" y="1036358"/>
                </a:cubicBezTo>
                <a:cubicBezTo>
                  <a:pt x="1396649" y="1037548"/>
                  <a:pt x="1399221" y="1038089"/>
                  <a:pt x="1403078" y="1038089"/>
                </a:cubicBezTo>
                <a:lnTo>
                  <a:pt x="1419899" y="1038089"/>
                </a:lnTo>
                <a:cubicBezTo>
                  <a:pt x="1423756" y="1038089"/>
                  <a:pt x="1426434" y="1037440"/>
                  <a:pt x="1427720" y="1036358"/>
                </a:cubicBezTo>
                <a:cubicBezTo>
                  <a:pt x="1429113" y="1035277"/>
                  <a:pt x="1429756" y="1032789"/>
                  <a:pt x="1429756" y="1029111"/>
                </a:cubicBezTo>
                <a:lnTo>
                  <a:pt x="1429756" y="938897"/>
                </a:lnTo>
                <a:cubicBezTo>
                  <a:pt x="1429756" y="927972"/>
                  <a:pt x="1432541" y="919535"/>
                  <a:pt x="1438112" y="913477"/>
                </a:cubicBezTo>
                <a:cubicBezTo>
                  <a:pt x="1443684" y="907420"/>
                  <a:pt x="1451183" y="904391"/>
                  <a:pt x="1461147" y="904391"/>
                </a:cubicBezTo>
                <a:cubicBezTo>
                  <a:pt x="1471111" y="904391"/>
                  <a:pt x="1477968" y="906879"/>
                  <a:pt x="1481718" y="911963"/>
                </a:cubicBezTo>
                <a:cubicBezTo>
                  <a:pt x="1485468" y="917047"/>
                  <a:pt x="1487397" y="924294"/>
                  <a:pt x="1487397" y="933705"/>
                </a:cubicBezTo>
                <a:lnTo>
                  <a:pt x="1487397" y="1029219"/>
                </a:lnTo>
                <a:cubicBezTo>
                  <a:pt x="1487397" y="1032897"/>
                  <a:pt x="1488147" y="1035385"/>
                  <a:pt x="1489432" y="1036466"/>
                </a:cubicBezTo>
                <a:cubicBezTo>
                  <a:pt x="1490825" y="1037656"/>
                  <a:pt x="1493396" y="1038197"/>
                  <a:pt x="1497253" y="1038197"/>
                </a:cubicBezTo>
                <a:lnTo>
                  <a:pt x="1514074" y="1038197"/>
                </a:lnTo>
                <a:cubicBezTo>
                  <a:pt x="1517931" y="1038197"/>
                  <a:pt x="1520503" y="1037548"/>
                  <a:pt x="1521896" y="1036466"/>
                </a:cubicBezTo>
                <a:cubicBezTo>
                  <a:pt x="1523288" y="1035385"/>
                  <a:pt x="1523931" y="1032897"/>
                  <a:pt x="1523931" y="1029219"/>
                </a:cubicBezTo>
                <a:lnTo>
                  <a:pt x="1523931" y="928188"/>
                </a:lnTo>
                <a:cubicBezTo>
                  <a:pt x="1523931" y="910989"/>
                  <a:pt x="1519753" y="897360"/>
                  <a:pt x="1511396" y="887408"/>
                </a:cubicBezTo>
                <a:cubicBezTo>
                  <a:pt x="1503039" y="877457"/>
                  <a:pt x="1490289" y="872481"/>
                  <a:pt x="1473254" y="872481"/>
                </a:cubicBezTo>
                <a:close/>
                <a:moveTo>
                  <a:pt x="1294117" y="872481"/>
                </a:moveTo>
                <a:cubicBezTo>
                  <a:pt x="1272367" y="872481"/>
                  <a:pt x="1255546" y="878971"/>
                  <a:pt x="1243761" y="892060"/>
                </a:cubicBezTo>
                <a:cubicBezTo>
                  <a:pt x="1231976" y="905040"/>
                  <a:pt x="1226083" y="923537"/>
                  <a:pt x="1226083" y="947335"/>
                </a:cubicBezTo>
                <a:lnTo>
                  <a:pt x="1226083" y="971348"/>
                </a:lnTo>
                <a:cubicBezTo>
                  <a:pt x="1226083" y="994172"/>
                  <a:pt x="1231976" y="1011696"/>
                  <a:pt x="1243761" y="1024027"/>
                </a:cubicBezTo>
                <a:cubicBezTo>
                  <a:pt x="1255546" y="1036358"/>
                  <a:pt x="1272260" y="1042524"/>
                  <a:pt x="1293795" y="1042524"/>
                </a:cubicBezTo>
                <a:cubicBezTo>
                  <a:pt x="1304616" y="1042524"/>
                  <a:pt x="1314580" y="1041010"/>
                  <a:pt x="1323580" y="1037764"/>
                </a:cubicBezTo>
                <a:cubicBezTo>
                  <a:pt x="1332580" y="1034519"/>
                  <a:pt x="1339972" y="1029976"/>
                  <a:pt x="1345651" y="1024027"/>
                </a:cubicBezTo>
                <a:cubicBezTo>
                  <a:pt x="1349079" y="1020565"/>
                  <a:pt x="1352079" y="1016130"/>
                  <a:pt x="1354650" y="1010938"/>
                </a:cubicBezTo>
                <a:cubicBezTo>
                  <a:pt x="1357222" y="1005638"/>
                  <a:pt x="1358507" y="1001095"/>
                  <a:pt x="1358507" y="997201"/>
                </a:cubicBezTo>
                <a:cubicBezTo>
                  <a:pt x="1358507" y="994605"/>
                  <a:pt x="1357757" y="992658"/>
                  <a:pt x="1356365" y="991684"/>
                </a:cubicBezTo>
                <a:cubicBezTo>
                  <a:pt x="1354972" y="990711"/>
                  <a:pt x="1352508" y="990170"/>
                  <a:pt x="1349079" y="990170"/>
                </a:cubicBezTo>
                <a:lnTo>
                  <a:pt x="1330115" y="990170"/>
                </a:lnTo>
                <a:cubicBezTo>
                  <a:pt x="1325830" y="990170"/>
                  <a:pt x="1323044" y="991900"/>
                  <a:pt x="1321866" y="995362"/>
                </a:cubicBezTo>
                <a:cubicBezTo>
                  <a:pt x="1318652" y="1006071"/>
                  <a:pt x="1309652" y="1011371"/>
                  <a:pt x="1294759" y="1011371"/>
                </a:cubicBezTo>
                <a:cubicBezTo>
                  <a:pt x="1283188" y="1011371"/>
                  <a:pt x="1274831" y="1008126"/>
                  <a:pt x="1269903" y="1001636"/>
                </a:cubicBezTo>
                <a:cubicBezTo>
                  <a:pt x="1264867" y="995146"/>
                  <a:pt x="1262403" y="984220"/>
                  <a:pt x="1262403" y="968860"/>
                </a:cubicBezTo>
                <a:lnTo>
                  <a:pt x="1262403" y="967346"/>
                </a:lnTo>
                <a:lnTo>
                  <a:pt x="1350901" y="967346"/>
                </a:lnTo>
                <a:lnTo>
                  <a:pt x="1350901" y="967454"/>
                </a:lnTo>
                <a:cubicBezTo>
                  <a:pt x="1354972" y="967454"/>
                  <a:pt x="1357650" y="966805"/>
                  <a:pt x="1358829" y="965615"/>
                </a:cubicBezTo>
                <a:cubicBezTo>
                  <a:pt x="1360007" y="964317"/>
                  <a:pt x="1360650" y="961937"/>
                  <a:pt x="1360650" y="958476"/>
                </a:cubicBezTo>
                <a:lnTo>
                  <a:pt x="1360650" y="943981"/>
                </a:lnTo>
                <a:cubicBezTo>
                  <a:pt x="1360650" y="920508"/>
                  <a:pt x="1354972" y="902769"/>
                  <a:pt x="1343722" y="890654"/>
                </a:cubicBezTo>
                <a:cubicBezTo>
                  <a:pt x="1332365" y="878539"/>
                  <a:pt x="1315866" y="872481"/>
                  <a:pt x="1294117" y="872481"/>
                </a:cubicBezTo>
                <a:close/>
                <a:moveTo>
                  <a:pt x="756492" y="872481"/>
                </a:moveTo>
                <a:cubicBezTo>
                  <a:pt x="734744" y="872481"/>
                  <a:pt x="717920" y="878971"/>
                  <a:pt x="706136" y="892060"/>
                </a:cubicBezTo>
                <a:cubicBezTo>
                  <a:pt x="694352" y="905040"/>
                  <a:pt x="688460" y="923537"/>
                  <a:pt x="688460" y="947335"/>
                </a:cubicBezTo>
                <a:lnTo>
                  <a:pt x="688460" y="971348"/>
                </a:lnTo>
                <a:cubicBezTo>
                  <a:pt x="688460" y="994172"/>
                  <a:pt x="694352" y="1011696"/>
                  <a:pt x="706136" y="1024027"/>
                </a:cubicBezTo>
                <a:cubicBezTo>
                  <a:pt x="717920" y="1036358"/>
                  <a:pt x="734636" y="1042524"/>
                  <a:pt x="756172" y="1042524"/>
                </a:cubicBezTo>
                <a:cubicBezTo>
                  <a:pt x="766992" y="1042524"/>
                  <a:pt x="776956" y="1041010"/>
                  <a:pt x="785956" y="1037764"/>
                </a:cubicBezTo>
                <a:cubicBezTo>
                  <a:pt x="794956" y="1034519"/>
                  <a:pt x="802348" y="1029976"/>
                  <a:pt x="808026" y="1024027"/>
                </a:cubicBezTo>
                <a:cubicBezTo>
                  <a:pt x="811454" y="1020565"/>
                  <a:pt x="814454" y="1016130"/>
                  <a:pt x="817024" y="1010938"/>
                </a:cubicBezTo>
                <a:cubicBezTo>
                  <a:pt x="819596" y="1005638"/>
                  <a:pt x="820882" y="1001095"/>
                  <a:pt x="820882" y="997201"/>
                </a:cubicBezTo>
                <a:cubicBezTo>
                  <a:pt x="820882" y="994605"/>
                  <a:pt x="820132" y="992658"/>
                  <a:pt x="818740" y="991684"/>
                </a:cubicBezTo>
                <a:cubicBezTo>
                  <a:pt x="817348" y="990711"/>
                  <a:pt x="814884" y="990170"/>
                  <a:pt x="811454" y="990170"/>
                </a:cubicBezTo>
                <a:lnTo>
                  <a:pt x="792490" y="990170"/>
                </a:lnTo>
                <a:cubicBezTo>
                  <a:pt x="788204" y="990170"/>
                  <a:pt x="785420" y="991900"/>
                  <a:pt x="784242" y="995362"/>
                </a:cubicBezTo>
                <a:cubicBezTo>
                  <a:pt x="781028" y="1006071"/>
                  <a:pt x="772028" y="1011371"/>
                  <a:pt x="757134" y="1011371"/>
                </a:cubicBezTo>
                <a:cubicBezTo>
                  <a:pt x="745564" y="1011371"/>
                  <a:pt x="737208" y="1008126"/>
                  <a:pt x="732278" y="1001636"/>
                </a:cubicBezTo>
                <a:cubicBezTo>
                  <a:pt x="727244" y="995146"/>
                  <a:pt x="724780" y="984220"/>
                  <a:pt x="724780" y="968860"/>
                </a:cubicBezTo>
                <a:lnTo>
                  <a:pt x="724780" y="967346"/>
                </a:lnTo>
                <a:lnTo>
                  <a:pt x="813276" y="967346"/>
                </a:lnTo>
                <a:lnTo>
                  <a:pt x="813276" y="967454"/>
                </a:lnTo>
                <a:cubicBezTo>
                  <a:pt x="817348" y="967454"/>
                  <a:pt x="820024" y="966805"/>
                  <a:pt x="821204" y="965615"/>
                </a:cubicBezTo>
                <a:cubicBezTo>
                  <a:pt x="822382" y="964317"/>
                  <a:pt x="823024" y="961937"/>
                  <a:pt x="823024" y="958476"/>
                </a:cubicBezTo>
                <a:lnTo>
                  <a:pt x="823024" y="943981"/>
                </a:lnTo>
                <a:cubicBezTo>
                  <a:pt x="823024" y="920508"/>
                  <a:pt x="817348" y="902769"/>
                  <a:pt x="806096" y="890654"/>
                </a:cubicBezTo>
                <a:cubicBezTo>
                  <a:pt x="794740" y="878539"/>
                  <a:pt x="778242" y="872481"/>
                  <a:pt x="756492" y="872481"/>
                </a:cubicBezTo>
                <a:close/>
                <a:moveTo>
                  <a:pt x="909594" y="872373"/>
                </a:moveTo>
                <a:cubicBezTo>
                  <a:pt x="890524" y="872373"/>
                  <a:pt x="875632" y="876592"/>
                  <a:pt x="864916" y="885029"/>
                </a:cubicBezTo>
                <a:cubicBezTo>
                  <a:pt x="854204" y="893358"/>
                  <a:pt x="848846" y="905257"/>
                  <a:pt x="848846" y="920400"/>
                </a:cubicBezTo>
                <a:lnTo>
                  <a:pt x="848846" y="924727"/>
                </a:lnTo>
                <a:cubicBezTo>
                  <a:pt x="848846" y="946037"/>
                  <a:pt x="862024" y="960207"/>
                  <a:pt x="888488" y="967238"/>
                </a:cubicBezTo>
                <a:lnTo>
                  <a:pt x="908632" y="972430"/>
                </a:lnTo>
                <a:cubicBezTo>
                  <a:pt x="916344" y="974377"/>
                  <a:pt x="922238" y="976432"/>
                  <a:pt x="926308" y="978379"/>
                </a:cubicBezTo>
                <a:cubicBezTo>
                  <a:pt x="930380" y="980326"/>
                  <a:pt x="933166" y="982598"/>
                  <a:pt x="934664" y="985302"/>
                </a:cubicBezTo>
                <a:cubicBezTo>
                  <a:pt x="936164" y="988007"/>
                  <a:pt x="936915" y="991468"/>
                  <a:pt x="936915" y="995795"/>
                </a:cubicBezTo>
                <a:cubicBezTo>
                  <a:pt x="936915" y="1002177"/>
                  <a:pt x="934880" y="1006720"/>
                  <a:pt x="930808" y="1009640"/>
                </a:cubicBezTo>
                <a:cubicBezTo>
                  <a:pt x="926736" y="1012561"/>
                  <a:pt x="919880" y="1013967"/>
                  <a:pt x="910344" y="1013967"/>
                </a:cubicBezTo>
                <a:cubicBezTo>
                  <a:pt x="901344" y="1013967"/>
                  <a:pt x="894702" y="1012669"/>
                  <a:pt x="890202" y="1009857"/>
                </a:cubicBezTo>
                <a:cubicBezTo>
                  <a:pt x="885702" y="1007044"/>
                  <a:pt x="882916" y="1002609"/>
                  <a:pt x="881952" y="996444"/>
                </a:cubicBezTo>
                <a:cubicBezTo>
                  <a:pt x="881308" y="992550"/>
                  <a:pt x="878632" y="990603"/>
                  <a:pt x="873704" y="990603"/>
                </a:cubicBezTo>
                <a:lnTo>
                  <a:pt x="854740" y="990603"/>
                </a:lnTo>
                <a:cubicBezTo>
                  <a:pt x="849276" y="990603"/>
                  <a:pt x="846488" y="992874"/>
                  <a:pt x="846488" y="997417"/>
                </a:cubicBezTo>
                <a:cubicBezTo>
                  <a:pt x="846488" y="1008991"/>
                  <a:pt x="850452" y="1018619"/>
                  <a:pt x="858380" y="1026407"/>
                </a:cubicBezTo>
                <a:cubicBezTo>
                  <a:pt x="869632" y="1037116"/>
                  <a:pt x="887202" y="1042416"/>
                  <a:pt x="911200" y="1042416"/>
                </a:cubicBezTo>
                <a:lnTo>
                  <a:pt x="911308" y="1042200"/>
                </a:lnTo>
                <a:cubicBezTo>
                  <a:pt x="930594" y="1042200"/>
                  <a:pt x="945593" y="1038089"/>
                  <a:pt x="956414" y="1029760"/>
                </a:cubicBezTo>
                <a:cubicBezTo>
                  <a:pt x="967235" y="1021431"/>
                  <a:pt x="972593" y="1009857"/>
                  <a:pt x="972593" y="994821"/>
                </a:cubicBezTo>
                <a:lnTo>
                  <a:pt x="972593" y="988656"/>
                </a:lnTo>
                <a:cubicBezTo>
                  <a:pt x="972593" y="966264"/>
                  <a:pt x="959950" y="951770"/>
                  <a:pt x="934772" y="944955"/>
                </a:cubicBezTo>
                <a:lnTo>
                  <a:pt x="908844" y="938140"/>
                </a:lnTo>
                <a:cubicBezTo>
                  <a:pt x="899096" y="935436"/>
                  <a:pt x="892344" y="932732"/>
                  <a:pt x="888702" y="929811"/>
                </a:cubicBezTo>
                <a:cubicBezTo>
                  <a:pt x="885060" y="926891"/>
                  <a:pt x="883238" y="922888"/>
                  <a:pt x="883238" y="917804"/>
                </a:cubicBezTo>
                <a:cubicBezTo>
                  <a:pt x="883238" y="912071"/>
                  <a:pt x="885380" y="907745"/>
                  <a:pt x="889666" y="904608"/>
                </a:cubicBezTo>
                <a:cubicBezTo>
                  <a:pt x="893952" y="901471"/>
                  <a:pt x="899844" y="899956"/>
                  <a:pt x="907344" y="899956"/>
                </a:cubicBezTo>
                <a:cubicBezTo>
                  <a:pt x="925128" y="899956"/>
                  <a:pt x="934772" y="905473"/>
                  <a:pt x="936380" y="916614"/>
                </a:cubicBezTo>
                <a:cubicBezTo>
                  <a:pt x="936808" y="919102"/>
                  <a:pt x="937665" y="920725"/>
                  <a:pt x="938843" y="921590"/>
                </a:cubicBezTo>
                <a:cubicBezTo>
                  <a:pt x="940022" y="922347"/>
                  <a:pt x="942379" y="922780"/>
                  <a:pt x="945807" y="922780"/>
                </a:cubicBezTo>
                <a:lnTo>
                  <a:pt x="961665" y="922780"/>
                </a:lnTo>
                <a:cubicBezTo>
                  <a:pt x="965521" y="922780"/>
                  <a:pt x="968093" y="922239"/>
                  <a:pt x="969485" y="921266"/>
                </a:cubicBezTo>
                <a:cubicBezTo>
                  <a:pt x="970878" y="920292"/>
                  <a:pt x="971521" y="918345"/>
                  <a:pt x="971521" y="915425"/>
                </a:cubicBezTo>
                <a:cubicBezTo>
                  <a:pt x="971521" y="904391"/>
                  <a:pt x="967771" y="895089"/>
                  <a:pt x="960271" y="887733"/>
                </a:cubicBezTo>
                <a:cubicBezTo>
                  <a:pt x="949450" y="877457"/>
                  <a:pt x="932628" y="872373"/>
                  <a:pt x="909594" y="872373"/>
                </a:cubicBezTo>
                <a:close/>
                <a:moveTo>
                  <a:pt x="549392" y="850847"/>
                </a:moveTo>
                <a:lnTo>
                  <a:pt x="587426" y="850847"/>
                </a:lnTo>
                <a:cubicBezTo>
                  <a:pt x="599426" y="850847"/>
                  <a:pt x="607784" y="853443"/>
                  <a:pt x="612604" y="858419"/>
                </a:cubicBezTo>
                <a:cubicBezTo>
                  <a:pt x="617424" y="863503"/>
                  <a:pt x="619784" y="872049"/>
                  <a:pt x="619784" y="884164"/>
                </a:cubicBezTo>
                <a:lnTo>
                  <a:pt x="619784" y="888490"/>
                </a:lnTo>
                <a:cubicBezTo>
                  <a:pt x="619784" y="900065"/>
                  <a:pt x="617424" y="908177"/>
                  <a:pt x="612496" y="913153"/>
                </a:cubicBezTo>
                <a:cubicBezTo>
                  <a:pt x="607676" y="918021"/>
                  <a:pt x="599320" y="920509"/>
                  <a:pt x="587534" y="920509"/>
                </a:cubicBezTo>
                <a:lnTo>
                  <a:pt x="549392" y="920509"/>
                </a:lnTo>
                <a:close/>
                <a:moveTo>
                  <a:pt x="1580930" y="831376"/>
                </a:moveTo>
                <a:cubicBezTo>
                  <a:pt x="1577073" y="831376"/>
                  <a:pt x="1574394" y="832025"/>
                  <a:pt x="1573109" y="833107"/>
                </a:cubicBezTo>
                <a:cubicBezTo>
                  <a:pt x="1571716" y="834188"/>
                  <a:pt x="1571073" y="836676"/>
                  <a:pt x="1571073" y="840354"/>
                </a:cubicBezTo>
                <a:lnTo>
                  <a:pt x="1571073" y="876699"/>
                </a:lnTo>
                <a:lnTo>
                  <a:pt x="1554895" y="876699"/>
                </a:lnTo>
                <a:cubicBezTo>
                  <a:pt x="1551788" y="876699"/>
                  <a:pt x="1549752" y="877348"/>
                  <a:pt x="1548788" y="878430"/>
                </a:cubicBezTo>
                <a:cubicBezTo>
                  <a:pt x="1547824" y="879512"/>
                  <a:pt x="1547288" y="881891"/>
                  <a:pt x="1547288" y="885353"/>
                </a:cubicBezTo>
                <a:lnTo>
                  <a:pt x="1547288" y="898333"/>
                </a:lnTo>
                <a:cubicBezTo>
                  <a:pt x="1547288" y="901795"/>
                  <a:pt x="1547717" y="904174"/>
                  <a:pt x="1548788" y="905256"/>
                </a:cubicBezTo>
                <a:cubicBezTo>
                  <a:pt x="1549859" y="906446"/>
                  <a:pt x="1551895" y="906987"/>
                  <a:pt x="1554895" y="906987"/>
                </a:cubicBezTo>
                <a:lnTo>
                  <a:pt x="1571073" y="906987"/>
                </a:lnTo>
                <a:lnTo>
                  <a:pt x="1571073" y="989845"/>
                </a:lnTo>
                <a:cubicBezTo>
                  <a:pt x="1571073" y="1004664"/>
                  <a:pt x="1574394" y="1016346"/>
                  <a:pt x="1581144" y="1025108"/>
                </a:cubicBezTo>
                <a:cubicBezTo>
                  <a:pt x="1587894" y="1033870"/>
                  <a:pt x="1600215" y="1038197"/>
                  <a:pt x="1618107" y="1038197"/>
                </a:cubicBezTo>
                <a:lnTo>
                  <a:pt x="1635250" y="1038197"/>
                </a:lnTo>
                <a:lnTo>
                  <a:pt x="1635464" y="1038305"/>
                </a:lnTo>
                <a:cubicBezTo>
                  <a:pt x="1638678" y="1038305"/>
                  <a:pt x="1640821" y="1037656"/>
                  <a:pt x="1641678" y="1036574"/>
                </a:cubicBezTo>
                <a:cubicBezTo>
                  <a:pt x="1642642" y="1035492"/>
                  <a:pt x="1643071" y="1033113"/>
                  <a:pt x="1643071" y="1029651"/>
                </a:cubicBezTo>
                <a:lnTo>
                  <a:pt x="1643071" y="1015156"/>
                </a:lnTo>
                <a:cubicBezTo>
                  <a:pt x="1643071" y="1011695"/>
                  <a:pt x="1642642" y="1009423"/>
                  <a:pt x="1641571" y="1008234"/>
                </a:cubicBezTo>
                <a:cubicBezTo>
                  <a:pt x="1640499" y="1007044"/>
                  <a:pt x="1638464" y="1006503"/>
                  <a:pt x="1635464" y="1006503"/>
                </a:cubicBezTo>
                <a:lnTo>
                  <a:pt x="1624429" y="1006503"/>
                </a:lnTo>
                <a:cubicBezTo>
                  <a:pt x="1618322" y="1006503"/>
                  <a:pt x="1614036" y="1004664"/>
                  <a:pt x="1611465" y="1001094"/>
                </a:cubicBezTo>
                <a:cubicBezTo>
                  <a:pt x="1608893" y="997525"/>
                  <a:pt x="1607608" y="991900"/>
                  <a:pt x="1607608" y="984328"/>
                </a:cubicBezTo>
                <a:lnTo>
                  <a:pt x="1607608" y="906987"/>
                </a:lnTo>
                <a:lnTo>
                  <a:pt x="1635357" y="906987"/>
                </a:lnTo>
                <a:cubicBezTo>
                  <a:pt x="1638464" y="906987"/>
                  <a:pt x="1640499" y="906338"/>
                  <a:pt x="1641464" y="905256"/>
                </a:cubicBezTo>
                <a:cubicBezTo>
                  <a:pt x="1642428" y="904174"/>
                  <a:pt x="1642964" y="901795"/>
                  <a:pt x="1642964" y="898333"/>
                </a:cubicBezTo>
                <a:lnTo>
                  <a:pt x="1642964" y="885353"/>
                </a:lnTo>
                <a:cubicBezTo>
                  <a:pt x="1642964" y="881891"/>
                  <a:pt x="1642535" y="879620"/>
                  <a:pt x="1641464" y="878430"/>
                </a:cubicBezTo>
                <a:cubicBezTo>
                  <a:pt x="1640392" y="877240"/>
                  <a:pt x="1638357" y="876699"/>
                  <a:pt x="1635357" y="876699"/>
                </a:cubicBezTo>
                <a:lnTo>
                  <a:pt x="1607608" y="876699"/>
                </a:lnTo>
                <a:lnTo>
                  <a:pt x="1607608" y="840354"/>
                </a:lnTo>
                <a:cubicBezTo>
                  <a:pt x="1607608" y="836676"/>
                  <a:pt x="1606858" y="834188"/>
                  <a:pt x="1605572" y="833107"/>
                </a:cubicBezTo>
                <a:cubicBezTo>
                  <a:pt x="1604179" y="831917"/>
                  <a:pt x="1601608" y="831376"/>
                  <a:pt x="1597751" y="831376"/>
                </a:cubicBezTo>
                <a:close/>
                <a:moveTo>
                  <a:pt x="1089909" y="818829"/>
                </a:moveTo>
                <a:cubicBezTo>
                  <a:pt x="1086052" y="818829"/>
                  <a:pt x="1083373" y="819478"/>
                  <a:pt x="1082088" y="820560"/>
                </a:cubicBezTo>
                <a:cubicBezTo>
                  <a:pt x="1080695" y="821750"/>
                  <a:pt x="1080052" y="824129"/>
                  <a:pt x="1080052" y="827807"/>
                </a:cubicBezTo>
                <a:lnTo>
                  <a:pt x="1080052" y="1029219"/>
                </a:lnTo>
                <a:cubicBezTo>
                  <a:pt x="1080052" y="1032897"/>
                  <a:pt x="1080802" y="1035385"/>
                  <a:pt x="1082088" y="1036467"/>
                </a:cubicBezTo>
                <a:cubicBezTo>
                  <a:pt x="1083480" y="1037657"/>
                  <a:pt x="1086052" y="1038197"/>
                  <a:pt x="1089909" y="1038197"/>
                </a:cubicBezTo>
                <a:lnTo>
                  <a:pt x="1106730" y="1038197"/>
                </a:lnTo>
                <a:cubicBezTo>
                  <a:pt x="1110587" y="1038197"/>
                  <a:pt x="1113265" y="1037548"/>
                  <a:pt x="1114551" y="1036467"/>
                </a:cubicBezTo>
                <a:cubicBezTo>
                  <a:pt x="1115944" y="1035385"/>
                  <a:pt x="1116587" y="1032897"/>
                  <a:pt x="1116587" y="1029219"/>
                </a:cubicBezTo>
                <a:lnTo>
                  <a:pt x="1116587" y="827807"/>
                </a:lnTo>
                <a:cubicBezTo>
                  <a:pt x="1116587" y="824129"/>
                  <a:pt x="1115837" y="821641"/>
                  <a:pt x="1114551" y="820560"/>
                </a:cubicBezTo>
                <a:cubicBezTo>
                  <a:pt x="1113158" y="819370"/>
                  <a:pt x="1110587" y="818829"/>
                  <a:pt x="1106730" y="818829"/>
                </a:cubicBezTo>
                <a:close/>
                <a:moveTo>
                  <a:pt x="522500" y="818829"/>
                </a:moveTo>
                <a:cubicBezTo>
                  <a:pt x="518642" y="818829"/>
                  <a:pt x="515964" y="819478"/>
                  <a:pt x="514678" y="820668"/>
                </a:cubicBezTo>
                <a:cubicBezTo>
                  <a:pt x="513284" y="821966"/>
                  <a:pt x="512642" y="824346"/>
                  <a:pt x="512642" y="827807"/>
                </a:cubicBezTo>
                <a:lnTo>
                  <a:pt x="512642" y="1029219"/>
                </a:lnTo>
                <a:cubicBezTo>
                  <a:pt x="512642" y="1032789"/>
                  <a:pt x="513392" y="1035169"/>
                  <a:pt x="514678" y="1036358"/>
                </a:cubicBezTo>
                <a:cubicBezTo>
                  <a:pt x="516070" y="1037548"/>
                  <a:pt x="518642" y="1038197"/>
                  <a:pt x="522500" y="1038197"/>
                </a:cubicBezTo>
                <a:lnTo>
                  <a:pt x="539642" y="1038197"/>
                </a:lnTo>
                <a:cubicBezTo>
                  <a:pt x="543712" y="1038197"/>
                  <a:pt x="546392" y="1037548"/>
                  <a:pt x="547570" y="1036358"/>
                </a:cubicBezTo>
                <a:cubicBezTo>
                  <a:pt x="548748" y="1035060"/>
                  <a:pt x="549392" y="1032681"/>
                  <a:pt x="549392" y="1029219"/>
                </a:cubicBezTo>
                <a:lnTo>
                  <a:pt x="549392" y="952527"/>
                </a:lnTo>
                <a:lnTo>
                  <a:pt x="582604" y="952527"/>
                </a:lnTo>
                <a:lnTo>
                  <a:pt x="623748" y="1029219"/>
                </a:lnTo>
                <a:cubicBezTo>
                  <a:pt x="625782" y="1032897"/>
                  <a:pt x="627604" y="1035385"/>
                  <a:pt x="629212" y="1036467"/>
                </a:cubicBezTo>
                <a:cubicBezTo>
                  <a:pt x="630818" y="1037657"/>
                  <a:pt x="633282" y="1038197"/>
                  <a:pt x="636496" y="1038197"/>
                </a:cubicBezTo>
                <a:lnTo>
                  <a:pt x="659424" y="1038197"/>
                </a:lnTo>
                <a:cubicBezTo>
                  <a:pt x="664674" y="1038197"/>
                  <a:pt x="667352" y="1036467"/>
                  <a:pt x="667352" y="1033222"/>
                </a:cubicBezTo>
                <a:cubicBezTo>
                  <a:pt x="667352" y="1032248"/>
                  <a:pt x="667032" y="1030842"/>
                  <a:pt x="666174" y="1029219"/>
                </a:cubicBezTo>
                <a:lnTo>
                  <a:pt x="620748" y="947876"/>
                </a:lnTo>
                <a:cubicBezTo>
                  <a:pt x="645388" y="939655"/>
                  <a:pt x="657710" y="919968"/>
                  <a:pt x="657710" y="888707"/>
                </a:cubicBezTo>
                <a:lnTo>
                  <a:pt x="657710" y="882866"/>
                </a:lnTo>
                <a:cubicBezTo>
                  <a:pt x="657710" y="860691"/>
                  <a:pt x="652032" y="844465"/>
                  <a:pt x="640888" y="834189"/>
                </a:cubicBezTo>
                <a:cubicBezTo>
                  <a:pt x="629640" y="823913"/>
                  <a:pt x="611960" y="818829"/>
                  <a:pt x="587748" y="818829"/>
                </a:cubicBezTo>
                <a:close/>
                <a:moveTo>
                  <a:pt x="1174549" y="814827"/>
                </a:moveTo>
                <a:cubicBezTo>
                  <a:pt x="1168228" y="814827"/>
                  <a:pt x="1163192" y="816450"/>
                  <a:pt x="1159442" y="819586"/>
                </a:cubicBezTo>
                <a:cubicBezTo>
                  <a:pt x="1155692" y="822832"/>
                  <a:pt x="1153764" y="827375"/>
                  <a:pt x="1153764" y="833324"/>
                </a:cubicBezTo>
                <a:lnTo>
                  <a:pt x="1153764" y="839814"/>
                </a:lnTo>
                <a:cubicBezTo>
                  <a:pt x="1153764" y="845547"/>
                  <a:pt x="1155692" y="850090"/>
                  <a:pt x="1159442" y="853335"/>
                </a:cubicBezTo>
                <a:cubicBezTo>
                  <a:pt x="1163192" y="856689"/>
                  <a:pt x="1168228" y="858311"/>
                  <a:pt x="1174549" y="858311"/>
                </a:cubicBezTo>
                <a:cubicBezTo>
                  <a:pt x="1181085" y="858311"/>
                  <a:pt x="1186227" y="856581"/>
                  <a:pt x="1189977" y="853335"/>
                </a:cubicBezTo>
                <a:cubicBezTo>
                  <a:pt x="1193727" y="850090"/>
                  <a:pt x="1195656" y="845547"/>
                  <a:pt x="1195656" y="839814"/>
                </a:cubicBezTo>
                <a:lnTo>
                  <a:pt x="1195656" y="833324"/>
                </a:lnTo>
                <a:cubicBezTo>
                  <a:pt x="1195656" y="827375"/>
                  <a:pt x="1193727" y="822723"/>
                  <a:pt x="1189977" y="819586"/>
                </a:cubicBezTo>
                <a:cubicBezTo>
                  <a:pt x="1186227" y="816450"/>
                  <a:pt x="1180870" y="814827"/>
                  <a:pt x="1174549" y="814827"/>
                </a:cubicBezTo>
                <a:close/>
                <a:moveTo>
                  <a:pt x="1022626" y="814827"/>
                </a:moveTo>
                <a:cubicBezTo>
                  <a:pt x="1016305" y="814827"/>
                  <a:pt x="1011269" y="816450"/>
                  <a:pt x="1007519" y="819586"/>
                </a:cubicBezTo>
                <a:cubicBezTo>
                  <a:pt x="1003770" y="822832"/>
                  <a:pt x="1001841" y="827375"/>
                  <a:pt x="1001841" y="833324"/>
                </a:cubicBezTo>
                <a:lnTo>
                  <a:pt x="1001841" y="839814"/>
                </a:lnTo>
                <a:cubicBezTo>
                  <a:pt x="1001841" y="845547"/>
                  <a:pt x="1003770" y="850090"/>
                  <a:pt x="1007519" y="853335"/>
                </a:cubicBezTo>
                <a:cubicBezTo>
                  <a:pt x="1011269" y="856689"/>
                  <a:pt x="1016305" y="858311"/>
                  <a:pt x="1022626" y="858311"/>
                </a:cubicBezTo>
                <a:cubicBezTo>
                  <a:pt x="1029162" y="858311"/>
                  <a:pt x="1034304" y="856581"/>
                  <a:pt x="1038054" y="853335"/>
                </a:cubicBezTo>
                <a:cubicBezTo>
                  <a:pt x="1041805" y="850090"/>
                  <a:pt x="1043733" y="845547"/>
                  <a:pt x="1043733" y="839814"/>
                </a:cubicBezTo>
                <a:lnTo>
                  <a:pt x="1043733" y="833324"/>
                </a:lnTo>
                <a:cubicBezTo>
                  <a:pt x="1043733" y="827375"/>
                  <a:pt x="1041805" y="822723"/>
                  <a:pt x="1038054" y="819586"/>
                </a:cubicBezTo>
                <a:cubicBezTo>
                  <a:pt x="1034304" y="816450"/>
                  <a:pt x="1028948" y="814827"/>
                  <a:pt x="1022626" y="8148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5E8F0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058173-E383-7A26-F1A4-83E104E6AA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478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058173-E383-7A26-F1A4-83E104E6A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2751" y="2236197"/>
            <a:ext cx="6408749" cy="2700994"/>
          </a:xfrm>
        </p:spPr>
        <p:txBody>
          <a:bodyPr vert="horz" anchor="b"/>
          <a:lstStyle>
            <a:lvl1pPr algn="l" rt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E588CE3-C114-1F17-5294-7F8B1B16C5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3238" y="5107996"/>
            <a:ext cx="6408749" cy="50400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6C4C33-B4BC-9E99-C5BA-78831DB79E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316981"/>
            <a:ext cx="1906587" cy="157966"/>
          </a:xfrm>
          <a:effectLst/>
        </p:spPr>
        <p:txBody>
          <a:bodyPr vert="horz" wrap="square" anchor="t">
            <a:noAutofit/>
          </a:bodyPr>
          <a:lstStyle>
            <a:lvl1pPr marL="0" indent="0" algn="l" rtl="0">
              <a:lnSpc>
                <a:spcPct val="100000"/>
              </a:lnSpc>
              <a:buFont typeface="Arial" panose="020B0604020202020204" pitchFamily="34" charset="0"/>
              <a:buChar char="​"/>
              <a:defRPr sz="900" b="0" i="1" u="none" strike="noStrike">
                <a:solidFill>
                  <a:schemeClr val="bg1">
                    <a:lumMod val="100000"/>
                  </a:schemeClr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2pPr>
            <a:lvl3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3pPr>
            <a:lvl4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4pPr>
            <a:lvl5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5pPr>
            <a:lvl6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6pPr>
            <a:lvl7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7pPr>
            <a:lvl8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8pPr>
            <a:lvl9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bg1">
                    <a:lumMod val="100000"/>
                  </a:schemeClr>
                </a:solidFill>
                <a:latin typeface="AvenirNext LT Pro Regular" panose="020B0504020202020204" pitchFamily="34" charset="0"/>
              </a:defRPr>
            </a:lvl9pPr>
          </a:lstStyle>
          <a:p>
            <a:pPr lvl="0"/>
            <a:r>
              <a:rPr lang="en-GB"/>
              <a:t>Click to add Name and Sur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4ED17-DCDF-EC9D-C57C-5BADF23A2EE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503238" y="6020457"/>
            <a:ext cx="1906587" cy="180000"/>
          </a:xfrm>
        </p:spPr>
        <p:txBody>
          <a:bodyPr lIns="0" tIns="0" rIns="0" bIns="0"/>
          <a:lstStyle>
            <a:lvl1pPr algn="l" rtl="0">
              <a:defRPr sz="900" b="1" i="1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95" name="Group 494">
            <a:extLst>
              <a:ext uri="{FF2B5EF4-FFF2-40B4-BE49-F238E27FC236}">
                <a16:creationId xmlns:a16="http://schemas.microsoft.com/office/drawing/2014/main" id="{06DDAA4A-977C-71F5-664F-D629F9A5EB5E}"/>
              </a:ext>
            </a:extLst>
          </p:cNvPr>
          <p:cNvGrpSpPr/>
          <p:nvPr userDrawn="1"/>
        </p:nvGrpSpPr>
        <p:grpSpPr>
          <a:xfrm>
            <a:off x="512750" y="814827"/>
            <a:ext cx="3134801" cy="1408306"/>
            <a:chOff x="1753986" y="2707575"/>
            <a:chExt cx="6648078" cy="2986643"/>
          </a:xfrm>
        </p:grpSpPr>
        <p:pic>
          <p:nvPicPr>
            <p:cNvPr id="496" name="Graphic 495">
              <a:extLst>
                <a:ext uri="{FF2B5EF4-FFF2-40B4-BE49-F238E27FC236}">
                  <a16:creationId xmlns:a16="http://schemas.microsoft.com/office/drawing/2014/main" id="{F53F3A8E-0DC8-A7C9-902D-944B3CD2C26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497" name="Graphic 496">
              <a:extLst>
                <a:ext uri="{FF2B5EF4-FFF2-40B4-BE49-F238E27FC236}">
                  <a16:creationId xmlns:a16="http://schemas.microsoft.com/office/drawing/2014/main" id="{53220094-4235-BA54-09DA-F2AC35E29B6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498" name="Graphic 497">
              <a:extLst>
                <a:ext uri="{FF2B5EF4-FFF2-40B4-BE49-F238E27FC236}">
                  <a16:creationId xmlns:a16="http://schemas.microsoft.com/office/drawing/2014/main" id="{1C1FE51C-2730-A4CD-2408-C342065EC44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pic>
        <p:nvPicPr>
          <p:cNvPr id="499" name="Graphic 498">
            <a:extLst>
              <a:ext uri="{FF2B5EF4-FFF2-40B4-BE49-F238E27FC236}">
                <a16:creationId xmlns:a16="http://schemas.microsoft.com/office/drawing/2014/main" id="{8F0A70B4-5F90-A3B6-F46D-772E2D0E8A6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50558" y="6232596"/>
            <a:ext cx="636617" cy="156546"/>
          </a:xfrm>
          <a:prstGeom prst="rect">
            <a:avLst/>
          </a:prstGeom>
        </p:spPr>
      </p:pic>
      <p:pic>
        <p:nvPicPr>
          <p:cNvPr id="500" name="Graphic 499">
            <a:extLst>
              <a:ext uri="{FF2B5EF4-FFF2-40B4-BE49-F238E27FC236}">
                <a16:creationId xmlns:a16="http://schemas.microsoft.com/office/drawing/2014/main" id="{FA17ADB0-FF52-2EB5-B9B1-AC395C5BD8B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246960" y="6086487"/>
            <a:ext cx="459199" cy="448764"/>
          </a:xfrm>
          <a:prstGeom prst="rect">
            <a:avLst/>
          </a:prstGeom>
        </p:spPr>
      </p:pic>
      <p:pic>
        <p:nvPicPr>
          <p:cNvPr id="501" name="Graphic 500">
            <a:extLst>
              <a:ext uri="{FF2B5EF4-FFF2-40B4-BE49-F238E27FC236}">
                <a16:creationId xmlns:a16="http://schemas.microsoft.com/office/drawing/2014/main" id="{41A0C022-0857-7EA0-6121-F5B093B097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63289" y="6201288"/>
            <a:ext cx="939271" cy="219163"/>
          </a:xfrm>
          <a:prstGeom prst="rect">
            <a:avLst/>
          </a:prstGeom>
        </p:spPr>
      </p:pic>
      <p:sp>
        <p:nvSpPr>
          <p:cNvPr id="502" name="TextBox 501">
            <a:extLst>
              <a:ext uri="{FF2B5EF4-FFF2-40B4-BE49-F238E27FC236}">
                <a16:creationId xmlns:a16="http://schemas.microsoft.com/office/drawing/2014/main" id="{3B768216-8C99-FCCF-360D-7FA4977E82B4}"/>
              </a:ext>
            </a:extLst>
          </p:cNvPr>
          <p:cNvSpPr txBox="1"/>
          <p:nvPr userDrawn="1"/>
        </p:nvSpPr>
        <p:spPr>
          <a:xfrm>
            <a:off x="8963289" y="5898815"/>
            <a:ext cx="100508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+mj-lt"/>
                <a:cs typeface="Oscine" panose="020B0506040202020204" pitchFamily="34" charset="0"/>
              </a:rPr>
              <a:t>With support from:</a:t>
            </a:r>
          </a:p>
        </p:txBody>
      </p:sp>
      <p:pic>
        <p:nvPicPr>
          <p:cNvPr id="503" name="Graphic 502">
            <a:extLst>
              <a:ext uri="{FF2B5EF4-FFF2-40B4-BE49-F238E27FC236}">
                <a16:creationId xmlns:a16="http://schemas.microsoft.com/office/drawing/2014/main" id="{5BAFD9C0-BC6B-06BF-9D03-291087F5E9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79148" y="6151905"/>
            <a:ext cx="657490" cy="344400"/>
          </a:xfrm>
          <a:prstGeom prst="rect">
            <a:avLst/>
          </a:prstGeom>
        </p:spPr>
      </p:pic>
      <p:pic>
        <p:nvPicPr>
          <p:cNvPr id="504" name="Graphic 503">
            <a:extLst>
              <a:ext uri="{FF2B5EF4-FFF2-40B4-BE49-F238E27FC236}">
                <a16:creationId xmlns:a16="http://schemas.microsoft.com/office/drawing/2014/main" id="{5D72FA8A-B7FF-941F-9809-56D1B68867D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92918" y="6151905"/>
            <a:ext cx="344400" cy="344400"/>
          </a:xfrm>
          <a:prstGeom prst="rect">
            <a:avLst/>
          </a:prstGeom>
        </p:spPr>
      </p:pic>
      <p:sp>
        <p:nvSpPr>
          <p:cNvPr id="505" name="TextBox 504">
            <a:extLst>
              <a:ext uri="{FF2B5EF4-FFF2-40B4-BE49-F238E27FC236}">
                <a16:creationId xmlns:a16="http://schemas.microsoft.com/office/drawing/2014/main" id="{F35A6921-9875-12B5-30A0-2352513F1064}"/>
              </a:ext>
            </a:extLst>
          </p:cNvPr>
          <p:cNvSpPr txBox="1"/>
          <p:nvPr userDrawn="1"/>
        </p:nvSpPr>
        <p:spPr>
          <a:xfrm>
            <a:off x="6179148" y="5955176"/>
            <a:ext cx="386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+mj-lt"/>
                <a:cs typeface="Oscine" panose="020B0506040202020204" pitchFamily="34" charset="0"/>
              </a:rPr>
              <a:t>Led by:</a:t>
            </a:r>
          </a:p>
        </p:txBody>
      </p:sp>
      <p:grpSp>
        <p:nvGrpSpPr>
          <p:cNvPr id="506" name="Group 505">
            <a:extLst>
              <a:ext uri="{FF2B5EF4-FFF2-40B4-BE49-F238E27FC236}">
                <a16:creationId xmlns:a16="http://schemas.microsoft.com/office/drawing/2014/main" id="{3731458B-0069-0CC7-5D96-B6074E8C3A18}"/>
              </a:ext>
            </a:extLst>
          </p:cNvPr>
          <p:cNvGrpSpPr/>
          <p:nvPr userDrawn="1"/>
        </p:nvGrpSpPr>
        <p:grpSpPr>
          <a:xfrm>
            <a:off x="3098095" y="5955176"/>
            <a:ext cx="1655083" cy="599436"/>
            <a:chOff x="6456005" y="2022640"/>
            <a:chExt cx="2016068" cy="730177"/>
          </a:xfrm>
        </p:grpSpPr>
        <p:pic>
          <p:nvPicPr>
            <p:cNvPr id="507" name="Graphic 506">
              <a:extLst>
                <a:ext uri="{FF2B5EF4-FFF2-40B4-BE49-F238E27FC236}">
                  <a16:creationId xmlns:a16="http://schemas.microsoft.com/office/drawing/2014/main" id="{35CB797F-7EB0-DFEE-41BF-8C032C34512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45981" y="2282647"/>
              <a:ext cx="926092" cy="470170"/>
            </a:xfrm>
            <a:prstGeom prst="rect">
              <a:avLst/>
            </a:prstGeom>
          </p:spPr>
        </p:pic>
        <p:sp>
          <p:nvSpPr>
            <p:cNvPr id="508" name="TextBox 507">
              <a:extLst>
                <a:ext uri="{FF2B5EF4-FFF2-40B4-BE49-F238E27FC236}">
                  <a16:creationId xmlns:a16="http://schemas.microsoft.com/office/drawing/2014/main" id="{45C70E62-7F16-54A7-7562-D9F8860C920C}"/>
                </a:ext>
              </a:extLst>
            </p:cNvPr>
            <p:cNvSpPr txBox="1"/>
            <p:nvPr/>
          </p:nvSpPr>
          <p:spPr>
            <a:xfrm>
              <a:off x="6456042" y="2022640"/>
              <a:ext cx="968503" cy="1874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bg1"/>
                  </a:solidFill>
                  <a:latin typeface="+mj-lt"/>
                  <a:cs typeface="Oscine" panose="020B0506040202020204" pitchFamily="34" charset="0"/>
                </a:rPr>
                <a:t>Partnership of:</a:t>
              </a:r>
            </a:p>
          </p:txBody>
        </p:sp>
        <p:grpSp>
          <p:nvGrpSpPr>
            <p:cNvPr id="509" name="Group 508">
              <a:extLst>
                <a:ext uri="{FF2B5EF4-FFF2-40B4-BE49-F238E27FC236}">
                  <a16:creationId xmlns:a16="http://schemas.microsoft.com/office/drawing/2014/main" id="{A1E6920D-C0BD-8726-EB1D-3F127EE1472F}"/>
                </a:ext>
              </a:extLst>
            </p:cNvPr>
            <p:cNvGrpSpPr/>
            <p:nvPr/>
          </p:nvGrpSpPr>
          <p:grpSpPr>
            <a:xfrm>
              <a:off x="6456005" y="2282607"/>
              <a:ext cx="858056" cy="467696"/>
              <a:chOff x="6456005" y="2282607"/>
              <a:chExt cx="858056" cy="467696"/>
            </a:xfrm>
          </p:grpSpPr>
          <p:sp>
            <p:nvSpPr>
              <p:cNvPr id="510" name="Freeform 509">
                <a:extLst>
                  <a:ext uri="{FF2B5EF4-FFF2-40B4-BE49-F238E27FC236}">
                    <a16:creationId xmlns:a16="http://schemas.microsoft.com/office/drawing/2014/main" id="{8B019BBE-B41F-9C4E-F68E-B2FFE4E02177}"/>
                  </a:ext>
                </a:extLst>
              </p:cNvPr>
              <p:cNvSpPr/>
              <p:nvPr/>
            </p:nvSpPr>
            <p:spPr>
              <a:xfrm>
                <a:off x="6456005" y="2282607"/>
                <a:ext cx="462117" cy="467696"/>
              </a:xfrm>
              <a:custGeom>
                <a:avLst/>
                <a:gdLst>
                  <a:gd name="connsiteX0" fmla="*/ 253854 w 462117"/>
                  <a:gd name="connsiteY0" fmla="*/ 894 h 467696"/>
                  <a:gd name="connsiteX1" fmla="*/ 326147 w 462117"/>
                  <a:gd name="connsiteY1" fmla="*/ 20449 h 467696"/>
                  <a:gd name="connsiteX2" fmla="*/ 435695 w 462117"/>
                  <a:gd name="connsiteY2" fmla="*/ 125062 h 467696"/>
                  <a:gd name="connsiteX3" fmla="*/ 459863 w 462117"/>
                  <a:gd name="connsiteY3" fmla="*/ 201358 h 467696"/>
                  <a:gd name="connsiteX4" fmla="*/ 437384 w 462117"/>
                  <a:gd name="connsiteY4" fmla="*/ 338669 h 467696"/>
                  <a:gd name="connsiteX5" fmla="*/ 281927 w 462117"/>
                  <a:gd name="connsiteY5" fmla="*/ 461875 h 467696"/>
                  <a:gd name="connsiteX6" fmla="*/ 221243 w 462117"/>
                  <a:gd name="connsiteY6" fmla="*/ 467431 h 467696"/>
                  <a:gd name="connsiteX7" fmla="*/ 83833 w 462117"/>
                  <a:gd name="connsiteY7" fmla="*/ 413896 h 467696"/>
                  <a:gd name="connsiteX8" fmla="*/ 6685 w 462117"/>
                  <a:gd name="connsiteY8" fmla="*/ 289835 h 467696"/>
                  <a:gd name="connsiteX9" fmla="*/ 36 w 462117"/>
                  <a:gd name="connsiteY9" fmla="*/ 238544 h 467696"/>
                  <a:gd name="connsiteX10" fmla="*/ 43201 w 462117"/>
                  <a:gd name="connsiteY10" fmla="*/ 97600 h 467696"/>
                  <a:gd name="connsiteX11" fmla="*/ 174806 w 462117"/>
                  <a:gd name="connsiteY11" fmla="*/ 6771 h 467696"/>
                  <a:gd name="connsiteX12" fmla="*/ 214383 w 462117"/>
                  <a:gd name="connsiteY12" fmla="*/ 467 h 467696"/>
                  <a:gd name="connsiteX13" fmla="*/ 253959 w 462117"/>
                  <a:gd name="connsiteY13" fmla="*/ 894 h 467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117" h="467696">
                    <a:moveTo>
                      <a:pt x="253854" y="894"/>
                    </a:moveTo>
                    <a:cubicBezTo>
                      <a:pt x="279077" y="3352"/>
                      <a:pt x="303140" y="9763"/>
                      <a:pt x="326147" y="20449"/>
                    </a:cubicBezTo>
                    <a:cubicBezTo>
                      <a:pt x="374272" y="42782"/>
                      <a:pt x="410788" y="77831"/>
                      <a:pt x="435695" y="125062"/>
                    </a:cubicBezTo>
                    <a:cubicBezTo>
                      <a:pt x="448254" y="148998"/>
                      <a:pt x="456275" y="174430"/>
                      <a:pt x="459863" y="201358"/>
                    </a:cubicBezTo>
                    <a:cubicBezTo>
                      <a:pt x="466195" y="249443"/>
                      <a:pt x="459336" y="295498"/>
                      <a:pt x="437384" y="338669"/>
                    </a:cubicBezTo>
                    <a:cubicBezTo>
                      <a:pt x="404245" y="403638"/>
                      <a:pt x="352109" y="444671"/>
                      <a:pt x="281927" y="461875"/>
                    </a:cubicBezTo>
                    <a:cubicBezTo>
                      <a:pt x="261980" y="466790"/>
                      <a:pt x="241611" y="468393"/>
                      <a:pt x="221243" y="467431"/>
                    </a:cubicBezTo>
                    <a:cubicBezTo>
                      <a:pt x="169635" y="464867"/>
                      <a:pt x="123620" y="447342"/>
                      <a:pt x="83833" y="413896"/>
                    </a:cubicBezTo>
                    <a:cubicBezTo>
                      <a:pt x="44784" y="381091"/>
                      <a:pt x="19138" y="339630"/>
                      <a:pt x="6685" y="289835"/>
                    </a:cubicBezTo>
                    <a:cubicBezTo>
                      <a:pt x="2463" y="273059"/>
                      <a:pt x="352" y="255855"/>
                      <a:pt x="36" y="238544"/>
                    </a:cubicBezTo>
                    <a:cubicBezTo>
                      <a:pt x="-809" y="186825"/>
                      <a:pt x="13333" y="139594"/>
                      <a:pt x="43201" y="97600"/>
                    </a:cubicBezTo>
                    <a:cubicBezTo>
                      <a:pt x="76128" y="51224"/>
                      <a:pt x="120243" y="21090"/>
                      <a:pt x="174806" y="6771"/>
                    </a:cubicBezTo>
                    <a:cubicBezTo>
                      <a:pt x="187787" y="3352"/>
                      <a:pt x="200979" y="1322"/>
                      <a:pt x="214383" y="467"/>
                    </a:cubicBezTo>
                    <a:cubicBezTo>
                      <a:pt x="232007" y="-709"/>
                      <a:pt x="251321" y="681"/>
                      <a:pt x="253959" y="894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1" name="Freeform 510">
                <a:extLst>
                  <a:ext uri="{FF2B5EF4-FFF2-40B4-BE49-F238E27FC236}">
                    <a16:creationId xmlns:a16="http://schemas.microsoft.com/office/drawing/2014/main" id="{53E69D00-70E8-7872-6A05-4E20383BBFD5}"/>
                  </a:ext>
                </a:extLst>
              </p:cNvPr>
              <p:cNvSpPr/>
              <p:nvPr/>
            </p:nvSpPr>
            <p:spPr>
              <a:xfrm>
                <a:off x="6501000" y="2497322"/>
                <a:ext cx="43587" cy="46375"/>
              </a:xfrm>
              <a:custGeom>
                <a:avLst/>
                <a:gdLst>
                  <a:gd name="connsiteX0" fmla="*/ 27545 w 43587"/>
                  <a:gd name="connsiteY0" fmla="*/ 46269 h 46375"/>
                  <a:gd name="connsiteX1" fmla="*/ 18680 w 43587"/>
                  <a:gd name="connsiteY1" fmla="*/ 29920 h 46375"/>
                  <a:gd name="connsiteX2" fmla="*/ 14459 w 43587"/>
                  <a:gd name="connsiteY2" fmla="*/ 29920 h 46375"/>
                  <a:gd name="connsiteX3" fmla="*/ 14459 w 43587"/>
                  <a:gd name="connsiteY3" fmla="*/ 46269 h 46375"/>
                  <a:gd name="connsiteX4" fmla="*/ 0 w 43587"/>
                  <a:gd name="connsiteY4" fmla="*/ 46269 h 46375"/>
                  <a:gd name="connsiteX5" fmla="*/ 0 w 43587"/>
                  <a:gd name="connsiteY5" fmla="*/ 0 h 46375"/>
                  <a:gd name="connsiteX6" fmla="*/ 24696 w 43587"/>
                  <a:gd name="connsiteY6" fmla="*/ 0 h 46375"/>
                  <a:gd name="connsiteX7" fmla="*/ 28601 w 43587"/>
                  <a:gd name="connsiteY7" fmla="*/ 214 h 46375"/>
                  <a:gd name="connsiteX8" fmla="*/ 39682 w 43587"/>
                  <a:gd name="connsiteY8" fmla="*/ 6518 h 46375"/>
                  <a:gd name="connsiteX9" fmla="*/ 41793 w 43587"/>
                  <a:gd name="connsiteY9" fmla="*/ 14853 h 46375"/>
                  <a:gd name="connsiteX10" fmla="*/ 36410 w 43587"/>
                  <a:gd name="connsiteY10" fmla="*/ 25752 h 46375"/>
                  <a:gd name="connsiteX11" fmla="*/ 32400 w 43587"/>
                  <a:gd name="connsiteY11" fmla="*/ 27676 h 46375"/>
                  <a:gd name="connsiteX12" fmla="*/ 43587 w 43587"/>
                  <a:gd name="connsiteY12" fmla="*/ 46376 h 46375"/>
                  <a:gd name="connsiteX13" fmla="*/ 27440 w 43587"/>
                  <a:gd name="connsiteY13" fmla="*/ 46376 h 46375"/>
                  <a:gd name="connsiteX14" fmla="*/ 26595 w 43587"/>
                  <a:gd name="connsiteY14" fmla="*/ 11754 h 46375"/>
                  <a:gd name="connsiteX15" fmla="*/ 25223 w 43587"/>
                  <a:gd name="connsiteY15" fmla="*/ 10579 h 46375"/>
                  <a:gd name="connsiteX16" fmla="*/ 20369 w 43587"/>
                  <a:gd name="connsiteY16" fmla="*/ 9617 h 46375"/>
                  <a:gd name="connsiteX17" fmla="*/ 14459 w 43587"/>
                  <a:gd name="connsiteY17" fmla="*/ 9617 h 46375"/>
                  <a:gd name="connsiteX18" fmla="*/ 14459 w 43587"/>
                  <a:gd name="connsiteY18" fmla="*/ 20410 h 46375"/>
                  <a:gd name="connsiteX19" fmla="*/ 20474 w 43587"/>
                  <a:gd name="connsiteY19" fmla="*/ 20410 h 46375"/>
                  <a:gd name="connsiteX20" fmla="*/ 27123 w 43587"/>
                  <a:gd name="connsiteY20" fmla="*/ 17097 h 46375"/>
                  <a:gd name="connsiteX21" fmla="*/ 27440 w 43587"/>
                  <a:gd name="connsiteY21" fmla="*/ 15067 h 46375"/>
                  <a:gd name="connsiteX22" fmla="*/ 26490 w 43587"/>
                  <a:gd name="connsiteY22" fmla="*/ 11754 h 4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587" h="46375">
                    <a:moveTo>
                      <a:pt x="27545" y="46269"/>
                    </a:moveTo>
                    <a:lnTo>
                      <a:pt x="18680" y="29920"/>
                    </a:lnTo>
                    <a:lnTo>
                      <a:pt x="14459" y="29920"/>
                    </a:lnTo>
                    <a:lnTo>
                      <a:pt x="14459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24696" y="0"/>
                    </a:lnTo>
                    <a:cubicBezTo>
                      <a:pt x="25962" y="0"/>
                      <a:pt x="27334" y="0"/>
                      <a:pt x="28601" y="214"/>
                    </a:cubicBezTo>
                    <a:cubicBezTo>
                      <a:pt x="30606" y="427"/>
                      <a:pt x="36410" y="962"/>
                      <a:pt x="39682" y="6518"/>
                    </a:cubicBezTo>
                    <a:cubicBezTo>
                      <a:pt x="40421" y="7907"/>
                      <a:pt x="41793" y="10793"/>
                      <a:pt x="41793" y="14853"/>
                    </a:cubicBezTo>
                    <a:cubicBezTo>
                      <a:pt x="41793" y="19234"/>
                      <a:pt x="40104" y="23188"/>
                      <a:pt x="36410" y="25752"/>
                    </a:cubicBezTo>
                    <a:cubicBezTo>
                      <a:pt x="35461" y="26394"/>
                      <a:pt x="34616" y="26821"/>
                      <a:pt x="32400" y="27676"/>
                    </a:cubicBezTo>
                    <a:lnTo>
                      <a:pt x="43587" y="46376"/>
                    </a:lnTo>
                    <a:lnTo>
                      <a:pt x="27440" y="46376"/>
                    </a:lnTo>
                    <a:close/>
                    <a:moveTo>
                      <a:pt x="26595" y="11754"/>
                    </a:moveTo>
                    <a:cubicBezTo>
                      <a:pt x="26173" y="11113"/>
                      <a:pt x="25540" y="10686"/>
                      <a:pt x="25223" y="10579"/>
                    </a:cubicBezTo>
                    <a:cubicBezTo>
                      <a:pt x="23746" y="9724"/>
                      <a:pt x="22057" y="9617"/>
                      <a:pt x="20369" y="9617"/>
                    </a:cubicBezTo>
                    <a:lnTo>
                      <a:pt x="14459" y="9617"/>
                    </a:lnTo>
                    <a:lnTo>
                      <a:pt x="14459" y="20410"/>
                    </a:lnTo>
                    <a:lnTo>
                      <a:pt x="20474" y="20410"/>
                    </a:lnTo>
                    <a:cubicBezTo>
                      <a:pt x="23113" y="20410"/>
                      <a:pt x="26068" y="20089"/>
                      <a:pt x="27123" y="17097"/>
                    </a:cubicBezTo>
                    <a:cubicBezTo>
                      <a:pt x="27123" y="16883"/>
                      <a:pt x="27440" y="16029"/>
                      <a:pt x="27440" y="15067"/>
                    </a:cubicBezTo>
                    <a:cubicBezTo>
                      <a:pt x="27440" y="13998"/>
                      <a:pt x="27123" y="12716"/>
                      <a:pt x="26490" y="11754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2" name="Freeform 511">
                <a:extLst>
                  <a:ext uri="{FF2B5EF4-FFF2-40B4-BE49-F238E27FC236}">
                    <a16:creationId xmlns:a16="http://schemas.microsoft.com/office/drawing/2014/main" id="{464BE9BD-1D13-DC32-A92F-F0D950F20A3E}"/>
                  </a:ext>
                </a:extLst>
              </p:cNvPr>
              <p:cNvSpPr/>
              <p:nvPr/>
            </p:nvSpPr>
            <p:spPr>
              <a:xfrm>
                <a:off x="6551658" y="2497322"/>
                <a:ext cx="38099" cy="46269"/>
              </a:xfrm>
              <a:custGeom>
                <a:avLst/>
                <a:gdLst>
                  <a:gd name="connsiteX0" fmla="*/ 0 w 38099"/>
                  <a:gd name="connsiteY0" fmla="*/ 46269 h 46269"/>
                  <a:gd name="connsiteX1" fmla="*/ 0 w 38099"/>
                  <a:gd name="connsiteY1" fmla="*/ 0 h 46269"/>
                  <a:gd name="connsiteX2" fmla="*/ 36199 w 38099"/>
                  <a:gd name="connsiteY2" fmla="*/ 0 h 46269"/>
                  <a:gd name="connsiteX3" fmla="*/ 36199 w 38099"/>
                  <a:gd name="connsiteY3" fmla="*/ 10151 h 46269"/>
                  <a:gd name="connsiteX4" fmla="*/ 14459 w 38099"/>
                  <a:gd name="connsiteY4" fmla="*/ 10151 h 46269"/>
                  <a:gd name="connsiteX5" fmla="*/ 14459 w 38099"/>
                  <a:gd name="connsiteY5" fmla="*/ 16990 h 46269"/>
                  <a:gd name="connsiteX6" fmla="*/ 34722 w 38099"/>
                  <a:gd name="connsiteY6" fmla="*/ 16990 h 46269"/>
                  <a:gd name="connsiteX7" fmla="*/ 34722 w 38099"/>
                  <a:gd name="connsiteY7" fmla="*/ 27035 h 46269"/>
                  <a:gd name="connsiteX8" fmla="*/ 14459 w 38099"/>
                  <a:gd name="connsiteY8" fmla="*/ 27035 h 46269"/>
                  <a:gd name="connsiteX9" fmla="*/ 14459 w 38099"/>
                  <a:gd name="connsiteY9" fmla="*/ 36224 h 46269"/>
                  <a:gd name="connsiteX10" fmla="*/ 38099 w 38099"/>
                  <a:gd name="connsiteY10" fmla="*/ 36224 h 46269"/>
                  <a:gd name="connsiteX11" fmla="*/ 38099 w 38099"/>
                  <a:gd name="connsiteY11" fmla="*/ 46269 h 46269"/>
                  <a:gd name="connsiteX12" fmla="*/ 0 w 38099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6199" y="0"/>
                    </a:lnTo>
                    <a:lnTo>
                      <a:pt x="36199" y="10151"/>
                    </a:lnTo>
                    <a:lnTo>
                      <a:pt x="14459" y="10151"/>
                    </a:lnTo>
                    <a:lnTo>
                      <a:pt x="14459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459" y="27035"/>
                    </a:lnTo>
                    <a:lnTo>
                      <a:pt x="14459" y="36224"/>
                    </a:lnTo>
                    <a:lnTo>
                      <a:pt x="38099" y="36224"/>
                    </a:lnTo>
                    <a:lnTo>
                      <a:pt x="3809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4A1CF9C7-C344-61D4-4D82-901D09A08941}"/>
                  </a:ext>
                </a:extLst>
              </p:cNvPr>
              <p:cNvSpPr/>
              <p:nvPr/>
            </p:nvSpPr>
            <p:spPr>
              <a:xfrm>
                <a:off x="6595878" y="2495719"/>
                <a:ext cx="44959" cy="49261"/>
              </a:xfrm>
              <a:custGeom>
                <a:avLst/>
                <a:gdLst>
                  <a:gd name="connsiteX0" fmla="*/ 38838 w 44959"/>
                  <a:gd name="connsiteY0" fmla="*/ 44987 h 49261"/>
                  <a:gd name="connsiteX1" fmla="*/ 23324 w 44959"/>
                  <a:gd name="connsiteY1" fmla="*/ 49261 h 49261"/>
                  <a:gd name="connsiteX2" fmla="*/ 4855 w 44959"/>
                  <a:gd name="connsiteY2" fmla="*/ 44025 h 49261"/>
                  <a:gd name="connsiteX3" fmla="*/ 0 w 44959"/>
                  <a:gd name="connsiteY3" fmla="*/ 39003 h 49261"/>
                  <a:gd name="connsiteX4" fmla="*/ 11081 w 44959"/>
                  <a:gd name="connsiteY4" fmla="*/ 31843 h 49261"/>
                  <a:gd name="connsiteX5" fmla="*/ 13298 w 44959"/>
                  <a:gd name="connsiteY5" fmla="*/ 34622 h 49261"/>
                  <a:gd name="connsiteX6" fmla="*/ 23852 w 44959"/>
                  <a:gd name="connsiteY6" fmla="*/ 37934 h 49261"/>
                  <a:gd name="connsiteX7" fmla="*/ 30817 w 44959"/>
                  <a:gd name="connsiteY7" fmla="*/ 34408 h 49261"/>
                  <a:gd name="connsiteX8" fmla="*/ 30500 w 44959"/>
                  <a:gd name="connsiteY8" fmla="*/ 33339 h 49261"/>
                  <a:gd name="connsiteX9" fmla="*/ 28284 w 44959"/>
                  <a:gd name="connsiteY9" fmla="*/ 31630 h 49261"/>
                  <a:gd name="connsiteX10" fmla="*/ 19630 w 44959"/>
                  <a:gd name="connsiteY10" fmla="*/ 29813 h 49261"/>
                  <a:gd name="connsiteX11" fmla="*/ 7810 w 44959"/>
                  <a:gd name="connsiteY11" fmla="*/ 25005 h 49261"/>
                  <a:gd name="connsiteX12" fmla="*/ 3905 w 44959"/>
                  <a:gd name="connsiteY12" fmla="*/ 15601 h 49261"/>
                  <a:gd name="connsiteX13" fmla="*/ 5593 w 44959"/>
                  <a:gd name="connsiteY13" fmla="*/ 8549 h 49261"/>
                  <a:gd name="connsiteX14" fmla="*/ 24063 w 44959"/>
                  <a:gd name="connsiteY14" fmla="*/ 0 h 49261"/>
                  <a:gd name="connsiteX15" fmla="*/ 41160 w 44959"/>
                  <a:gd name="connsiteY15" fmla="*/ 5022 h 49261"/>
                  <a:gd name="connsiteX16" fmla="*/ 44642 w 44959"/>
                  <a:gd name="connsiteY16" fmla="*/ 8228 h 49261"/>
                  <a:gd name="connsiteX17" fmla="*/ 35566 w 44959"/>
                  <a:gd name="connsiteY17" fmla="*/ 15922 h 49261"/>
                  <a:gd name="connsiteX18" fmla="*/ 34300 w 44959"/>
                  <a:gd name="connsiteY18" fmla="*/ 14426 h 49261"/>
                  <a:gd name="connsiteX19" fmla="*/ 23640 w 44959"/>
                  <a:gd name="connsiteY19" fmla="*/ 11220 h 49261"/>
                  <a:gd name="connsiteX20" fmla="*/ 20158 w 44959"/>
                  <a:gd name="connsiteY20" fmla="*/ 11754 h 49261"/>
                  <a:gd name="connsiteX21" fmla="*/ 18364 w 44959"/>
                  <a:gd name="connsiteY21" fmla="*/ 14212 h 49261"/>
                  <a:gd name="connsiteX22" fmla="*/ 19524 w 44959"/>
                  <a:gd name="connsiteY22" fmla="*/ 16349 h 49261"/>
                  <a:gd name="connsiteX23" fmla="*/ 24590 w 44959"/>
                  <a:gd name="connsiteY23" fmla="*/ 17845 h 49261"/>
                  <a:gd name="connsiteX24" fmla="*/ 35038 w 44959"/>
                  <a:gd name="connsiteY24" fmla="*/ 20196 h 49261"/>
                  <a:gd name="connsiteX25" fmla="*/ 44959 w 44959"/>
                  <a:gd name="connsiteY25" fmla="*/ 32912 h 49261"/>
                  <a:gd name="connsiteX26" fmla="*/ 38943 w 44959"/>
                  <a:gd name="connsiteY26" fmla="*/ 44987 h 4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4959" h="49261">
                    <a:moveTo>
                      <a:pt x="38838" y="44987"/>
                    </a:moveTo>
                    <a:cubicBezTo>
                      <a:pt x="32928" y="49368"/>
                      <a:pt x="25224" y="49261"/>
                      <a:pt x="23324" y="49261"/>
                    </a:cubicBezTo>
                    <a:cubicBezTo>
                      <a:pt x="16675" y="49261"/>
                      <a:pt x="10343" y="48192"/>
                      <a:pt x="4855" y="44025"/>
                    </a:cubicBezTo>
                    <a:cubicBezTo>
                      <a:pt x="2744" y="42422"/>
                      <a:pt x="1583" y="41033"/>
                      <a:pt x="0" y="39003"/>
                    </a:cubicBezTo>
                    <a:lnTo>
                      <a:pt x="11081" y="31843"/>
                    </a:lnTo>
                    <a:cubicBezTo>
                      <a:pt x="12031" y="33446"/>
                      <a:pt x="12665" y="34087"/>
                      <a:pt x="13298" y="34622"/>
                    </a:cubicBezTo>
                    <a:cubicBezTo>
                      <a:pt x="15831" y="36866"/>
                      <a:pt x="20685" y="37934"/>
                      <a:pt x="23852" y="37934"/>
                    </a:cubicBezTo>
                    <a:cubicBezTo>
                      <a:pt x="27967" y="37934"/>
                      <a:pt x="30817" y="36652"/>
                      <a:pt x="30817" y="34408"/>
                    </a:cubicBezTo>
                    <a:cubicBezTo>
                      <a:pt x="30817" y="33874"/>
                      <a:pt x="30606" y="33446"/>
                      <a:pt x="30500" y="33339"/>
                    </a:cubicBezTo>
                    <a:cubicBezTo>
                      <a:pt x="30184" y="32698"/>
                      <a:pt x="29656" y="32057"/>
                      <a:pt x="28284" y="31630"/>
                    </a:cubicBezTo>
                    <a:cubicBezTo>
                      <a:pt x="26701" y="31095"/>
                      <a:pt x="23746" y="30668"/>
                      <a:pt x="19630" y="29813"/>
                    </a:cubicBezTo>
                    <a:cubicBezTo>
                      <a:pt x="13403" y="28531"/>
                      <a:pt x="10026" y="27035"/>
                      <a:pt x="7810" y="25005"/>
                    </a:cubicBezTo>
                    <a:cubicBezTo>
                      <a:pt x="6438" y="23722"/>
                      <a:pt x="3799" y="20730"/>
                      <a:pt x="3905" y="15601"/>
                    </a:cubicBezTo>
                    <a:cubicBezTo>
                      <a:pt x="3905" y="14319"/>
                      <a:pt x="3905" y="11541"/>
                      <a:pt x="5593" y="8549"/>
                    </a:cubicBezTo>
                    <a:cubicBezTo>
                      <a:pt x="10237" y="-107"/>
                      <a:pt x="22374" y="0"/>
                      <a:pt x="24063" y="0"/>
                    </a:cubicBezTo>
                    <a:cubicBezTo>
                      <a:pt x="26384" y="0"/>
                      <a:pt x="34616" y="107"/>
                      <a:pt x="41160" y="5022"/>
                    </a:cubicBezTo>
                    <a:cubicBezTo>
                      <a:pt x="42637" y="6091"/>
                      <a:pt x="43376" y="6946"/>
                      <a:pt x="44642" y="8228"/>
                    </a:cubicBezTo>
                    <a:lnTo>
                      <a:pt x="35566" y="15922"/>
                    </a:lnTo>
                    <a:cubicBezTo>
                      <a:pt x="34933" y="15174"/>
                      <a:pt x="34616" y="14746"/>
                      <a:pt x="34300" y="14426"/>
                    </a:cubicBezTo>
                    <a:cubicBezTo>
                      <a:pt x="31661" y="11968"/>
                      <a:pt x="27018" y="11220"/>
                      <a:pt x="23640" y="11220"/>
                    </a:cubicBezTo>
                    <a:cubicBezTo>
                      <a:pt x="23324" y="11220"/>
                      <a:pt x="21530" y="11220"/>
                      <a:pt x="20158" y="11754"/>
                    </a:cubicBezTo>
                    <a:cubicBezTo>
                      <a:pt x="19947" y="11861"/>
                      <a:pt x="18364" y="12609"/>
                      <a:pt x="18364" y="14212"/>
                    </a:cubicBezTo>
                    <a:cubicBezTo>
                      <a:pt x="18364" y="15067"/>
                      <a:pt x="18891" y="15815"/>
                      <a:pt x="19524" y="16349"/>
                    </a:cubicBezTo>
                    <a:cubicBezTo>
                      <a:pt x="20685" y="17097"/>
                      <a:pt x="23429" y="17631"/>
                      <a:pt x="24590" y="17845"/>
                    </a:cubicBezTo>
                    <a:cubicBezTo>
                      <a:pt x="26173" y="18059"/>
                      <a:pt x="30500" y="18700"/>
                      <a:pt x="35038" y="20196"/>
                    </a:cubicBezTo>
                    <a:cubicBezTo>
                      <a:pt x="37888" y="21158"/>
                      <a:pt x="44959" y="23615"/>
                      <a:pt x="44959" y="32912"/>
                    </a:cubicBezTo>
                    <a:cubicBezTo>
                      <a:pt x="44959" y="39751"/>
                      <a:pt x="40949" y="43491"/>
                      <a:pt x="38943" y="44987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4" name="Freeform 513">
                <a:extLst>
                  <a:ext uri="{FF2B5EF4-FFF2-40B4-BE49-F238E27FC236}">
                    <a16:creationId xmlns:a16="http://schemas.microsoft.com/office/drawing/2014/main" id="{BA2659BA-F660-3C4C-520F-EECE8BDA6BF9}"/>
                  </a:ext>
                </a:extLst>
              </p:cNvPr>
              <p:cNvSpPr/>
              <p:nvPr/>
            </p:nvSpPr>
            <p:spPr>
              <a:xfrm>
                <a:off x="6650335" y="2497322"/>
                <a:ext cx="14458" cy="46269"/>
              </a:xfrm>
              <a:custGeom>
                <a:avLst/>
                <a:gdLst>
                  <a:gd name="connsiteX0" fmla="*/ 0 w 14458"/>
                  <a:gd name="connsiteY0" fmla="*/ 0 h 46269"/>
                  <a:gd name="connsiteX1" fmla="*/ 14459 w 14458"/>
                  <a:gd name="connsiteY1" fmla="*/ 0 h 46269"/>
                  <a:gd name="connsiteX2" fmla="*/ 14459 w 14458"/>
                  <a:gd name="connsiteY2" fmla="*/ 46269 h 46269"/>
                  <a:gd name="connsiteX3" fmla="*/ 0 w 14458"/>
                  <a:gd name="connsiteY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269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5" name="Freeform 514">
                <a:extLst>
                  <a:ext uri="{FF2B5EF4-FFF2-40B4-BE49-F238E27FC236}">
                    <a16:creationId xmlns:a16="http://schemas.microsoft.com/office/drawing/2014/main" id="{B8A9CC83-ABEB-61A7-5137-A64D6A639A39}"/>
                  </a:ext>
                </a:extLst>
              </p:cNvPr>
              <p:cNvSpPr/>
              <p:nvPr/>
            </p:nvSpPr>
            <p:spPr>
              <a:xfrm>
                <a:off x="6675453" y="2497322"/>
                <a:ext cx="32083" cy="46269"/>
              </a:xfrm>
              <a:custGeom>
                <a:avLst/>
                <a:gdLst>
                  <a:gd name="connsiteX0" fmla="*/ 0 w 32083"/>
                  <a:gd name="connsiteY0" fmla="*/ 46269 h 46269"/>
                  <a:gd name="connsiteX1" fmla="*/ 0 w 32083"/>
                  <a:gd name="connsiteY1" fmla="*/ 0 h 46269"/>
                  <a:gd name="connsiteX2" fmla="*/ 14353 w 32083"/>
                  <a:gd name="connsiteY2" fmla="*/ 0 h 46269"/>
                  <a:gd name="connsiteX3" fmla="*/ 14353 w 32083"/>
                  <a:gd name="connsiteY3" fmla="*/ 34622 h 46269"/>
                  <a:gd name="connsiteX4" fmla="*/ 32083 w 32083"/>
                  <a:gd name="connsiteY4" fmla="*/ 34622 h 46269"/>
                  <a:gd name="connsiteX5" fmla="*/ 32083 w 32083"/>
                  <a:gd name="connsiteY5" fmla="*/ 46269 h 46269"/>
                  <a:gd name="connsiteX6" fmla="*/ 0 w 32083"/>
                  <a:gd name="connsiteY6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083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14353" y="0"/>
                    </a:lnTo>
                    <a:lnTo>
                      <a:pt x="14353" y="34622"/>
                    </a:lnTo>
                    <a:lnTo>
                      <a:pt x="32083" y="34622"/>
                    </a:lnTo>
                    <a:lnTo>
                      <a:pt x="32083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732B6C6B-444D-5E2E-65CD-565FEEBA202B}"/>
                  </a:ext>
                </a:extLst>
              </p:cNvPr>
              <p:cNvSpPr/>
              <p:nvPr/>
            </p:nvSpPr>
            <p:spPr>
              <a:xfrm>
                <a:off x="6715347" y="2497322"/>
                <a:ext cx="14458" cy="46269"/>
              </a:xfrm>
              <a:custGeom>
                <a:avLst/>
                <a:gdLst>
                  <a:gd name="connsiteX0" fmla="*/ 0 w 14458"/>
                  <a:gd name="connsiteY0" fmla="*/ 0 h 46269"/>
                  <a:gd name="connsiteX1" fmla="*/ 14459 w 14458"/>
                  <a:gd name="connsiteY1" fmla="*/ 0 h 46269"/>
                  <a:gd name="connsiteX2" fmla="*/ 14459 w 14458"/>
                  <a:gd name="connsiteY2" fmla="*/ 46269 h 46269"/>
                  <a:gd name="connsiteX3" fmla="*/ 0 w 14458"/>
                  <a:gd name="connsiteY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269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7" name="Freeform 516">
                <a:extLst>
                  <a:ext uri="{FF2B5EF4-FFF2-40B4-BE49-F238E27FC236}">
                    <a16:creationId xmlns:a16="http://schemas.microsoft.com/office/drawing/2014/main" id="{65AB8134-FD06-7ECA-0387-A91D03A3C5E6}"/>
                  </a:ext>
                </a:extLst>
              </p:cNvPr>
              <p:cNvSpPr/>
              <p:nvPr/>
            </p:nvSpPr>
            <p:spPr>
              <a:xfrm>
                <a:off x="6740464" y="2497322"/>
                <a:ext cx="38099" cy="46269"/>
              </a:xfrm>
              <a:custGeom>
                <a:avLst/>
                <a:gdLst>
                  <a:gd name="connsiteX0" fmla="*/ 0 w 38099"/>
                  <a:gd name="connsiteY0" fmla="*/ 46269 h 46269"/>
                  <a:gd name="connsiteX1" fmla="*/ 0 w 38099"/>
                  <a:gd name="connsiteY1" fmla="*/ 0 h 46269"/>
                  <a:gd name="connsiteX2" fmla="*/ 36094 w 38099"/>
                  <a:gd name="connsiteY2" fmla="*/ 0 h 46269"/>
                  <a:gd name="connsiteX3" fmla="*/ 36094 w 38099"/>
                  <a:gd name="connsiteY3" fmla="*/ 10151 h 46269"/>
                  <a:gd name="connsiteX4" fmla="*/ 14459 w 38099"/>
                  <a:gd name="connsiteY4" fmla="*/ 10151 h 46269"/>
                  <a:gd name="connsiteX5" fmla="*/ 14459 w 38099"/>
                  <a:gd name="connsiteY5" fmla="*/ 16990 h 46269"/>
                  <a:gd name="connsiteX6" fmla="*/ 34722 w 38099"/>
                  <a:gd name="connsiteY6" fmla="*/ 16990 h 46269"/>
                  <a:gd name="connsiteX7" fmla="*/ 34722 w 38099"/>
                  <a:gd name="connsiteY7" fmla="*/ 27035 h 46269"/>
                  <a:gd name="connsiteX8" fmla="*/ 14353 w 38099"/>
                  <a:gd name="connsiteY8" fmla="*/ 27035 h 46269"/>
                  <a:gd name="connsiteX9" fmla="*/ 14353 w 38099"/>
                  <a:gd name="connsiteY9" fmla="*/ 36224 h 46269"/>
                  <a:gd name="connsiteX10" fmla="*/ 38099 w 38099"/>
                  <a:gd name="connsiteY10" fmla="*/ 36224 h 46269"/>
                  <a:gd name="connsiteX11" fmla="*/ 38099 w 38099"/>
                  <a:gd name="connsiteY11" fmla="*/ 46269 h 46269"/>
                  <a:gd name="connsiteX12" fmla="*/ 0 w 38099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6094" y="0"/>
                    </a:lnTo>
                    <a:lnTo>
                      <a:pt x="36094" y="10151"/>
                    </a:lnTo>
                    <a:lnTo>
                      <a:pt x="14459" y="10151"/>
                    </a:lnTo>
                    <a:lnTo>
                      <a:pt x="14459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353" y="27035"/>
                    </a:lnTo>
                    <a:lnTo>
                      <a:pt x="14353" y="36224"/>
                    </a:lnTo>
                    <a:lnTo>
                      <a:pt x="38099" y="36224"/>
                    </a:lnTo>
                    <a:lnTo>
                      <a:pt x="38099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D4D0097F-551F-8EF6-2793-F240DEE5D00E}"/>
                  </a:ext>
                </a:extLst>
              </p:cNvPr>
              <p:cNvSpPr/>
              <p:nvPr/>
            </p:nvSpPr>
            <p:spPr>
              <a:xfrm>
                <a:off x="6787112" y="2497322"/>
                <a:ext cx="44114" cy="46269"/>
              </a:xfrm>
              <a:custGeom>
                <a:avLst/>
                <a:gdLst>
                  <a:gd name="connsiteX0" fmla="*/ 28495 w 44114"/>
                  <a:gd name="connsiteY0" fmla="*/ 46269 h 46269"/>
                  <a:gd name="connsiteX1" fmla="*/ 13298 w 44114"/>
                  <a:gd name="connsiteY1" fmla="*/ 19341 h 46269"/>
                  <a:gd name="connsiteX2" fmla="*/ 13403 w 44114"/>
                  <a:gd name="connsiteY2" fmla="*/ 46269 h 46269"/>
                  <a:gd name="connsiteX3" fmla="*/ 0 w 44114"/>
                  <a:gd name="connsiteY3" fmla="*/ 46269 h 46269"/>
                  <a:gd name="connsiteX4" fmla="*/ 0 w 44114"/>
                  <a:gd name="connsiteY4" fmla="*/ 0 h 46269"/>
                  <a:gd name="connsiteX5" fmla="*/ 15303 w 44114"/>
                  <a:gd name="connsiteY5" fmla="*/ 0 h 46269"/>
                  <a:gd name="connsiteX6" fmla="*/ 30711 w 44114"/>
                  <a:gd name="connsiteY6" fmla="*/ 26928 h 46269"/>
                  <a:gd name="connsiteX7" fmla="*/ 30606 w 44114"/>
                  <a:gd name="connsiteY7" fmla="*/ 0 h 46269"/>
                  <a:gd name="connsiteX8" fmla="*/ 44115 w 44114"/>
                  <a:gd name="connsiteY8" fmla="*/ 0 h 46269"/>
                  <a:gd name="connsiteX9" fmla="*/ 44115 w 44114"/>
                  <a:gd name="connsiteY9" fmla="*/ 46269 h 46269"/>
                  <a:gd name="connsiteX10" fmla="*/ 28495 w 44114"/>
                  <a:gd name="connsiteY10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114" h="46269">
                    <a:moveTo>
                      <a:pt x="28495" y="46269"/>
                    </a:moveTo>
                    <a:lnTo>
                      <a:pt x="13298" y="19341"/>
                    </a:lnTo>
                    <a:lnTo>
                      <a:pt x="13403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5303" y="0"/>
                    </a:lnTo>
                    <a:lnTo>
                      <a:pt x="30711" y="26928"/>
                    </a:lnTo>
                    <a:lnTo>
                      <a:pt x="30606" y="0"/>
                    </a:lnTo>
                    <a:lnTo>
                      <a:pt x="44115" y="0"/>
                    </a:lnTo>
                    <a:lnTo>
                      <a:pt x="44115" y="46269"/>
                    </a:lnTo>
                    <a:lnTo>
                      <a:pt x="28495" y="46269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9" name="Freeform 518">
                <a:extLst>
                  <a:ext uri="{FF2B5EF4-FFF2-40B4-BE49-F238E27FC236}">
                    <a16:creationId xmlns:a16="http://schemas.microsoft.com/office/drawing/2014/main" id="{4F991A92-E592-6CC8-9F30-55588437ABB0}"/>
                  </a:ext>
                </a:extLst>
              </p:cNvPr>
              <p:cNvSpPr/>
              <p:nvPr/>
            </p:nvSpPr>
            <p:spPr>
              <a:xfrm>
                <a:off x="6838826" y="2497322"/>
                <a:ext cx="37676" cy="46269"/>
              </a:xfrm>
              <a:custGeom>
                <a:avLst/>
                <a:gdLst>
                  <a:gd name="connsiteX0" fmla="*/ 26068 w 37676"/>
                  <a:gd name="connsiteY0" fmla="*/ 11434 h 46269"/>
                  <a:gd name="connsiteX1" fmla="*/ 26068 w 37676"/>
                  <a:gd name="connsiteY1" fmla="*/ 46269 h 46269"/>
                  <a:gd name="connsiteX2" fmla="*/ 11609 w 37676"/>
                  <a:gd name="connsiteY2" fmla="*/ 46269 h 46269"/>
                  <a:gd name="connsiteX3" fmla="*/ 11609 w 37676"/>
                  <a:gd name="connsiteY3" fmla="*/ 11434 h 46269"/>
                  <a:gd name="connsiteX4" fmla="*/ 0 w 37676"/>
                  <a:gd name="connsiteY4" fmla="*/ 11434 h 46269"/>
                  <a:gd name="connsiteX5" fmla="*/ 0 w 37676"/>
                  <a:gd name="connsiteY5" fmla="*/ 0 h 46269"/>
                  <a:gd name="connsiteX6" fmla="*/ 37677 w 37676"/>
                  <a:gd name="connsiteY6" fmla="*/ 0 h 46269"/>
                  <a:gd name="connsiteX7" fmla="*/ 37677 w 37676"/>
                  <a:gd name="connsiteY7" fmla="*/ 11434 h 46269"/>
                  <a:gd name="connsiteX8" fmla="*/ 26068 w 37676"/>
                  <a:gd name="connsiteY8" fmla="*/ 11434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76" h="46269">
                    <a:moveTo>
                      <a:pt x="26068" y="11434"/>
                    </a:moveTo>
                    <a:lnTo>
                      <a:pt x="26068" y="46269"/>
                    </a:lnTo>
                    <a:lnTo>
                      <a:pt x="11609" y="46269"/>
                    </a:lnTo>
                    <a:lnTo>
                      <a:pt x="11609" y="11434"/>
                    </a:lnTo>
                    <a:lnTo>
                      <a:pt x="0" y="11434"/>
                    </a:lnTo>
                    <a:lnTo>
                      <a:pt x="0" y="0"/>
                    </a:lnTo>
                    <a:lnTo>
                      <a:pt x="37677" y="0"/>
                    </a:lnTo>
                    <a:lnTo>
                      <a:pt x="37677" y="11434"/>
                    </a:lnTo>
                    <a:lnTo>
                      <a:pt x="26068" y="11434"/>
                    </a:lnTo>
                    <a:close/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0" name="Freeform 519">
                <a:extLst>
                  <a:ext uri="{FF2B5EF4-FFF2-40B4-BE49-F238E27FC236}">
                    <a16:creationId xmlns:a16="http://schemas.microsoft.com/office/drawing/2014/main" id="{1D6F0D63-6D7C-A1E6-B541-E5DE91FCC0C6}"/>
                  </a:ext>
                </a:extLst>
              </p:cNvPr>
              <p:cNvSpPr/>
              <p:nvPr/>
            </p:nvSpPr>
            <p:spPr>
              <a:xfrm>
                <a:off x="6962727" y="2495826"/>
                <a:ext cx="45803" cy="49367"/>
              </a:xfrm>
              <a:custGeom>
                <a:avLst/>
                <a:gdLst>
                  <a:gd name="connsiteX0" fmla="*/ 42321 w 45803"/>
                  <a:gd name="connsiteY0" fmla="*/ 41460 h 49367"/>
                  <a:gd name="connsiteX1" fmla="*/ 23640 w 45803"/>
                  <a:gd name="connsiteY1" fmla="*/ 49368 h 49367"/>
                  <a:gd name="connsiteX2" fmla="*/ 8232 w 45803"/>
                  <a:gd name="connsiteY2" fmla="*/ 44025 h 49367"/>
                  <a:gd name="connsiteX3" fmla="*/ 0 w 45803"/>
                  <a:gd name="connsiteY3" fmla="*/ 25004 h 49367"/>
                  <a:gd name="connsiteX4" fmla="*/ 4749 w 45803"/>
                  <a:gd name="connsiteY4" fmla="*/ 9617 h 49367"/>
                  <a:gd name="connsiteX5" fmla="*/ 23746 w 45803"/>
                  <a:gd name="connsiteY5" fmla="*/ 0 h 49367"/>
                  <a:gd name="connsiteX6" fmla="*/ 42848 w 45803"/>
                  <a:gd name="connsiteY6" fmla="*/ 8442 h 49367"/>
                  <a:gd name="connsiteX7" fmla="*/ 45803 w 45803"/>
                  <a:gd name="connsiteY7" fmla="*/ 12930 h 49367"/>
                  <a:gd name="connsiteX8" fmla="*/ 33667 w 45803"/>
                  <a:gd name="connsiteY8" fmla="*/ 19021 h 49367"/>
                  <a:gd name="connsiteX9" fmla="*/ 33033 w 45803"/>
                  <a:gd name="connsiteY9" fmla="*/ 17631 h 49367"/>
                  <a:gd name="connsiteX10" fmla="*/ 24168 w 45803"/>
                  <a:gd name="connsiteY10" fmla="*/ 11327 h 49367"/>
                  <a:gd name="connsiteX11" fmla="*/ 18891 w 45803"/>
                  <a:gd name="connsiteY11" fmla="*/ 12930 h 49367"/>
                  <a:gd name="connsiteX12" fmla="*/ 14564 w 45803"/>
                  <a:gd name="connsiteY12" fmla="*/ 24150 h 49367"/>
                  <a:gd name="connsiteX13" fmla="*/ 18786 w 45803"/>
                  <a:gd name="connsiteY13" fmla="*/ 35690 h 49367"/>
                  <a:gd name="connsiteX14" fmla="*/ 24168 w 45803"/>
                  <a:gd name="connsiteY14" fmla="*/ 37507 h 49367"/>
                  <a:gd name="connsiteX15" fmla="*/ 32400 w 45803"/>
                  <a:gd name="connsiteY15" fmla="*/ 32591 h 49367"/>
                  <a:gd name="connsiteX16" fmla="*/ 33455 w 45803"/>
                  <a:gd name="connsiteY16" fmla="*/ 29920 h 49367"/>
                  <a:gd name="connsiteX17" fmla="*/ 45803 w 45803"/>
                  <a:gd name="connsiteY17" fmla="*/ 35904 h 49367"/>
                  <a:gd name="connsiteX18" fmla="*/ 42215 w 45803"/>
                  <a:gd name="connsiteY18" fmla="*/ 41354 h 4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803" h="49367">
                    <a:moveTo>
                      <a:pt x="42321" y="41460"/>
                    </a:moveTo>
                    <a:cubicBezTo>
                      <a:pt x="39577" y="44559"/>
                      <a:pt x="33772" y="49368"/>
                      <a:pt x="23640" y="49368"/>
                    </a:cubicBezTo>
                    <a:cubicBezTo>
                      <a:pt x="17836" y="49368"/>
                      <a:pt x="12665" y="47979"/>
                      <a:pt x="8232" y="44025"/>
                    </a:cubicBezTo>
                    <a:cubicBezTo>
                      <a:pt x="633" y="37507"/>
                      <a:pt x="0" y="28317"/>
                      <a:pt x="0" y="25004"/>
                    </a:cubicBezTo>
                    <a:cubicBezTo>
                      <a:pt x="0" y="22226"/>
                      <a:pt x="317" y="15815"/>
                      <a:pt x="4749" y="9617"/>
                    </a:cubicBezTo>
                    <a:cubicBezTo>
                      <a:pt x="10976" y="641"/>
                      <a:pt x="19736" y="0"/>
                      <a:pt x="23746" y="0"/>
                    </a:cubicBezTo>
                    <a:cubicBezTo>
                      <a:pt x="34194" y="0"/>
                      <a:pt x="40315" y="5450"/>
                      <a:pt x="42848" y="8442"/>
                    </a:cubicBezTo>
                    <a:cubicBezTo>
                      <a:pt x="44220" y="10045"/>
                      <a:pt x="44854" y="11113"/>
                      <a:pt x="45803" y="12930"/>
                    </a:cubicBezTo>
                    <a:lnTo>
                      <a:pt x="33667" y="19021"/>
                    </a:lnTo>
                    <a:cubicBezTo>
                      <a:pt x="33667" y="19021"/>
                      <a:pt x="33244" y="18059"/>
                      <a:pt x="33033" y="17631"/>
                    </a:cubicBezTo>
                    <a:cubicBezTo>
                      <a:pt x="32295" y="16029"/>
                      <a:pt x="29973" y="11327"/>
                      <a:pt x="24168" y="11327"/>
                    </a:cubicBezTo>
                    <a:cubicBezTo>
                      <a:pt x="21530" y="11327"/>
                      <a:pt x="19841" y="12289"/>
                      <a:pt x="18891" y="12930"/>
                    </a:cubicBezTo>
                    <a:cubicBezTo>
                      <a:pt x="14353" y="16349"/>
                      <a:pt x="14564" y="22974"/>
                      <a:pt x="14564" y="24150"/>
                    </a:cubicBezTo>
                    <a:cubicBezTo>
                      <a:pt x="14564" y="30454"/>
                      <a:pt x="16569" y="33874"/>
                      <a:pt x="18786" y="35690"/>
                    </a:cubicBezTo>
                    <a:cubicBezTo>
                      <a:pt x="21002" y="37507"/>
                      <a:pt x="23113" y="37507"/>
                      <a:pt x="24168" y="37507"/>
                    </a:cubicBezTo>
                    <a:cubicBezTo>
                      <a:pt x="29128" y="37507"/>
                      <a:pt x="31450" y="34087"/>
                      <a:pt x="32400" y="32591"/>
                    </a:cubicBezTo>
                    <a:cubicBezTo>
                      <a:pt x="32717" y="31950"/>
                      <a:pt x="32928" y="31309"/>
                      <a:pt x="33455" y="29920"/>
                    </a:cubicBezTo>
                    <a:lnTo>
                      <a:pt x="45803" y="35904"/>
                    </a:lnTo>
                    <a:cubicBezTo>
                      <a:pt x="44220" y="38896"/>
                      <a:pt x="43376" y="40071"/>
                      <a:pt x="42215" y="41354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1" name="Freeform 520">
                <a:extLst>
                  <a:ext uri="{FF2B5EF4-FFF2-40B4-BE49-F238E27FC236}">
                    <a16:creationId xmlns:a16="http://schemas.microsoft.com/office/drawing/2014/main" id="{47B2D661-74DA-7139-3896-6C3B61074B27}"/>
                  </a:ext>
                </a:extLst>
              </p:cNvPr>
              <p:cNvSpPr/>
              <p:nvPr/>
            </p:nvSpPr>
            <p:spPr>
              <a:xfrm>
                <a:off x="7016973" y="2497536"/>
                <a:ext cx="14458" cy="46162"/>
              </a:xfrm>
              <a:custGeom>
                <a:avLst/>
                <a:gdLst>
                  <a:gd name="connsiteX0" fmla="*/ 0 w 14458"/>
                  <a:gd name="connsiteY0" fmla="*/ 0 h 46162"/>
                  <a:gd name="connsiteX1" fmla="*/ 14459 w 14458"/>
                  <a:gd name="connsiteY1" fmla="*/ 0 h 46162"/>
                  <a:gd name="connsiteX2" fmla="*/ 14459 w 14458"/>
                  <a:gd name="connsiteY2" fmla="*/ 46162 h 46162"/>
                  <a:gd name="connsiteX3" fmla="*/ 0 w 1445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162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2" name="Freeform 521">
                <a:extLst>
                  <a:ext uri="{FF2B5EF4-FFF2-40B4-BE49-F238E27FC236}">
                    <a16:creationId xmlns:a16="http://schemas.microsoft.com/office/drawing/2014/main" id="{D91B3EA0-BE52-FE51-16CA-14BBACEFBDE1}"/>
                  </a:ext>
                </a:extLst>
              </p:cNvPr>
              <p:cNvSpPr/>
              <p:nvPr/>
            </p:nvSpPr>
            <p:spPr>
              <a:xfrm>
                <a:off x="7039136" y="2497536"/>
                <a:ext cx="37676" cy="46162"/>
              </a:xfrm>
              <a:custGeom>
                <a:avLst/>
                <a:gdLst>
                  <a:gd name="connsiteX0" fmla="*/ 26068 w 37676"/>
                  <a:gd name="connsiteY0" fmla="*/ 11327 h 46162"/>
                  <a:gd name="connsiteX1" fmla="*/ 26068 w 37676"/>
                  <a:gd name="connsiteY1" fmla="*/ 46162 h 46162"/>
                  <a:gd name="connsiteX2" fmla="*/ 11715 w 37676"/>
                  <a:gd name="connsiteY2" fmla="*/ 46162 h 46162"/>
                  <a:gd name="connsiteX3" fmla="*/ 11715 w 37676"/>
                  <a:gd name="connsiteY3" fmla="*/ 11327 h 46162"/>
                  <a:gd name="connsiteX4" fmla="*/ 0 w 37676"/>
                  <a:gd name="connsiteY4" fmla="*/ 11327 h 46162"/>
                  <a:gd name="connsiteX5" fmla="*/ 0 w 37676"/>
                  <a:gd name="connsiteY5" fmla="*/ 0 h 46162"/>
                  <a:gd name="connsiteX6" fmla="*/ 37677 w 37676"/>
                  <a:gd name="connsiteY6" fmla="*/ 0 h 46162"/>
                  <a:gd name="connsiteX7" fmla="*/ 37677 w 37676"/>
                  <a:gd name="connsiteY7" fmla="*/ 11327 h 46162"/>
                  <a:gd name="connsiteX8" fmla="*/ 26068 w 37676"/>
                  <a:gd name="connsiteY8" fmla="*/ 11327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76" h="46162">
                    <a:moveTo>
                      <a:pt x="26068" y="11327"/>
                    </a:moveTo>
                    <a:lnTo>
                      <a:pt x="26068" y="46162"/>
                    </a:lnTo>
                    <a:lnTo>
                      <a:pt x="11715" y="46162"/>
                    </a:lnTo>
                    <a:lnTo>
                      <a:pt x="11715" y="11327"/>
                    </a:lnTo>
                    <a:lnTo>
                      <a:pt x="0" y="11327"/>
                    </a:lnTo>
                    <a:lnTo>
                      <a:pt x="0" y="0"/>
                    </a:lnTo>
                    <a:lnTo>
                      <a:pt x="37677" y="0"/>
                    </a:lnTo>
                    <a:lnTo>
                      <a:pt x="37677" y="11327"/>
                    </a:lnTo>
                    <a:lnTo>
                      <a:pt x="26068" y="11327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3" name="Freeform 522">
                <a:extLst>
                  <a:ext uri="{FF2B5EF4-FFF2-40B4-BE49-F238E27FC236}">
                    <a16:creationId xmlns:a16="http://schemas.microsoft.com/office/drawing/2014/main" id="{DF0A0E19-3F5E-10C6-4471-8C0EA8D7BE37}"/>
                  </a:ext>
                </a:extLst>
              </p:cNvPr>
              <p:cNvSpPr/>
              <p:nvPr/>
            </p:nvSpPr>
            <p:spPr>
              <a:xfrm>
                <a:off x="7084623" y="2497536"/>
                <a:ext cx="14458" cy="46162"/>
              </a:xfrm>
              <a:custGeom>
                <a:avLst/>
                <a:gdLst>
                  <a:gd name="connsiteX0" fmla="*/ 0 w 14458"/>
                  <a:gd name="connsiteY0" fmla="*/ 0 h 46162"/>
                  <a:gd name="connsiteX1" fmla="*/ 14459 w 14458"/>
                  <a:gd name="connsiteY1" fmla="*/ 0 h 46162"/>
                  <a:gd name="connsiteX2" fmla="*/ 14459 w 14458"/>
                  <a:gd name="connsiteY2" fmla="*/ 46162 h 46162"/>
                  <a:gd name="connsiteX3" fmla="*/ 0 w 1445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8" h="46162">
                    <a:moveTo>
                      <a:pt x="0" y="0"/>
                    </a:moveTo>
                    <a:lnTo>
                      <a:pt x="14459" y="0"/>
                    </a:lnTo>
                    <a:lnTo>
                      <a:pt x="1445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4" name="Freeform 523">
                <a:extLst>
                  <a:ext uri="{FF2B5EF4-FFF2-40B4-BE49-F238E27FC236}">
                    <a16:creationId xmlns:a16="http://schemas.microsoft.com/office/drawing/2014/main" id="{5C2C3DD2-4417-F232-016A-DBF85E532938}"/>
                  </a:ext>
                </a:extLst>
              </p:cNvPr>
              <p:cNvSpPr/>
              <p:nvPr/>
            </p:nvSpPr>
            <p:spPr>
              <a:xfrm>
                <a:off x="7109635" y="2497536"/>
                <a:ext cx="38099" cy="46162"/>
              </a:xfrm>
              <a:custGeom>
                <a:avLst/>
                <a:gdLst>
                  <a:gd name="connsiteX0" fmla="*/ 0 w 38099"/>
                  <a:gd name="connsiteY0" fmla="*/ 46162 h 46162"/>
                  <a:gd name="connsiteX1" fmla="*/ 0 w 38099"/>
                  <a:gd name="connsiteY1" fmla="*/ 0 h 46162"/>
                  <a:gd name="connsiteX2" fmla="*/ 36199 w 38099"/>
                  <a:gd name="connsiteY2" fmla="*/ 0 h 46162"/>
                  <a:gd name="connsiteX3" fmla="*/ 36199 w 38099"/>
                  <a:gd name="connsiteY3" fmla="*/ 10151 h 46162"/>
                  <a:gd name="connsiteX4" fmla="*/ 14564 w 38099"/>
                  <a:gd name="connsiteY4" fmla="*/ 10151 h 46162"/>
                  <a:gd name="connsiteX5" fmla="*/ 14564 w 38099"/>
                  <a:gd name="connsiteY5" fmla="*/ 16990 h 46162"/>
                  <a:gd name="connsiteX6" fmla="*/ 34722 w 38099"/>
                  <a:gd name="connsiteY6" fmla="*/ 16990 h 46162"/>
                  <a:gd name="connsiteX7" fmla="*/ 34722 w 38099"/>
                  <a:gd name="connsiteY7" fmla="*/ 27035 h 46162"/>
                  <a:gd name="connsiteX8" fmla="*/ 14459 w 38099"/>
                  <a:gd name="connsiteY8" fmla="*/ 27035 h 46162"/>
                  <a:gd name="connsiteX9" fmla="*/ 14459 w 38099"/>
                  <a:gd name="connsiteY9" fmla="*/ 36118 h 46162"/>
                  <a:gd name="connsiteX10" fmla="*/ 38099 w 38099"/>
                  <a:gd name="connsiteY10" fmla="*/ 36118 h 46162"/>
                  <a:gd name="connsiteX11" fmla="*/ 38099 w 38099"/>
                  <a:gd name="connsiteY11" fmla="*/ 46162 h 46162"/>
                  <a:gd name="connsiteX12" fmla="*/ 0 w 38099"/>
                  <a:gd name="connsiteY12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99" h="46162">
                    <a:moveTo>
                      <a:pt x="0" y="46162"/>
                    </a:moveTo>
                    <a:lnTo>
                      <a:pt x="0" y="0"/>
                    </a:lnTo>
                    <a:lnTo>
                      <a:pt x="36199" y="0"/>
                    </a:lnTo>
                    <a:lnTo>
                      <a:pt x="36199" y="10151"/>
                    </a:lnTo>
                    <a:lnTo>
                      <a:pt x="14564" y="10151"/>
                    </a:lnTo>
                    <a:lnTo>
                      <a:pt x="14564" y="16990"/>
                    </a:lnTo>
                    <a:lnTo>
                      <a:pt x="34722" y="16990"/>
                    </a:lnTo>
                    <a:lnTo>
                      <a:pt x="34722" y="27035"/>
                    </a:lnTo>
                    <a:lnTo>
                      <a:pt x="14459" y="27035"/>
                    </a:lnTo>
                    <a:lnTo>
                      <a:pt x="14459" y="36118"/>
                    </a:lnTo>
                    <a:lnTo>
                      <a:pt x="38099" y="36118"/>
                    </a:lnTo>
                    <a:lnTo>
                      <a:pt x="38099" y="46162"/>
                    </a:lnTo>
                    <a:lnTo>
                      <a:pt x="0" y="46162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5" name="Freeform 524">
                <a:extLst>
                  <a:ext uri="{FF2B5EF4-FFF2-40B4-BE49-F238E27FC236}">
                    <a16:creationId xmlns:a16="http://schemas.microsoft.com/office/drawing/2014/main" id="{BFC10772-D359-97EA-4718-8DEDD06C6537}"/>
                  </a:ext>
                </a:extLst>
              </p:cNvPr>
              <p:cNvSpPr/>
              <p:nvPr/>
            </p:nvSpPr>
            <p:spPr>
              <a:xfrm>
                <a:off x="7154067" y="2495933"/>
                <a:ext cx="45170" cy="49154"/>
              </a:xfrm>
              <a:custGeom>
                <a:avLst/>
                <a:gdLst>
                  <a:gd name="connsiteX0" fmla="*/ 38732 w 45170"/>
                  <a:gd name="connsiteY0" fmla="*/ 44880 h 49154"/>
                  <a:gd name="connsiteX1" fmla="*/ 23218 w 45170"/>
                  <a:gd name="connsiteY1" fmla="*/ 49154 h 49154"/>
                  <a:gd name="connsiteX2" fmla="*/ 4855 w 45170"/>
                  <a:gd name="connsiteY2" fmla="*/ 43918 h 49154"/>
                  <a:gd name="connsiteX3" fmla="*/ 0 w 45170"/>
                  <a:gd name="connsiteY3" fmla="*/ 39003 h 49154"/>
                  <a:gd name="connsiteX4" fmla="*/ 11081 w 45170"/>
                  <a:gd name="connsiteY4" fmla="*/ 31843 h 49154"/>
                  <a:gd name="connsiteX5" fmla="*/ 13298 w 45170"/>
                  <a:gd name="connsiteY5" fmla="*/ 34622 h 49154"/>
                  <a:gd name="connsiteX6" fmla="*/ 23852 w 45170"/>
                  <a:gd name="connsiteY6" fmla="*/ 37934 h 49154"/>
                  <a:gd name="connsiteX7" fmla="*/ 30817 w 45170"/>
                  <a:gd name="connsiteY7" fmla="*/ 34408 h 49154"/>
                  <a:gd name="connsiteX8" fmla="*/ 30500 w 45170"/>
                  <a:gd name="connsiteY8" fmla="*/ 33339 h 49154"/>
                  <a:gd name="connsiteX9" fmla="*/ 28284 w 45170"/>
                  <a:gd name="connsiteY9" fmla="*/ 31630 h 49154"/>
                  <a:gd name="connsiteX10" fmla="*/ 19736 w 45170"/>
                  <a:gd name="connsiteY10" fmla="*/ 29813 h 49154"/>
                  <a:gd name="connsiteX11" fmla="*/ 7915 w 45170"/>
                  <a:gd name="connsiteY11" fmla="*/ 25005 h 49154"/>
                  <a:gd name="connsiteX12" fmla="*/ 4010 w 45170"/>
                  <a:gd name="connsiteY12" fmla="*/ 15601 h 49154"/>
                  <a:gd name="connsiteX13" fmla="*/ 5699 w 45170"/>
                  <a:gd name="connsiteY13" fmla="*/ 8549 h 49154"/>
                  <a:gd name="connsiteX14" fmla="*/ 24168 w 45170"/>
                  <a:gd name="connsiteY14" fmla="*/ 0 h 49154"/>
                  <a:gd name="connsiteX15" fmla="*/ 41265 w 45170"/>
                  <a:gd name="connsiteY15" fmla="*/ 5022 h 49154"/>
                  <a:gd name="connsiteX16" fmla="*/ 44748 w 45170"/>
                  <a:gd name="connsiteY16" fmla="*/ 8228 h 49154"/>
                  <a:gd name="connsiteX17" fmla="*/ 35672 w 45170"/>
                  <a:gd name="connsiteY17" fmla="*/ 15922 h 49154"/>
                  <a:gd name="connsiteX18" fmla="*/ 34405 w 45170"/>
                  <a:gd name="connsiteY18" fmla="*/ 14426 h 49154"/>
                  <a:gd name="connsiteX19" fmla="*/ 23746 w 45170"/>
                  <a:gd name="connsiteY19" fmla="*/ 11220 h 49154"/>
                  <a:gd name="connsiteX20" fmla="*/ 20369 w 45170"/>
                  <a:gd name="connsiteY20" fmla="*/ 11754 h 49154"/>
                  <a:gd name="connsiteX21" fmla="*/ 18575 w 45170"/>
                  <a:gd name="connsiteY21" fmla="*/ 14212 h 49154"/>
                  <a:gd name="connsiteX22" fmla="*/ 19736 w 45170"/>
                  <a:gd name="connsiteY22" fmla="*/ 16349 h 49154"/>
                  <a:gd name="connsiteX23" fmla="*/ 24801 w 45170"/>
                  <a:gd name="connsiteY23" fmla="*/ 17738 h 49154"/>
                  <a:gd name="connsiteX24" fmla="*/ 35250 w 45170"/>
                  <a:gd name="connsiteY24" fmla="*/ 20089 h 49154"/>
                  <a:gd name="connsiteX25" fmla="*/ 45170 w 45170"/>
                  <a:gd name="connsiteY25" fmla="*/ 32805 h 49154"/>
                  <a:gd name="connsiteX26" fmla="*/ 39154 w 45170"/>
                  <a:gd name="connsiteY26" fmla="*/ 44880 h 4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5170" h="49154">
                    <a:moveTo>
                      <a:pt x="38732" y="44880"/>
                    </a:moveTo>
                    <a:cubicBezTo>
                      <a:pt x="32822" y="49261"/>
                      <a:pt x="25118" y="49154"/>
                      <a:pt x="23218" y="49154"/>
                    </a:cubicBezTo>
                    <a:cubicBezTo>
                      <a:pt x="16569" y="49154"/>
                      <a:pt x="10237" y="48086"/>
                      <a:pt x="4855" y="43918"/>
                    </a:cubicBezTo>
                    <a:cubicBezTo>
                      <a:pt x="2744" y="42315"/>
                      <a:pt x="1583" y="40926"/>
                      <a:pt x="0" y="39003"/>
                    </a:cubicBezTo>
                    <a:lnTo>
                      <a:pt x="11081" y="31843"/>
                    </a:lnTo>
                    <a:cubicBezTo>
                      <a:pt x="12031" y="33446"/>
                      <a:pt x="12664" y="34087"/>
                      <a:pt x="13298" y="34622"/>
                    </a:cubicBezTo>
                    <a:cubicBezTo>
                      <a:pt x="15936" y="36866"/>
                      <a:pt x="20685" y="37934"/>
                      <a:pt x="23852" y="37934"/>
                    </a:cubicBezTo>
                    <a:cubicBezTo>
                      <a:pt x="27967" y="37934"/>
                      <a:pt x="30817" y="36652"/>
                      <a:pt x="30817" y="34408"/>
                    </a:cubicBezTo>
                    <a:cubicBezTo>
                      <a:pt x="30817" y="33874"/>
                      <a:pt x="30606" y="33446"/>
                      <a:pt x="30500" y="33339"/>
                    </a:cubicBezTo>
                    <a:cubicBezTo>
                      <a:pt x="30184" y="32698"/>
                      <a:pt x="29656" y="32057"/>
                      <a:pt x="28284" y="31630"/>
                    </a:cubicBezTo>
                    <a:cubicBezTo>
                      <a:pt x="26701" y="31095"/>
                      <a:pt x="23746" y="30668"/>
                      <a:pt x="19736" y="29813"/>
                    </a:cubicBezTo>
                    <a:cubicBezTo>
                      <a:pt x="13509" y="28531"/>
                      <a:pt x="10132" y="27035"/>
                      <a:pt x="7915" y="25005"/>
                    </a:cubicBezTo>
                    <a:cubicBezTo>
                      <a:pt x="6543" y="23722"/>
                      <a:pt x="3905" y="20730"/>
                      <a:pt x="4010" y="15601"/>
                    </a:cubicBezTo>
                    <a:cubicBezTo>
                      <a:pt x="4010" y="14319"/>
                      <a:pt x="4010" y="11541"/>
                      <a:pt x="5699" y="8549"/>
                    </a:cubicBezTo>
                    <a:cubicBezTo>
                      <a:pt x="10343" y="-107"/>
                      <a:pt x="22479" y="0"/>
                      <a:pt x="24168" y="0"/>
                    </a:cubicBezTo>
                    <a:cubicBezTo>
                      <a:pt x="26490" y="0"/>
                      <a:pt x="34722" y="107"/>
                      <a:pt x="41265" y="5022"/>
                    </a:cubicBezTo>
                    <a:cubicBezTo>
                      <a:pt x="42637" y="6091"/>
                      <a:pt x="43482" y="6946"/>
                      <a:pt x="44748" y="8228"/>
                    </a:cubicBezTo>
                    <a:lnTo>
                      <a:pt x="35672" y="15922"/>
                    </a:lnTo>
                    <a:cubicBezTo>
                      <a:pt x="35144" y="15174"/>
                      <a:pt x="34722" y="14746"/>
                      <a:pt x="34405" y="14426"/>
                    </a:cubicBezTo>
                    <a:cubicBezTo>
                      <a:pt x="31767" y="11968"/>
                      <a:pt x="27123" y="11220"/>
                      <a:pt x="23746" y="11220"/>
                    </a:cubicBezTo>
                    <a:cubicBezTo>
                      <a:pt x="23429" y="11220"/>
                      <a:pt x="21635" y="11220"/>
                      <a:pt x="20369" y="11754"/>
                    </a:cubicBezTo>
                    <a:cubicBezTo>
                      <a:pt x="20158" y="11861"/>
                      <a:pt x="18575" y="12609"/>
                      <a:pt x="18575" y="14212"/>
                    </a:cubicBezTo>
                    <a:cubicBezTo>
                      <a:pt x="18575" y="15067"/>
                      <a:pt x="19102" y="15815"/>
                      <a:pt x="19736" y="16349"/>
                    </a:cubicBezTo>
                    <a:cubicBezTo>
                      <a:pt x="20896" y="17097"/>
                      <a:pt x="23640" y="17631"/>
                      <a:pt x="24801" y="17738"/>
                    </a:cubicBezTo>
                    <a:cubicBezTo>
                      <a:pt x="26384" y="17952"/>
                      <a:pt x="30711" y="18593"/>
                      <a:pt x="35250" y="20089"/>
                    </a:cubicBezTo>
                    <a:cubicBezTo>
                      <a:pt x="38099" y="21051"/>
                      <a:pt x="45170" y="23509"/>
                      <a:pt x="45170" y="32805"/>
                    </a:cubicBezTo>
                    <a:cubicBezTo>
                      <a:pt x="45170" y="39644"/>
                      <a:pt x="41160" y="43384"/>
                      <a:pt x="39154" y="44880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6" name="Freeform 525">
                <a:extLst>
                  <a:ext uri="{FF2B5EF4-FFF2-40B4-BE49-F238E27FC236}">
                    <a16:creationId xmlns:a16="http://schemas.microsoft.com/office/drawing/2014/main" id="{BE662D08-E6D4-BA11-C684-FC8EE3510D46}"/>
                  </a:ext>
                </a:extLst>
              </p:cNvPr>
              <p:cNvSpPr/>
              <p:nvPr/>
            </p:nvSpPr>
            <p:spPr>
              <a:xfrm>
                <a:off x="6962727" y="2566245"/>
                <a:ext cx="38310" cy="46269"/>
              </a:xfrm>
              <a:custGeom>
                <a:avLst/>
                <a:gdLst>
                  <a:gd name="connsiteX0" fmla="*/ 27123 w 38310"/>
                  <a:gd name="connsiteY0" fmla="*/ 46269 h 46269"/>
                  <a:gd name="connsiteX1" fmla="*/ 10976 w 38310"/>
                  <a:gd name="connsiteY1" fmla="*/ 18273 h 46269"/>
                  <a:gd name="connsiteX2" fmla="*/ 10976 w 38310"/>
                  <a:gd name="connsiteY2" fmla="*/ 46269 h 46269"/>
                  <a:gd name="connsiteX3" fmla="*/ 0 w 38310"/>
                  <a:gd name="connsiteY3" fmla="*/ 46269 h 46269"/>
                  <a:gd name="connsiteX4" fmla="*/ 0 w 38310"/>
                  <a:gd name="connsiteY4" fmla="*/ 0 h 46269"/>
                  <a:gd name="connsiteX5" fmla="*/ 11187 w 38310"/>
                  <a:gd name="connsiteY5" fmla="*/ 0 h 46269"/>
                  <a:gd name="connsiteX6" fmla="*/ 27334 w 38310"/>
                  <a:gd name="connsiteY6" fmla="*/ 28210 h 46269"/>
                  <a:gd name="connsiteX7" fmla="*/ 27334 w 38310"/>
                  <a:gd name="connsiteY7" fmla="*/ 0 h 46269"/>
                  <a:gd name="connsiteX8" fmla="*/ 38310 w 38310"/>
                  <a:gd name="connsiteY8" fmla="*/ 0 h 46269"/>
                  <a:gd name="connsiteX9" fmla="*/ 38310 w 38310"/>
                  <a:gd name="connsiteY9" fmla="*/ 46269 h 46269"/>
                  <a:gd name="connsiteX10" fmla="*/ 27123 w 38310"/>
                  <a:gd name="connsiteY10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310" h="46269">
                    <a:moveTo>
                      <a:pt x="27123" y="46269"/>
                    </a:moveTo>
                    <a:lnTo>
                      <a:pt x="10976" y="18273"/>
                    </a:lnTo>
                    <a:lnTo>
                      <a:pt x="10976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1187" y="0"/>
                    </a:lnTo>
                    <a:lnTo>
                      <a:pt x="27334" y="28210"/>
                    </a:lnTo>
                    <a:lnTo>
                      <a:pt x="27334" y="0"/>
                    </a:lnTo>
                    <a:lnTo>
                      <a:pt x="38310" y="0"/>
                    </a:lnTo>
                    <a:lnTo>
                      <a:pt x="38310" y="46269"/>
                    </a:lnTo>
                    <a:lnTo>
                      <a:pt x="27123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7" name="Freeform 526">
                <a:extLst>
                  <a:ext uri="{FF2B5EF4-FFF2-40B4-BE49-F238E27FC236}">
                    <a16:creationId xmlns:a16="http://schemas.microsoft.com/office/drawing/2014/main" id="{236EA486-468B-CD61-96EB-C9E8079C3336}"/>
                  </a:ext>
                </a:extLst>
              </p:cNvPr>
              <p:cNvSpPr/>
              <p:nvPr/>
            </p:nvSpPr>
            <p:spPr>
              <a:xfrm>
                <a:off x="7013385" y="2566245"/>
                <a:ext cx="35777" cy="46269"/>
              </a:xfrm>
              <a:custGeom>
                <a:avLst/>
                <a:gdLst>
                  <a:gd name="connsiteX0" fmla="*/ 0 w 35777"/>
                  <a:gd name="connsiteY0" fmla="*/ 46269 h 46269"/>
                  <a:gd name="connsiteX1" fmla="*/ 0 w 35777"/>
                  <a:gd name="connsiteY1" fmla="*/ 0 h 46269"/>
                  <a:gd name="connsiteX2" fmla="*/ 33666 w 35777"/>
                  <a:gd name="connsiteY2" fmla="*/ 0 h 46269"/>
                  <a:gd name="connsiteX3" fmla="*/ 33666 w 35777"/>
                  <a:gd name="connsiteY3" fmla="*/ 8976 h 46269"/>
                  <a:gd name="connsiteX4" fmla="*/ 11293 w 35777"/>
                  <a:gd name="connsiteY4" fmla="*/ 8976 h 46269"/>
                  <a:gd name="connsiteX5" fmla="*/ 11293 w 35777"/>
                  <a:gd name="connsiteY5" fmla="*/ 17418 h 46269"/>
                  <a:gd name="connsiteX6" fmla="*/ 32189 w 35777"/>
                  <a:gd name="connsiteY6" fmla="*/ 17418 h 46269"/>
                  <a:gd name="connsiteX7" fmla="*/ 32189 w 35777"/>
                  <a:gd name="connsiteY7" fmla="*/ 26180 h 46269"/>
                  <a:gd name="connsiteX8" fmla="*/ 11293 w 35777"/>
                  <a:gd name="connsiteY8" fmla="*/ 26180 h 46269"/>
                  <a:gd name="connsiteX9" fmla="*/ 11293 w 35777"/>
                  <a:gd name="connsiteY9" fmla="*/ 37186 h 46269"/>
                  <a:gd name="connsiteX10" fmla="*/ 35777 w 35777"/>
                  <a:gd name="connsiteY10" fmla="*/ 37186 h 46269"/>
                  <a:gd name="connsiteX11" fmla="*/ 35777 w 35777"/>
                  <a:gd name="connsiteY11" fmla="*/ 46269 h 46269"/>
                  <a:gd name="connsiteX12" fmla="*/ 0 w 35777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777" h="46269">
                    <a:moveTo>
                      <a:pt x="0" y="46269"/>
                    </a:moveTo>
                    <a:lnTo>
                      <a:pt x="0" y="0"/>
                    </a:lnTo>
                    <a:lnTo>
                      <a:pt x="33666" y="0"/>
                    </a:lnTo>
                    <a:lnTo>
                      <a:pt x="33666" y="8976"/>
                    </a:lnTo>
                    <a:lnTo>
                      <a:pt x="11293" y="8976"/>
                    </a:lnTo>
                    <a:lnTo>
                      <a:pt x="11293" y="17418"/>
                    </a:lnTo>
                    <a:lnTo>
                      <a:pt x="32189" y="17418"/>
                    </a:lnTo>
                    <a:lnTo>
                      <a:pt x="32189" y="26180"/>
                    </a:lnTo>
                    <a:lnTo>
                      <a:pt x="11293" y="26180"/>
                    </a:lnTo>
                    <a:lnTo>
                      <a:pt x="11293" y="37186"/>
                    </a:lnTo>
                    <a:lnTo>
                      <a:pt x="35777" y="37186"/>
                    </a:lnTo>
                    <a:lnTo>
                      <a:pt x="35777" y="46269"/>
                    </a:lnTo>
                    <a:lnTo>
                      <a:pt x="0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8" name="Freeform 527">
                <a:extLst>
                  <a:ext uri="{FF2B5EF4-FFF2-40B4-BE49-F238E27FC236}">
                    <a16:creationId xmlns:a16="http://schemas.microsoft.com/office/drawing/2014/main" id="{3F93173D-706B-7346-D2E5-59FCAD5416F9}"/>
                  </a:ext>
                </a:extLst>
              </p:cNvPr>
              <p:cNvSpPr/>
              <p:nvPr/>
            </p:nvSpPr>
            <p:spPr>
              <a:xfrm>
                <a:off x="7054650" y="2566245"/>
                <a:ext cx="35249" cy="46269"/>
              </a:xfrm>
              <a:custGeom>
                <a:avLst/>
                <a:gdLst>
                  <a:gd name="connsiteX0" fmla="*/ 23429 w 35249"/>
                  <a:gd name="connsiteY0" fmla="*/ 9190 h 46269"/>
                  <a:gd name="connsiteX1" fmla="*/ 23429 w 35249"/>
                  <a:gd name="connsiteY1" fmla="*/ 46269 h 46269"/>
                  <a:gd name="connsiteX2" fmla="*/ 11926 w 35249"/>
                  <a:gd name="connsiteY2" fmla="*/ 46269 h 46269"/>
                  <a:gd name="connsiteX3" fmla="*/ 11926 w 35249"/>
                  <a:gd name="connsiteY3" fmla="*/ 9190 h 46269"/>
                  <a:gd name="connsiteX4" fmla="*/ 0 w 35249"/>
                  <a:gd name="connsiteY4" fmla="*/ 9190 h 46269"/>
                  <a:gd name="connsiteX5" fmla="*/ 0 w 35249"/>
                  <a:gd name="connsiteY5" fmla="*/ 0 h 46269"/>
                  <a:gd name="connsiteX6" fmla="*/ 35250 w 35249"/>
                  <a:gd name="connsiteY6" fmla="*/ 0 h 46269"/>
                  <a:gd name="connsiteX7" fmla="*/ 35250 w 35249"/>
                  <a:gd name="connsiteY7" fmla="*/ 9190 h 46269"/>
                  <a:gd name="connsiteX8" fmla="*/ 23429 w 35249"/>
                  <a:gd name="connsiteY8" fmla="*/ 9190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49" h="46269">
                    <a:moveTo>
                      <a:pt x="23429" y="9190"/>
                    </a:moveTo>
                    <a:lnTo>
                      <a:pt x="23429" y="46269"/>
                    </a:lnTo>
                    <a:lnTo>
                      <a:pt x="11926" y="46269"/>
                    </a:lnTo>
                    <a:lnTo>
                      <a:pt x="11926" y="9190"/>
                    </a:lnTo>
                    <a:lnTo>
                      <a:pt x="0" y="9190"/>
                    </a:lnTo>
                    <a:lnTo>
                      <a:pt x="0" y="0"/>
                    </a:lnTo>
                    <a:lnTo>
                      <a:pt x="35250" y="0"/>
                    </a:lnTo>
                    <a:lnTo>
                      <a:pt x="35250" y="9190"/>
                    </a:lnTo>
                    <a:lnTo>
                      <a:pt x="23429" y="9190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9" name="Freeform 528">
                <a:extLst>
                  <a:ext uri="{FF2B5EF4-FFF2-40B4-BE49-F238E27FC236}">
                    <a16:creationId xmlns:a16="http://schemas.microsoft.com/office/drawing/2014/main" id="{D3D40244-E47E-09F3-99EF-5E78188C415E}"/>
                  </a:ext>
                </a:extLst>
              </p:cNvPr>
              <p:cNvSpPr/>
              <p:nvPr/>
            </p:nvSpPr>
            <p:spPr>
              <a:xfrm>
                <a:off x="7096654" y="2566245"/>
                <a:ext cx="63111" cy="46269"/>
              </a:xfrm>
              <a:custGeom>
                <a:avLst/>
                <a:gdLst>
                  <a:gd name="connsiteX0" fmla="*/ 51502 w 63111"/>
                  <a:gd name="connsiteY0" fmla="*/ 46269 h 46269"/>
                  <a:gd name="connsiteX1" fmla="*/ 39788 w 63111"/>
                  <a:gd name="connsiteY1" fmla="*/ 46269 h 46269"/>
                  <a:gd name="connsiteX2" fmla="*/ 31556 w 63111"/>
                  <a:gd name="connsiteY2" fmla="*/ 16670 h 46269"/>
                  <a:gd name="connsiteX3" fmla="*/ 23324 w 63111"/>
                  <a:gd name="connsiteY3" fmla="*/ 46269 h 46269"/>
                  <a:gd name="connsiteX4" fmla="*/ 11504 w 63111"/>
                  <a:gd name="connsiteY4" fmla="*/ 46269 h 46269"/>
                  <a:gd name="connsiteX5" fmla="*/ 0 w 63111"/>
                  <a:gd name="connsiteY5" fmla="*/ 0 h 46269"/>
                  <a:gd name="connsiteX6" fmla="*/ 11398 w 63111"/>
                  <a:gd name="connsiteY6" fmla="*/ 0 h 46269"/>
                  <a:gd name="connsiteX7" fmla="*/ 18152 w 63111"/>
                  <a:gd name="connsiteY7" fmla="*/ 31843 h 46269"/>
                  <a:gd name="connsiteX8" fmla="*/ 26384 w 63111"/>
                  <a:gd name="connsiteY8" fmla="*/ 0 h 46269"/>
                  <a:gd name="connsiteX9" fmla="*/ 36516 w 63111"/>
                  <a:gd name="connsiteY9" fmla="*/ 0 h 46269"/>
                  <a:gd name="connsiteX10" fmla="*/ 45065 w 63111"/>
                  <a:gd name="connsiteY10" fmla="*/ 31843 h 46269"/>
                  <a:gd name="connsiteX11" fmla="*/ 51713 w 63111"/>
                  <a:gd name="connsiteY11" fmla="*/ 0 h 46269"/>
                  <a:gd name="connsiteX12" fmla="*/ 63112 w 63111"/>
                  <a:gd name="connsiteY12" fmla="*/ 0 h 46269"/>
                  <a:gd name="connsiteX13" fmla="*/ 51502 w 63111"/>
                  <a:gd name="connsiteY13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111" h="46269">
                    <a:moveTo>
                      <a:pt x="51502" y="46269"/>
                    </a:moveTo>
                    <a:lnTo>
                      <a:pt x="39788" y="46269"/>
                    </a:lnTo>
                    <a:lnTo>
                      <a:pt x="31556" y="16670"/>
                    </a:lnTo>
                    <a:lnTo>
                      <a:pt x="23324" y="46269"/>
                    </a:lnTo>
                    <a:lnTo>
                      <a:pt x="11504" y="46269"/>
                    </a:lnTo>
                    <a:lnTo>
                      <a:pt x="0" y="0"/>
                    </a:lnTo>
                    <a:lnTo>
                      <a:pt x="11398" y="0"/>
                    </a:lnTo>
                    <a:lnTo>
                      <a:pt x="18152" y="31843"/>
                    </a:lnTo>
                    <a:lnTo>
                      <a:pt x="26384" y="0"/>
                    </a:lnTo>
                    <a:lnTo>
                      <a:pt x="36516" y="0"/>
                    </a:lnTo>
                    <a:lnTo>
                      <a:pt x="45065" y="31843"/>
                    </a:lnTo>
                    <a:lnTo>
                      <a:pt x="51713" y="0"/>
                    </a:lnTo>
                    <a:lnTo>
                      <a:pt x="63112" y="0"/>
                    </a:lnTo>
                    <a:lnTo>
                      <a:pt x="51502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30" name="Freeform 529">
                <a:extLst>
                  <a:ext uri="{FF2B5EF4-FFF2-40B4-BE49-F238E27FC236}">
                    <a16:creationId xmlns:a16="http://schemas.microsoft.com/office/drawing/2014/main" id="{C5C014A2-2979-C0D6-0D7C-420B52EC3099}"/>
                  </a:ext>
                </a:extLst>
              </p:cNvPr>
              <p:cNvSpPr/>
              <p:nvPr/>
            </p:nvSpPr>
            <p:spPr>
              <a:xfrm>
                <a:off x="7165465" y="2564748"/>
                <a:ext cx="45697" cy="49047"/>
              </a:xfrm>
              <a:custGeom>
                <a:avLst/>
                <a:gdLst>
                  <a:gd name="connsiteX0" fmla="*/ 37044 w 45697"/>
                  <a:gd name="connsiteY0" fmla="*/ 44239 h 49047"/>
                  <a:gd name="connsiteX1" fmla="*/ 22691 w 45697"/>
                  <a:gd name="connsiteY1" fmla="*/ 49047 h 49047"/>
                  <a:gd name="connsiteX2" fmla="*/ 6543 w 45697"/>
                  <a:gd name="connsiteY2" fmla="*/ 42422 h 49047"/>
                  <a:gd name="connsiteX3" fmla="*/ 0 w 45697"/>
                  <a:gd name="connsiteY3" fmla="*/ 24363 h 49047"/>
                  <a:gd name="connsiteX4" fmla="*/ 4327 w 45697"/>
                  <a:gd name="connsiteY4" fmla="*/ 9403 h 49047"/>
                  <a:gd name="connsiteX5" fmla="*/ 22585 w 45697"/>
                  <a:gd name="connsiteY5" fmla="*/ 0 h 49047"/>
                  <a:gd name="connsiteX6" fmla="*/ 38838 w 45697"/>
                  <a:gd name="connsiteY6" fmla="*/ 6411 h 49047"/>
                  <a:gd name="connsiteX7" fmla="*/ 45698 w 45697"/>
                  <a:gd name="connsiteY7" fmla="*/ 24898 h 49047"/>
                  <a:gd name="connsiteX8" fmla="*/ 37044 w 45697"/>
                  <a:gd name="connsiteY8" fmla="*/ 44239 h 49047"/>
                  <a:gd name="connsiteX9" fmla="*/ 31345 w 45697"/>
                  <a:gd name="connsiteY9" fmla="*/ 14105 h 49047"/>
                  <a:gd name="connsiteX10" fmla="*/ 26912 w 45697"/>
                  <a:gd name="connsiteY10" fmla="*/ 10686 h 49047"/>
                  <a:gd name="connsiteX11" fmla="*/ 22479 w 45697"/>
                  <a:gd name="connsiteY11" fmla="*/ 9831 h 49047"/>
                  <a:gd name="connsiteX12" fmla="*/ 17414 w 45697"/>
                  <a:gd name="connsiteY12" fmla="*/ 11113 h 49047"/>
                  <a:gd name="connsiteX13" fmla="*/ 11187 w 45697"/>
                  <a:gd name="connsiteY13" fmla="*/ 24363 h 49047"/>
                  <a:gd name="connsiteX14" fmla="*/ 14986 w 45697"/>
                  <a:gd name="connsiteY14" fmla="*/ 36118 h 49047"/>
                  <a:gd name="connsiteX15" fmla="*/ 22691 w 45697"/>
                  <a:gd name="connsiteY15" fmla="*/ 39430 h 49047"/>
                  <a:gd name="connsiteX16" fmla="*/ 30606 w 45697"/>
                  <a:gd name="connsiteY16" fmla="*/ 36011 h 49047"/>
                  <a:gd name="connsiteX17" fmla="*/ 34194 w 45697"/>
                  <a:gd name="connsiteY17" fmla="*/ 25859 h 49047"/>
                  <a:gd name="connsiteX18" fmla="*/ 31239 w 45697"/>
                  <a:gd name="connsiteY18" fmla="*/ 14212 h 49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697" h="49047">
                    <a:moveTo>
                      <a:pt x="37044" y="44239"/>
                    </a:moveTo>
                    <a:cubicBezTo>
                      <a:pt x="34616" y="46269"/>
                      <a:pt x="30184" y="49047"/>
                      <a:pt x="22691" y="49047"/>
                    </a:cubicBezTo>
                    <a:cubicBezTo>
                      <a:pt x="19947" y="49047"/>
                      <a:pt x="12348" y="48620"/>
                      <a:pt x="6543" y="42422"/>
                    </a:cubicBezTo>
                    <a:cubicBezTo>
                      <a:pt x="422" y="35904"/>
                      <a:pt x="0" y="27142"/>
                      <a:pt x="0" y="24363"/>
                    </a:cubicBezTo>
                    <a:cubicBezTo>
                      <a:pt x="0" y="21906"/>
                      <a:pt x="317" y="15387"/>
                      <a:pt x="4327" y="9403"/>
                    </a:cubicBezTo>
                    <a:cubicBezTo>
                      <a:pt x="6649" y="5984"/>
                      <a:pt x="11926" y="0"/>
                      <a:pt x="22585" y="0"/>
                    </a:cubicBezTo>
                    <a:cubicBezTo>
                      <a:pt x="31239" y="0"/>
                      <a:pt x="36516" y="3954"/>
                      <a:pt x="38838" y="6411"/>
                    </a:cubicBezTo>
                    <a:cubicBezTo>
                      <a:pt x="43270" y="11006"/>
                      <a:pt x="45698" y="18486"/>
                      <a:pt x="45698" y="24898"/>
                    </a:cubicBezTo>
                    <a:cubicBezTo>
                      <a:pt x="45698" y="31950"/>
                      <a:pt x="42637" y="39537"/>
                      <a:pt x="37044" y="44239"/>
                    </a:cubicBezTo>
                    <a:moveTo>
                      <a:pt x="31345" y="14105"/>
                    </a:moveTo>
                    <a:cubicBezTo>
                      <a:pt x="30817" y="13357"/>
                      <a:pt x="29445" y="11647"/>
                      <a:pt x="26912" y="10686"/>
                    </a:cubicBezTo>
                    <a:cubicBezTo>
                      <a:pt x="25012" y="9938"/>
                      <a:pt x="23324" y="9831"/>
                      <a:pt x="22479" y="9831"/>
                    </a:cubicBezTo>
                    <a:cubicBezTo>
                      <a:pt x="19947" y="9831"/>
                      <a:pt x="18258" y="10686"/>
                      <a:pt x="17414" y="11113"/>
                    </a:cubicBezTo>
                    <a:cubicBezTo>
                      <a:pt x="12876" y="13678"/>
                      <a:pt x="11187" y="19448"/>
                      <a:pt x="11187" y="24363"/>
                    </a:cubicBezTo>
                    <a:cubicBezTo>
                      <a:pt x="11187" y="30668"/>
                      <a:pt x="13087" y="34087"/>
                      <a:pt x="14986" y="36118"/>
                    </a:cubicBezTo>
                    <a:cubicBezTo>
                      <a:pt x="16992" y="38255"/>
                      <a:pt x="19735" y="39430"/>
                      <a:pt x="22691" y="39430"/>
                    </a:cubicBezTo>
                    <a:cubicBezTo>
                      <a:pt x="24168" y="39430"/>
                      <a:pt x="27756" y="39003"/>
                      <a:pt x="30606" y="36011"/>
                    </a:cubicBezTo>
                    <a:cubicBezTo>
                      <a:pt x="33244" y="33232"/>
                      <a:pt x="34089" y="29492"/>
                      <a:pt x="34194" y="25859"/>
                    </a:cubicBezTo>
                    <a:cubicBezTo>
                      <a:pt x="34405" y="19982"/>
                      <a:pt x="32611" y="16135"/>
                      <a:pt x="31239" y="14212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31" name="Freeform 530">
                <a:extLst>
                  <a:ext uri="{FF2B5EF4-FFF2-40B4-BE49-F238E27FC236}">
                    <a16:creationId xmlns:a16="http://schemas.microsoft.com/office/drawing/2014/main" id="{897556E9-1624-6B51-5FAA-C2E3067A62F0}"/>
                  </a:ext>
                </a:extLst>
              </p:cNvPr>
              <p:cNvSpPr/>
              <p:nvPr/>
            </p:nvSpPr>
            <p:spPr>
              <a:xfrm>
                <a:off x="7220555" y="2566351"/>
                <a:ext cx="40315" cy="46162"/>
              </a:xfrm>
              <a:custGeom>
                <a:avLst/>
                <a:gdLst>
                  <a:gd name="connsiteX0" fmla="*/ 27651 w 40315"/>
                  <a:gd name="connsiteY0" fmla="*/ 46162 h 46162"/>
                  <a:gd name="connsiteX1" fmla="*/ 18575 w 40315"/>
                  <a:gd name="connsiteY1" fmla="*/ 29706 h 46162"/>
                  <a:gd name="connsiteX2" fmla="*/ 11504 w 40315"/>
                  <a:gd name="connsiteY2" fmla="*/ 29706 h 46162"/>
                  <a:gd name="connsiteX3" fmla="*/ 11504 w 40315"/>
                  <a:gd name="connsiteY3" fmla="*/ 46162 h 46162"/>
                  <a:gd name="connsiteX4" fmla="*/ 0 w 40315"/>
                  <a:gd name="connsiteY4" fmla="*/ 46162 h 46162"/>
                  <a:gd name="connsiteX5" fmla="*/ 0 w 40315"/>
                  <a:gd name="connsiteY5" fmla="*/ 0 h 46162"/>
                  <a:gd name="connsiteX6" fmla="*/ 20580 w 40315"/>
                  <a:gd name="connsiteY6" fmla="*/ 0 h 46162"/>
                  <a:gd name="connsiteX7" fmla="*/ 24485 w 40315"/>
                  <a:gd name="connsiteY7" fmla="*/ 0 h 46162"/>
                  <a:gd name="connsiteX8" fmla="*/ 37360 w 40315"/>
                  <a:gd name="connsiteY8" fmla="*/ 7159 h 46162"/>
                  <a:gd name="connsiteX9" fmla="*/ 39154 w 40315"/>
                  <a:gd name="connsiteY9" fmla="*/ 14853 h 46162"/>
                  <a:gd name="connsiteX10" fmla="*/ 35566 w 40315"/>
                  <a:gd name="connsiteY10" fmla="*/ 24257 h 46162"/>
                  <a:gd name="connsiteX11" fmla="*/ 33455 w 40315"/>
                  <a:gd name="connsiteY11" fmla="*/ 25966 h 46162"/>
                  <a:gd name="connsiteX12" fmla="*/ 29762 w 40315"/>
                  <a:gd name="connsiteY12" fmla="*/ 27569 h 46162"/>
                  <a:gd name="connsiteX13" fmla="*/ 40315 w 40315"/>
                  <a:gd name="connsiteY13" fmla="*/ 46055 h 46162"/>
                  <a:gd name="connsiteX14" fmla="*/ 27756 w 40315"/>
                  <a:gd name="connsiteY14" fmla="*/ 46055 h 46162"/>
                  <a:gd name="connsiteX15" fmla="*/ 21108 w 40315"/>
                  <a:gd name="connsiteY15" fmla="*/ 8549 h 46162"/>
                  <a:gd name="connsiteX16" fmla="*/ 11398 w 40315"/>
                  <a:gd name="connsiteY16" fmla="*/ 8549 h 46162"/>
                  <a:gd name="connsiteX17" fmla="*/ 11398 w 40315"/>
                  <a:gd name="connsiteY17" fmla="*/ 21158 h 46162"/>
                  <a:gd name="connsiteX18" fmla="*/ 20791 w 40315"/>
                  <a:gd name="connsiteY18" fmla="*/ 21158 h 46162"/>
                  <a:gd name="connsiteX19" fmla="*/ 23851 w 40315"/>
                  <a:gd name="connsiteY19" fmla="*/ 20730 h 46162"/>
                  <a:gd name="connsiteX20" fmla="*/ 27651 w 40315"/>
                  <a:gd name="connsiteY20" fmla="*/ 14746 h 46162"/>
                  <a:gd name="connsiteX21" fmla="*/ 21108 w 40315"/>
                  <a:gd name="connsiteY21" fmla="*/ 8549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0315" h="46162">
                    <a:moveTo>
                      <a:pt x="27651" y="46162"/>
                    </a:moveTo>
                    <a:lnTo>
                      <a:pt x="18575" y="29706"/>
                    </a:lnTo>
                    <a:lnTo>
                      <a:pt x="11504" y="29706"/>
                    </a:lnTo>
                    <a:lnTo>
                      <a:pt x="11504" y="46162"/>
                    </a:lnTo>
                    <a:lnTo>
                      <a:pt x="0" y="46162"/>
                    </a:lnTo>
                    <a:lnTo>
                      <a:pt x="0" y="0"/>
                    </a:lnTo>
                    <a:lnTo>
                      <a:pt x="20580" y="0"/>
                    </a:lnTo>
                    <a:cubicBezTo>
                      <a:pt x="21846" y="0"/>
                      <a:pt x="23113" y="0"/>
                      <a:pt x="24485" y="0"/>
                    </a:cubicBezTo>
                    <a:cubicBezTo>
                      <a:pt x="26595" y="107"/>
                      <a:pt x="33772" y="534"/>
                      <a:pt x="37360" y="7159"/>
                    </a:cubicBezTo>
                    <a:cubicBezTo>
                      <a:pt x="37994" y="8442"/>
                      <a:pt x="39154" y="11113"/>
                      <a:pt x="39154" y="14853"/>
                    </a:cubicBezTo>
                    <a:cubicBezTo>
                      <a:pt x="39154" y="19982"/>
                      <a:pt x="37149" y="22761"/>
                      <a:pt x="35566" y="24257"/>
                    </a:cubicBezTo>
                    <a:cubicBezTo>
                      <a:pt x="34933" y="24898"/>
                      <a:pt x="34194" y="25539"/>
                      <a:pt x="33455" y="25966"/>
                    </a:cubicBezTo>
                    <a:cubicBezTo>
                      <a:pt x="32611" y="26394"/>
                      <a:pt x="31661" y="26928"/>
                      <a:pt x="29762" y="27569"/>
                    </a:cubicBezTo>
                    <a:lnTo>
                      <a:pt x="40315" y="46055"/>
                    </a:lnTo>
                    <a:lnTo>
                      <a:pt x="27756" y="46055"/>
                    </a:lnTo>
                    <a:close/>
                    <a:moveTo>
                      <a:pt x="21108" y="8549"/>
                    </a:moveTo>
                    <a:lnTo>
                      <a:pt x="11398" y="8549"/>
                    </a:lnTo>
                    <a:lnTo>
                      <a:pt x="11398" y="21158"/>
                    </a:lnTo>
                    <a:lnTo>
                      <a:pt x="20791" y="21158"/>
                    </a:lnTo>
                    <a:cubicBezTo>
                      <a:pt x="20791" y="21158"/>
                      <a:pt x="22585" y="21158"/>
                      <a:pt x="23851" y="20730"/>
                    </a:cubicBezTo>
                    <a:cubicBezTo>
                      <a:pt x="27545" y="19448"/>
                      <a:pt x="27651" y="15922"/>
                      <a:pt x="27651" y="14746"/>
                    </a:cubicBezTo>
                    <a:cubicBezTo>
                      <a:pt x="27651" y="8762"/>
                      <a:pt x="23113" y="8549"/>
                      <a:pt x="21108" y="8549"/>
                    </a:cubicBezTo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32" name="Freeform 531">
                <a:extLst>
                  <a:ext uri="{FF2B5EF4-FFF2-40B4-BE49-F238E27FC236}">
                    <a16:creationId xmlns:a16="http://schemas.microsoft.com/office/drawing/2014/main" id="{299040F3-890E-F2C7-1354-33DBE1BEB949}"/>
                  </a:ext>
                </a:extLst>
              </p:cNvPr>
              <p:cNvSpPr/>
              <p:nvPr/>
            </p:nvSpPr>
            <p:spPr>
              <a:xfrm>
                <a:off x="7271108" y="2566245"/>
                <a:ext cx="42953" cy="46269"/>
              </a:xfrm>
              <a:custGeom>
                <a:avLst/>
                <a:gdLst>
                  <a:gd name="connsiteX0" fmla="*/ 30078 w 42953"/>
                  <a:gd name="connsiteY0" fmla="*/ 46269 h 46269"/>
                  <a:gd name="connsiteX1" fmla="*/ 17941 w 42953"/>
                  <a:gd name="connsiteY1" fmla="*/ 25325 h 46269"/>
                  <a:gd name="connsiteX2" fmla="*/ 10870 w 42953"/>
                  <a:gd name="connsiteY2" fmla="*/ 32698 h 46269"/>
                  <a:gd name="connsiteX3" fmla="*/ 10870 w 42953"/>
                  <a:gd name="connsiteY3" fmla="*/ 46269 h 46269"/>
                  <a:gd name="connsiteX4" fmla="*/ 0 w 42953"/>
                  <a:gd name="connsiteY4" fmla="*/ 46269 h 46269"/>
                  <a:gd name="connsiteX5" fmla="*/ 0 w 42953"/>
                  <a:gd name="connsiteY5" fmla="*/ 0 h 46269"/>
                  <a:gd name="connsiteX6" fmla="*/ 10870 w 42953"/>
                  <a:gd name="connsiteY6" fmla="*/ 0 h 46269"/>
                  <a:gd name="connsiteX7" fmla="*/ 10870 w 42953"/>
                  <a:gd name="connsiteY7" fmla="*/ 18914 h 46269"/>
                  <a:gd name="connsiteX8" fmla="*/ 27967 w 42953"/>
                  <a:gd name="connsiteY8" fmla="*/ 0 h 46269"/>
                  <a:gd name="connsiteX9" fmla="*/ 41687 w 42953"/>
                  <a:gd name="connsiteY9" fmla="*/ 0 h 46269"/>
                  <a:gd name="connsiteX10" fmla="*/ 25540 w 42953"/>
                  <a:gd name="connsiteY10" fmla="*/ 17204 h 46269"/>
                  <a:gd name="connsiteX11" fmla="*/ 42954 w 42953"/>
                  <a:gd name="connsiteY11" fmla="*/ 46269 h 46269"/>
                  <a:gd name="connsiteX12" fmla="*/ 30078 w 42953"/>
                  <a:gd name="connsiteY12" fmla="*/ 46269 h 4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953" h="46269">
                    <a:moveTo>
                      <a:pt x="30078" y="46269"/>
                    </a:moveTo>
                    <a:lnTo>
                      <a:pt x="17941" y="25325"/>
                    </a:lnTo>
                    <a:lnTo>
                      <a:pt x="10870" y="32698"/>
                    </a:lnTo>
                    <a:lnTo>
                      <a:pt x="10870" y="46269"/>
                    </a:lnTo>
                    <a:lnTo>
                      <a:pt x="0" y="46269"/>
                    </a:lnTo>
                    <a:lnTo>
                      <a:pt x="0" y="0"/>
                    </a:lnTo>
                    <a:lnTo>
                      <a:pt x="10870" y="0"/>
                    </a:lnTo>
                    <a:lnTo>
                      <a:pt x="10870" y="18914"/>
                    </a:lnTo>
                    <a:lnTo>
                      <a:pt x="27967" y="0"/>
                    </a:lnTo>
                    <a:lnTo>
                      <a:pt x="41687" y="0"/>
                    </a:lnTo>
                    <a:lnTo>
                      <a:pt x="25540" y="17204"/>
                    </a:lnTo>
                    <a:lnTo>
                      <a:pt x="42954" y="46269"/>
                    </a:lnTo>
                    <a:lnTo>
                      <a:pt x="30078" y="46269"/>
                    </a:lnTo>
                    <a:close/>
                  </a:path>
                </a:pathLst>
              </a:custGeom>
              <a:solidFill>
                <a:srgbClr val="FFFFFF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sp>
        <p:nvSpPr>
          <p:cNvPr id="533" name="Rectangle 532">
            <a:extLst>
              <a:ext uri="{FF2B5EF4-FFF2-40B4-BE49-F238E27FC236}">
                <a16:creationId xmlns:a16="http://schemas.microsoft.com/office/drawing/2014/main" id="{A4D7F91A-4424-F7C8-B177-FDF620AE2250}"/>
              </a:ext>
            </a:extLst>
          </p:cNvPr>
          <p:cNvSpPr/>
          <p:nvPr userDrawn="1"/>
        </p:nvSpPr>
        <p:spPr>
          <a:xfrm>
            <a:off x="7009066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1E79C966-55D1-4E45-298E-3F4588FEA2AF}"/>
              </a:ext>
            </a:extLst>
          </p:cNvPr>
          <p:cNvSpPr/>
          <p:nvPr userDrawn="1"/>
        </p:nvSpPr>
        <p:spPr>
          <a:xfrm>
            <a:off x="10038532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08E3902F-740B-0ED6-4F70-19F3249BEBEC}"/>
              </a:ext>
            </a:extLst>
          </p:cNvPr>
          <p:cNvSpPr/>
          <p:nvPr userDrawn="1"/>
        </p:nvSpPr>
        <p:spPr>
          <a:xfrm>
            <a:off x="10851358" y="6151401"/>
            <a:ext cx="10800" cy="34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</p:spTree>
    <p:extLst>
      <p:ext uri="{BB962C8B-B14F-4D97-AF65-F5344CB8AC3E}">
        <p14:creationId xmlns:p14="http://schemas.microsoft.com/office/powerpoint/2010/main" val="41585632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EBA284F-468A-EF65-F6BD-134061BBE7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046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A284F-468A-EF65-F6BD-134061BBE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54657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Team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97796A-C0B2-B426-911A-A027A6F713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4139" y="2797122"/>
            <a:ext cx="1900264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012630-914C-FFCF-DE05-41FDEBD5A5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15727" y="3047787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BBFD737-ABC1-FF82-2FC4-693121D735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68147" y="2797122"/>
            <a:ext cx="1900264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6B3F5AC-66D3-E137-14D1-9AAFFB0CAA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69735" y="3047787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44B9D17-4F5C-0566-870D-AC825E9DB5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0647" y="6078128"/>
            <a:ext cx="1905952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486FE4C4-E194-88B3-41DB-169B3EBFD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12235" y="6328793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FAB97141-12DC-F530-A368-C6E3248679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68782" y="6078128"/>
            <a:ext cx="1905952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FA5F22AA-76D9-2D52-A700-37416DA744F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70370" y="6328793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Date Placeholder 33" hidden="1">
            <a:extLst>
              <a:ext uri="{FF2B5EF4-FFF2-40B4-BE49-F238E27FC236}">
                <a16:creationId xmlns:a16="http://schemas.microsoft.com/office/drawing/2014/main" id="{452E6A94-90C7-0794-18FF-9292D3B3B9A5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58464014-D141-9DCB-1638-A74281C3F1E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6" name="Slide Number Placeholder 35" hidden="1">
            <a:extLst>
              <a:ext uri="{FF2B5EF4-FFF2-40B4-BE49-F238E27FC236}">
                <a16:creationId xmlns:a16="http://schemas.microsoft.com/office/drawing/2014/main" id="{602CE4FD-3F15-802A-5935-F6DD2CF2BC4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5FFC667-0EE5-91F2-ECC2-4EA80C875DE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10647" y="387291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AF54F1A5-DF76-A4E2-B08A-6F1F3A44B1B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89671" y="268916"/>
            <a:ext cx="539750" cy="525162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E86A30D4-50F3-2EAB-DAC7-ED7632F65F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8288338" y="2233817"/>
            <a:ext cx="539750" cy="525162"/>
          </a:xfrm>
          <a:prstGeom prst="rect">
            <a:avLst/>
          </a:prstGeom>
        </p:spPr>
      </p:pic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99A89769-5D8C-9E97-22C4-85BDCCA6AFD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01476" y="378725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C7B1B379-A6F2-C9F5-F002-5673C2D7162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80500" y="260350"/>
            <a:ext cx="539750" cy="525162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12B437F0-294E-D036-B8EC-4FA17C5F7D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179167" y="2225251"/>
            <a:ext cx="539750" cy="525162"/>
          </a:xfrm>
          <a:prstGeom prst="rect">
            <a:avLst/>
          </a:prstGeom>
        </p:spPr>
      </p:pic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A9770B3D-D7B2-EB86-4AAE-BD49E41F932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63047" y="3625527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62E9DC82-8E31-C2A9-D898-05280FC0694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42071" y="3507152"/>
            <a:ext cx="539750" cy="525162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94D687F3-5B22-3DBF-2177-D75376043A0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8440738" y="5472053"/>
            <a:ext cx="539750" cy="525162"/>
          </a:xfrm>
          <a:prstGeom prst="rect">
            <a:avLst/>
          </a:prstGeom>
        </p:spPr>
      </p:pic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5241C255-16DA-6CDF-F26E-E3E718B7CCE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353876" y="3616961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05E59BE-AA7F-2CDC-E803-78822F77522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2900" y="3498586"/>
            <a:ext cx="539750" cy="525162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79C4AC3C-3299-FF1D-D42D-C4BB7D41DDA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331567" y="5463487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220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EBA284F-468A-EF65-F6BD-134061BBE7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046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A284F-468A-EF65-F6BD-134061BBE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4334986"/>
            <a:ext cx="54657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5344633"/>
            <a:ext cx="4513262" cy="988945"/>
          </a:xfrm>
        </p:spPr>
        <p:txBody>
          <a:bodyPr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10647" y="387291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97796A-C0B2-B426-911A-A027A6F713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4139" y="2797122"/>
            <a:ext cx="1900264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chemeClr val="accent3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012630-914C-FFCF-DE05-41FDEBD5A5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15727" y="3047787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chemeClr val="bg1"/>
                </a:solidFill>
                <a:latin typeface="Inter Italic" panose="02000503000000020004" pitchFamily="2" charset="0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BBFD737-ABC1-FF82-2FC4-693121D735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68147" y="2797122"/>
            <a:ext cx="1900264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chemeClr val="accent3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6B3F5AC-66D3-E137-14D1-9AAFFB0CAA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69735" y="3047787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chemeClr val="bg1"/>
                </a:solidFill>
                <a:latin typeface="Inter Italic" panose="02000503000000020004" pitchFamily="2" charset="0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44B9D17-4F5C-0566-870D-AC825E9DB5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0647" y="6078128"/>
            <a:ext cx="1905952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chemeClr val="accent3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486FE4C4-E194-88B3-41DB-169B3EBFD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12235" y="6328793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Inter Italic" panose="02000503000000020004" pitchFamily="2" charset="0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FAB97141-12DC-F530-A368-C6E3248679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68782" y="6078128"/>
            <a:ext cx="1905952" cy="180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chemeClr val="accent3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5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FA5F22AA-76D9-2D52-A700-37416DA744F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70370" y="6328793"/>
            <a:ext cx="190026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chemeClr val="bg1"/>
                </a:solidFill>
                <a:latin typeface="Inter Italic" panose="02000503000000020004" pitchFamily="2" charset="0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00" b="0">
                <a:solidFill>
                  <a:srgbClr val="052379"/>
                </a:solidFill>
                <a:latin typeface="+mn-lt"/>
              </a:defRPr>
            </a:lvl9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Date Placeholder 33" hidden="1">
            <a:extLst>
              <a:ext uri="{FF2B5EF4-FFF2-40B4-BE49-F238E27FC236}">
                <a16:creationId xmlns:a16="http://schemas.microsoft.com/office/drawing/2014/main" id="{452E6A94-90C7-0794-18FF-9292D3B3B9A5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58464014-D141-9DCB-1638-A74281C3F1E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6" name="Slide Number Placeholder 35" hidden="1">
            <a:extLst>
              <a:ext uri="{FF2B5EF4-FFF2-40B4-BE49-F238E27FC236}">
                <a16:creationId xmlns:a16="http://schemas.microsoft.com/office/drawing/2014/main" id="{602CE4FD-3F15-802A-5935-F6DD2CF2BC4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0F856FC-AD6B-F469-5F59-588325F58E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89671" y="268916"/>
            <a:ext cx="539750" cy="52516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59737B8-FFD0-918C-8847-A01DD31F053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8288338" y="2233817"/>
            <a:ext cx="539750" cy="525162"/>
          </a:xfrm>
          <a:prstGeom prst="rect">
            <a:avLst/>
          </a:prstGeom>
        </p:spPr>
      </p:pic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4CA4B21-B23D-10A4-5FD0-E7C4EF596AA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01476" y="378725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F7EDE48-55CF-39C2-5B1D-CC86AA81FB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80500" y="260350"/>
            <a:ext cx="539750" cy="52516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2C7D5F7B-F925-85E6-3A78-72CE2F3AE7C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179167" y="2225251"/>
            <a:ext cx="539750" cy="525162"/>
          </a:xfrm>
          <a:prstGeom prst="rect">
            <a:avLst/>
          </a:prstGeom>
        </p:spPr>
      </p:pic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4F1E3F2-8CFE-2543-6D75-3A7CDCCFD39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63047" y="3625527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851591B-637D-D850-FB55-29983219C44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42071" y="3507152"/>
            <a:ext cx="539750" cy="525162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2A5FC73-7B18-6033-CC9C-2261F7E14E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8440738" y="5472053"/>
            <a:ext cx="539750" cy="525162"/>
          </a:xfrm>
          <a:prstGeom prst="rect">
            <a:avLst/>
          </a:prstGeom>
        </p:spPr>
      </p:pic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9530BDC-1E69-8EE5-F785-3124A36A6FD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353876" y="3616961"/>
            <a:ext cx="2393967" cy="2248586"/>
          </a:xfrm>
          <a:prstGeom prst="round2DiagRect">
            <a:avLst>
              <a:gd name="adj1" fmla="val 4330"/>
              <a:gd name="adj2" fmla="val 0"/>
            </a:avLst>
          </a:prstGeo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99BBE8E-FE6A-E040-5DE7-D5D570CC42B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2900" y="3498586"/>
            <a:ext cx="539750" cy="525162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FB608BC6-8552-3763-3092-14CFCB4701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1331567" y="5463487"/>
            <a:ext cx="539750" cy="5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0285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2FE4B21-C86F-E175-5190-C1FE2477D6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77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E4B21-C86F-E175-5190-C1FE2477D6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355272"/>
            <a:ext cx="5465763" cy="756000"/>
          </a:xfrm>
        </p:spPr>
        <p:txBody>
          <a:bodyPr vert="horz" anchor="b"/>
          <a:lstStyle>
            <a:lvl1pPr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4364919"/>
            <a:ext cx="4513262" cy="1218913"/>
          </a:xfrm>
        </p:spPr>
        <p:txBody>
          <a:bodyPr lIns="0" tIns="0" rIns="0" bIns="0"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  <a:ea typeface="Inter Italic" panose="02000503000000020004" pitchFamily="2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3913" y="268915"/>
            <a:ext cx="4513262" cy="6319210"/>
          </a:xfrm>
          <a:solidFill>
            <a:srgbClr val="E5E8F0"/>
          </a:solidFill>
        </p:spPr>
        <p:txBody>
          <a:bodyPr tIns="648000" anchor="ctr" anchorCtr="0"/>
          <a:lstStyle>
            <a:lvl1pPr marL="0" indent="0" algn="ctr" rtl="0">
              <a:buNone/>
              <a:defRPr sz="1600"/>
            </a:lvl1pPr>
          </a:lstStyle>
          <a:p>
            <a:r>
              <a:rPr lang="en-GB" noProof="0"/>
              <a:t>Click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97796A-C0B2-B426-911A-A027A6F713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239" y="5783578"/>
            <a:ext cx="701674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/>
              <a:t>Emai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012630-914C-FFCF-DE05-41FDEBD5A5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61306" y="5783578"/>
            <a:ext cx="2502693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/>
              <a:t>name.surname@sustainable-markets.org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BBFD737-ABC1-FF82-2FC4-693121D735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3239" y="5993648"/>
            <a:ext cx="701674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/>
              <a:t>Mobile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6B3F5AC-66D3-E137-14D1-9AAFFB0CAA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61306" y="5993648"/>
            <a:ext cx="250269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/>
              <a:t>+44 1234 567 899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44B9D17-4F5C-0566-870D-AC825E9DB5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3239" y="6208313"/>
            <a:ext cx="703774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err="1"/>
              <a:t>Linkedin</a:t>
            </a:r>
            <a:endParaRPr lang="en-GB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486FE4C4-E194-88B3-41DB-169B3EBFD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63406" y="6208313"/>
            <a:ext cx="2500593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/>
              <a:t>www.linkedin.com/in/user-id/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2EF5972-4C5B-612E-B7F4-A193439AD8C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6" name="Date Placeholder 15" hidden="1">
            <a:extLst>
              <a:ext uri="{FF2B5EF4-FFF2-40B4-BE49-F238E27FC236}">
                <a16:creationId xmlns:a16="http://schemas.microsoft.com/office/drawing/2014/main" id="{8002A1A2-5883-38F4-5CCB-C4B83E31CD46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21" name="Slide Number Placeholder 20" hidden="1">
            <a:extLst>
              <a:ext uri="{FF2B5EF4-FFF2-40B4-BE49-F238E27FC236}">
                <a16:creationId xmlns:a16="http://schemas.microsoft.com/office/drawing/2014/main" id="{C5AD4DE2-75B5-5426-9A01-0BCD89EE133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AF7161-4011-24AB-E46B-DFD416DB3399}"/>
              </a:ext>
            </a:extLst>
          </p:cNvPr>
          <p:cNvGrpSpPr/>
          <p:nvPr userDrawn="1"/>
        </p:nvGrpSpPr>
        <p:grpSpPr>
          <a:xfrm>
            <a:off x="512749" y="274660"/>
            <a:ext cx="3134801" cy="1408306"/>
            <a:chOff x="1753986" y="2707575"/>
            <a:chExt cx="6648078" cy="2986643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DA075A-FFBD-3526-1F89-39BF4C4DFCB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57003953-3769-7C4E-BEE3-B61FF4BEE5A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DE7F7B7F-CB12-A885-85A2-767EACAF69C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60719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DBC7B214-4644-B7C7-DE9A-42EE114BEEF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582842 w 12192000"/>
              <a:gd name="connsiteY0" fmla="*/ 1763206 h 6858000"/>
              <a:gd name="connsiteX1" fmla="*/ 2596185 w 12192000"/>
              <a:gd name="connsiteY1" fmla="*/ 1763526 h 6858000"/>
              <a:gd name="connsiteX2" fmla="*/ 2613798 w 12192000"/>
              <a:gd name="connsiteY2" fmla="*/ 1765021 h 6858000"/>
              <a:gd name="connsiteX3" fmla="*/ 2613798 w 12192000"/>
              <a:gd name="connsiteY3" fmla="*/ 1778684 h 6858000"/>
              <a:gd name="connsiteX4" fmla="*/ 2607393 w 12192000"/>
              <a:gd name="connsiteY4" fmla="*/ 1803342 h 6858000"/>
              <a:gd name="connsiteX5" fmla="*/ 2586151 w 12192000"/>
              <a:gd name="connsiteY5" fmla="*/ 1810601 h 6858000"/>
              <a:gd name="connsiteX6" fmla="*/ 2581027 w 12192000"/>
              <a:gd name="connsiteY6" fmla="*/ 1810601 h 6858000"/>
              <a:gd name="connsiteX7" fmla="*/ 2561279 w 12192000"/>
              <a:gd name="connsiteY7" fmla="*/ 1805477 h 6858000"/>
              <a:gd name="connsiteX8" fmla="*/ 2554234 w 12192000"/>
              <a:gd name="connsiteY8" fmla="*/ 1787224 h 6858000"/>
              <a:gd name="connsiteX9" fmla="*/ 2561386 w 12192000"/>
              <a:gd name="connsiteY9" fmla="*/ 1768650 h 6858000"/>
              <a:gd name="connsiteX10" fmla="*/ 2582842 w 12192000"/>
              <a:gd name="connsiteY10" fmla="*/ 1763206 h 6858000"/>
              <a:gd name="connsiteX11" fmla="*/ 2427794 w 12192000"/>
              <a:gd name="connsiteY11" fmla="*/ 1700888 h 6858000"/>
              <a:gd name="connsiteX12" fmla="*/ 2449946 w 12192000"/>
              <a:gd name="connsiteY12" fmla="*/ 1709835 h 6858000"/>
              <a:gd name="connsiteX13" fmla="*/ 2456991 w 12192000"/>
              <a:gd name="connsiteY13" fmla="*/ 1737908 h 6858000"/>
              <a:gd name="connsiteX14" fmla="*/ 2395933 w 12192000"/>
              <a:gd name="connsiteY14" fmla="*/ 1737908 h 6858000"/>
              <a:gd name="connsiteX15" fmla="*/ 2403939 w 12192000"/>
              <a:gd name="connsiteY15" fmla="*/ 1709514 h 6858000"/>
              <a:gd name="connsiteX16" fmla="*/ 2427743 w 12192000"/>
              <a:gd name="connsiteY16" fmla="*/ 1700868 h 6858000"/>
              <a:gd name="connsiteX17" fmla="*/ 2427850 w 12192000"/>
              <a:gd name="connsiteY17" fmla="*/ 1700868 h 6858000"/>
              <a:gd name="connsiteX18" fmla="*/ 2427794 w 12192000"/>
              <a:gd name="connsiteY18" fmla="*/ 1700888 h 6858000"/>
              <a:gd name="connsiteX19" fmla="*/ 2427423 w 12192000"/>
              <a:gd name="connsiteY19" fmla="*/ 1671727 h 6858000"/>
              <a:gd name="connsiteX20" fmla="*/ 2377253 w 12192000"/>
              <a:gd name="connsiteY20" fmla="*/ 1691048 h 6858000"/>
              <a:gd name="connsiteX21" fmla="*/ 2359640 w 12192000"/>
              <a:gd name="connsiteY21" fmla="*/ 1745594 h 6858000"/>
              <a:gd name="connsiteX22" fmla="*/ 2359640 w 12192000"/>
              <a:gd name="connsiteY22" fmla="*/ 1769291 h 6858000"/>
              <a:gd name="connsiteX23" fmla="*/ 2377253 w 12192000"/>
              <a:gd name="connsiteY23" fmla="*/ 1821276 h 6858000"/>
              <a:gd name="connsiteX24" fmla="*/ 2427102 w 12192000"/>
              <a:gd name="connsiteY24" fmla="*/ 1839529 h 6858000"/>
              <a:gd name="connsiteX25" fmla="*/ 2456777 w 12192000"/>
              <a:gd name="connsiteY25" fmla="*/ 1834832 h 6858000"/>
              <a:gd name="connsiteX26" fmla="*/ 2478873 w 12192000"/>
              <a:gd name="connsiteY26" fmla="*/ 1821276 h 6858000"/>
              <a:gd name="connsiteX27" fmla="*/ 2487840 w 12192000"/>
              <a:gd name="connsiteY27" fmla="*/ 1808360 h 6858000"/>
              <a:gd name="connsiteX28" fmla="*/ 2491683 w 12192000"/>
              <a:gd name="connsiteY28" fmla="*/ 1794803 h 6858000"/>
              <a:gd name="connsiteX29" fmla="*/ 2489548 w 12192000"/>
              <a:gd name="connsiteY29" fmla="*/ 1789359 h 6858000"/>
              <a:gd name="connsiteX30" fmla="*/ 2482289 w 12192000"/>
              <a:gd name="connsiteY30" fmla="*/ 1787865 h 6858000"/>
              <a:gd name="connsiteX31" fmla="*/ 2463395 w 12192000"/>
              <a:gd name="connsiteY31" fmla="*/ 1787865 h 6858000"/>
              <a:gd name="connsiteX32" fmla="*/ 2455176 w 12192000"/>
              <a:gd name="connsiteY32" fmla="*/ 1792988 h 6858000"/>
              <a:gd name="connsiteX33" fmla="*/ 2428170 w 12192000"/>
              <a:gd name="connsiteY33" fmla="*/ 1808787 h 6858000"/>
              <a:gd name="connsiteX34" fmla="*/ 2403405 w 12192000"/>
              <a:gd name="connsiteY34" fmla="*/ 1799180 h 6858000"/>
              <a:gd name="connsiteX35" fmla="*/ 2395933 w 12192000"/>
              <a:gd name="connsiteY35" fmla="*/ 1766836 h 6858000"/>
              <a:gd name="connsiteX36" fmla="*/ 2395933 w 12192000"/>
              <a:gd name="connsiteY36" fmla="*/ 1765342 h 6858000"/>
              <a:gd name="connsiteX37" fmla="*/ 2484104 w 12192000"/>
              <a:gd name="connsiteY37" fmla="*/ 1765342 h 6858000"/>
              <a:gd name="connsiteX38" fmla="*/ 2483997 w 12192000"/>
              <a:gd name="connsiteY38" fmla="*/ 1765448 h 6858000"/>
              <a:gd name="connsiteX39" fmla="*/ 2491896 w 12192000"/>
              <a:gd name="connsiteY39" fmla="*/ 1763634 h 6858000"/>
              <a:gd name="connsiteX40" fmla="*/ 2493711 w 12192000"/>
              <a:gd name="connsiteY40" fmla="*/ 1756589 h 6858000"/>
              <a:gd name="connsiteX41" fmla="*/ 2493711 w 12192000"/>
              <a:gd name="connsiteY41" fmla="*/ 1742285 h 6858000"/>
              <a:gd name="connsiteX42" fmla="*/ 2476845 w 12192000"/>
              <a:gd name="connsiteY42" fmla="*/ 1689660 h 6858000"/>
              <a:gd name="connsiteX43" fmla="*/ 2427423 w 12192000"/>
              <a:gd name="connsiteY43" fmla="*/ 1671727 h 6858000"/>
              <a:gd name="connsiteX44" fmla="*/ 2587112 w 12192000"/>
              <a:gd name="connsiteY44" fmla="*/ 1671513 h 6858000"/>
              <a:gd name="connsiteX45" fmla="*/ 2554555 w 12192000"/>
              <a:gd name="connsiteY45" fmla="*/ 1676103 h 6858000"/>
              <a:gd name="connsiteX46" fmla="*/ 2534487 w 12192000"/>
              <a:gd name="connsiteY46" fmla="*/ 1688912 h 6858000"/>
              <a:gd name="connsiteX47" fmla="*/ 2525093 w 12192000"/>
              <a:gd name="connsiteY47" fmla="*/ 1711115 h 6858000"/>
              <a:gd name="connsiteX48" fmla="*/ 2526908 w 12192000"/>
              <a:gd name="connsiteY48" fmla="*/ 1716132 h 6858000"/>
              <a:gd name="connsiteX49" fmla="*/ 2533633 w 12192000"/>
              <a:gd name="connsiteY49" fmla="*/ 1717840 h 6858000"/>
              <a:gd name="connsiteX50" fmla="*/ 2553380 w 12192000"/>
              <a:gd name="connsiteY50" fmla="*/ 1717840 h 6858000"/>
              <a:gd name="connsiteX51" fmla="*/ 2560105 w 12192000"/>
              <a:gd name="connsiteY51" fmla="*/ 1716773 h 6858000"/>
              <a:gd name="connsiteX52" fmla="*/ 2563201 w 12192000"/>
              <a:gd name="connsiteY52" fmla="*/ 1712076 h 6858000"/>
              <a:gd name="connsiteX53" fmla="*/ 2571740 w 12192000"/>
              <a:gd name="connsiteY53" fmla="*/ 1702149 h 6858000"/>
              <a:gd name="connsiteX54" fmla="*/ 2587218 w 12192000"/>
              <a:gd name="connsiteY54" fmla="*/ 1699266 h 6858000"/>
              <a:gd name="connsiteX55" fmla="*/ 2607393 w 12192000"/>
              <a:gd name="connsiteY55" fmla="*/ 1705778 h 6858000"/>
              <a:gd name="connsiteX56" fmla="*/ 2613904 w 12192000"/>
              <a:gd name="connsiteY56" fmla="*/ 1729368 h 6858000"/>
              <a:gd name="connsiteX57" fmla="*/ 2613904 w 12192000"/>
              <a:gd name="connsiteY57" fmla="*/ 1737267 h 6858000"/>
              <a:gd name="connsiteX58" fmla="*/ 2597039 w 12192000"/>
              <a:gd name="connsiteY58" fmla="*/ 1735880 h 6858000"/>
              <a:gd name="connsiteX59" fmla="*/ 2581027 w 12192000"/>
              <a:gd name="connsiteY59" fmla="*/ 1735453 h 6858000"/>
              <a:gd name="connsiteX60" fmla="*/ 2580920 w 12192000"/>
              <a:gd name="connsiteY60" fmla="*/ 1735346 h 6858000"/>
              <a:gd name="connsiteX61" fmla="*/ 2549751 w 12192000"/>
              <a:gd name="connsiteY61" fmla="*/ 1740043 h 6858000"/>
              <a:gd name="connsiteX62" fmla="*/ 2527228 w 12192000"/>
              <a:gd name="connsiteY62" fmla="*/ 1756054 h 6858000"/>
              <a:gd name="connsiteX63" fmla="*/ 2518902 w 12192000"/>
              <a:gd name="connsiteY63" fmla="*/ 1787330 h 6858000"/>
              <a:gd name="connsiteX64" fmla="*/ 2534273 w 12192000"/>
              <a:gd name="connsiteY64" fmla="*/ 1826079 h 6858000"/>
              <a:gd name="connsiteX65" fmla="*/ 2581881 w 12192000"/>
              <a:gd name="connsiteY65" fmla="*/ 1838034 h 6858000"/>
              <a:gd name="connsiteX66" fmla="*/ 2590421 w 12192000"/>
              <a:gd name="connsiteY66" fmla="*/ 1838034 h 6858000"/>
              <a:gd name="connsiteX67" fmla="*/ 2625860 w 12192000"/>
              <a:gd name="connsiteY67" fmla="*/ 1830775 h 6858000"/>
              <a:gd name="connsiteX68" fmla="*/ 2643686 w 12192000"/>
              <a:gd name="connsiteY68" fmla="*/ 1811455 h 6858000"/>
              <a:gd name="connsiteX69" fmla="*/ 2648810 w 12192000"/>
              <a:gd name="connsiteY69" fmla="*/ 1786049 h 6858000"/>
              <a:gd name="connsiteX70" fmla="*/ 2648810 w 12192000"/>
              <a:gd name="connsiteY70" fmla="*/ 1726806 h 6858000"/>
              <a:gd name="connsiteX71" fmla="*/ 2643366 w 12192000"/>
              <a:gd name="connsiteY71" fmla="*/ 1696598 h 6858000"/>
              <a:gd name="connsiteX72" fmla="*/ 2624472 w 12192000"/>
              <a:gd name="connsiteY72" fmla="*/ 1677918 h 6858000"/>
              <a:gd name="connsiteX73" fmla="*/ 2587112 w 12192000"/>
              <a:gd name="connsiteY73" fmla="*/ 1671513 h 6858000"/>
              <a:gd name="connsiteX74" fmla="*/ 2779785 w 12192000"/>
              <a:gd name="connsiteY74" fmla="*/ 1631164 h 6858000"/>
              <a:gd name="connsiteX75" fmla="*/ 2771993 w 12192000"/>
              <a:gd name="connsiteY75" fmla="*/ 1632872 h 6858000"/>
              <a:gd name="connsiteX76" fmla="*/ 2770071 w 12192000"/>
              <a:gd name="connsiteY76" fmla="*/ 1640024 h 6858000"/>
              <a:gd name="connsiteX77" fmla="*/ 2770071 w 12192000"/>
              <a:gd name="connsiteY77" fmla="*/ 1675890 h 6858000"/>
              <a:gd name="connsiteX78" fmla="*/ 2753953 w 12192000"/>
              <a:gd name="connsiteY78" fmla="*/ 1675890 h 6858000"/>
              <a:gd name="connsiteX79" fmla="*/ 2747868 w 12192000"/>
              <a:gd name="connsiteY79" fmla="*/ 1677598 h 6858000"/>
              <a:gd name="connsiteX80" fmla="*/ 2746374 w 12192000"/>
              <a:gd name="connsiteY80" fmla="*/ 1684429 h 6858000"/>
              <a:gd name="connsiteX81" fmla="*/ 2746374 w 12192000"/>
              <a:gd name="connsiteY81" fmla="*/ 1697239 h 6858000"/>
              <a:gd name="connsiteX82" fmla="*/ 2747868 w 12192000"/>
              <a:gd name="connsiteY82" fmla="*/ 1704070 h 6858000"/>
              <a:gd name="connsiteX83" fmla="*/ 2753953 w 12192000"/>
              <a:gd name="connsiteY83" fmla="*/ 1705778 h 6858000"/>
              <a:gd name="connsiteX84" fmla="*/ 2770071 w 12192000"/>
              <a:gd name="connsiteY84" fmla="*/ 1705778 h 6858000"/>
              <a:gd name="connsiteX85" fmla="*/ 2770071 w 12192000"/>
              <a:gd name="connsiteY85" fmla="*/ 1787544 h 6858000"/>
              <a:gd name="connsiteX86" fmla="*/ 2780105 w 12192000"/>
              <a:gd name="connsiteY86" fmla="*/ 1822343 h 6858000"/>
              <a:gd name="connsiteX87" fmla="*/ 2816932 w 12192000"/>
              <a:gd name="connsiteY87" fmla="*/ 1835259 h 6858000"/>
              <a:gd name="connsiteX88" fmla="*/ 2833904 w 12192000"/>
              <a:gd name="connsiteY88" fmla="*/ 1835259 h 6858000"/>
              <a:gd name="connsiteX89" fmla="*/ 2834011 w 12192000"/>
              <a:gd name="connsiteY89" fmla="*/ 1835366 h 6858000"/>
              <a:gd name="connsiteX90" fmla="*/ 2840202 w 12192000"/>
              <a:gd name="connsiteY90" fmla="*/ 1833658 h 6858000"/>
              <a:gd name="connsiteX91" fmla="*/ 2841590 w 12192000"/>
              <a:gd name="connsiteY91" fmla="*/ 1826826 h 6858000"/>
              <a:gd name="connsiteX92" fmla="*/ 2841590 w 12192000"/>
              <a:gd name="connsiteY92" fmla="*/ 1812522 h 6858000"/>
              <a:gd name="connsiteX93" fmla="*/ 2840095 w 12192000"/>
              <a:gd name="connsiteY93" fmla="*/ 1805691 h 6858000"/>
              <a:gd name="connsiteX94" fmla="*/ 2834011 w 12192000"/>
              <a:gd name="connsiteY94" fmla="*/ 1803983 h 6858000"/>
              <a:gd name="connsiteX95" fmla="*/ 2823123 w 12192000"/>
              <a:gd name="connsiteY95" fmla="*/ 1803983 h 6858000"/>
              <a:gd name="connsiteX96" fmla="*/ 2810207 w 12192000"/>
              <a:gd name="connsiteY96" fmla="*/ 1798646 h 6858000"/>
              <a:gd name="connsiteX97" fmla="*/ 2806364 w 12192000"/>
              <a:gd name="connsiteY97" fmla="*/ 1782100 h 6858000"/>
              <a:gd name="connsiteX98" fmla="*/ 2806364 w 12192000"/>
              <a:gd name="connsiteY98" fmla="*/ 1705778 h 6858000"/>
              <a:gd name="connsiteX99" fmla="*/ 2834011 w 12192000"/>
              <a:gd name="connsiteY99" fmla="*/ 1705778 h 6858000"/>
              <a:gd name="connsiteX100" fmla="*/ 2840095 w 12192000"/>
              <a:gd name="connsiteY100" fmla="*/ 1704070 h 6858000"/>
              <a:gd name="connsiteX101" fmla="*/ 2841590 w 12192000"/>
              <a:gd name="connsiteY101" fmla="*/ 1697239 h 6858000"/>
              <a:gd name="connsiteX102" fmla="*/ 2841590 w 12192000"/>
              <a:gd name="connsiteY102" fmla="*/ 1684429 h 6858000"/>
              <a:gd name="connsiteX103" fmla="*/ 2840095 w 12192000"/>
              <a:gd name="connsiteY103" fmla="*/ 1677598 h 6858000"/>
              <a:gd name="connsiteX104" fmla="*/ 2834011 w 12192000"/>
              <a:gd name="connsiteY104" fmla="*/ 1675890 h 6858000"/>
              <a:gd name="connsiteX105" fmla="*/ 2806364 w 12192000"/>
              <a:gd name="connsiteY105" fmla="*/ 1675890 h 6858000"/>
              <a:gd name="connsiteX106" fmla="*/ 2806364 w 12192000"/>
              <a:gd name="connsiteY106" fmla="*/ 1640024 h 6858000"/>
              <a:gd name="connsiteX107" fmla="*/ 2804336 w 12192000"/>
              <a:gd name="connsiteY107" fmla="*/ 1632872 h 6858000"/>
              <a:gd name="connsiteX108" fmla="*/ 2796544 w 12192000"/>
              <a:gd name="connsiteY108" fmla="*/ 1631164 h 6858000"/>
              <a:gd name="connsiteX109" fmla="*/ 2694924 w 12192000"/>
              <a:gd name="connsiteY109" fmla="*/ 1618782 h 6858000"/>
              <a:gd name="connsiteX110" fmla="*/ 2687131 w 12192000"/>
              <a:gd name="connsiteY110" fmla="*/ 1620490 h 6858000"/>
              <a:gd name="connsiteX111" fmla="*/ 2685210 w 12192000"/>
              <a:gd name="connsiteY111" fmla="*/ 1627642 h 6858000"/>
              <a:gd name="connsiteX112" fmla="*/ 2685210 w 12192000"/>
              <a:gd name="connsiteY112" fmla="*/ 1826399 h 6858000"/>
              <a:gd name="connsiteX113" fmla="*/ 2687131 w 12192000"/>
              <a:gd name="connsiteY113" fmla="*/ 1833551 h 6858000"/>
              <a:gd name="connsiteX114" fmla="*/ 2694924 w 12192000"/>
              <a:gd name="connsiteY114" fmla="*/ 1835259 h 6858000"/>
              <a:gd name="connsiteX115" fmla="*/ 2711683 w 12192000"/>
              <a:gd name="connsiteY115" fmla="*/ 1835259 h 6858000"/>
              <a:gd name="connsiteX116" fmla="*/ 2719475 w 12192000"/>
              <a:gd name="connsiteY116" fmla="*/ 1833551 h 6858000"/>
              <a:gd name="connsiteX117" fmla="*/ 2721503 w 12192000"/>
              <a:gd name="connsiteY117" fmla="*/ 1826399 h 6858000"/>
              <a:gd name="connsiteX118" fmla="*/ 2721503 w 12192000"/>
              <a:gd name="connsiteY118" fmla="*/ 1627642 h 6858000"/>
              <a:gd name="connsiteX119" fmla="*/ 2719475 w 12192000"/>
              <a:gd name="connsiteY119" fmla="*/ 1620490 h 6858000"/>
              <a:gd name="connsiteX120" fmla="*/ 2711683 w 12192000"/>
              <a:gd name="connsiteY120" fmla="*/ 1618782 h 6858000"/>
              <a:gd name="connsiteX121" fmla="*/ 2177641 w 12192000"/>
              <a:gd name="connsiteY121" fmla="*/ 1618782 h 6858000"/>
              <a:gd name="connsiteX122" fmla="*/ 2169849 w 12192000"/>
              <a:gd name="connsiteY122" fmla="*/ 1620490 h 6858000"/>
              <a:gd name="connsiteX123" fmla="*/ 2167821 w 12192000"/>
              <a:gd name="connsiteY123" fmla="*/ 1627642 h 6858000"/>
              <a:gd name="connsiteX124" fmla="*/ 2167821 w 12192000"/>
              <a:gd name="connsiteY124" fmla="*/ 1826399 h 6858000"/>
              <a:gd name="connsiteX125" fmla="*/ 2169849 w 12192000"/>
              <a:gd name="connsiteY125" fmla="*/ 1833551 h 6858000"/>
              <a:gd name="connsiteX126" fmla="*/ 2177641 w 12192000"/>
              <a:gd name="connsiteY126" fmla="*/ 1835259 h 6858000"/>
              <a:gd name="connsiteX127" fmla="*/ 2195148 w 12192000"/>
              <a:gd name="connsiteY127" fmla="*/ 1835259 h 6858000"/>
              <a:gd name="connsiteX128" fmla="*/ 2202940 w 12192000"/>
              <a:gd name="connsiteY128" fmla="*/ 1833551 h 6858000"/>
              <a:gd name="connsiteX129" fmla="*/ 2204968 w 12192000"/>
              <a:gd name="connsiteY129" fmla="*/ 1826399 h 6858000"/>
              <a:gd name="connsiteX130" fmla="*/ 2204968 w 12192000"/>
              <a:gd name="connsiteY130" fmla="*/ 1738229 h 6858000"/>
              <a:gd name="connsiteX131" fmla="*/ 2287161 w 12192000"/>
              <a:gd name="connsiteY131" fmla="*/ 1738229 h 6858000"/>
              <a:gd name="connsiteX132" fmla="*/ 2287161 w 12192000"/>
              <a:gd name="connsiteY132" fmla="*/ 1826399 h 6858000"/>
              <a:gd name="connsiteX133" fmla="*/ 2289082 w 12192000"/>
              <a:gd name="connsiteY133" fmla="*/ 1833551 h 6858000"/>
              <a:gd name="connsiteX134" fmla="*/ 2296875 w 12192000"/>
              <a:gd name="connsiteY134" fmla="*/ 1835259 h 6858000"/>
              <a:gd name="connsiteX135" fmla="*/ 2314487 w 12192000"/>
              <a:gd name="connsiteY135" fmla="*/ 1835259 h 6858000"/>
              <a:gd name="connsiteX136" fmla="*/ 2322280 w 12192000"/>
              <a:gd name="connsiteY136" fmla="*/ 1833551 h 6858000"/>
              <a:gd name="connsiteX137" fmla="*/ 2324201 w 12192000"/>
              <a:gd name="connsiteY137" fmla="*/ 1826399 h 6858000"/>
              <a:gd name="connsiteX138" fmla="*/ 2324201 w 12192000"/>
              <a:gd name="connsiteY138" fmla="*/ 1627642 h 6858000"/>
              <a:gd name="connsiteX139" fmla="*/ 2322280 w 12192000"/>
              <a:gd name="connsiteY139" fmla="*/ 1620490 h 6858000"/>
              <a:gd name="connsiteX140" fmla="*/ 2314487 w 12192000"/>
              <a:gd name="connsiteY140" fmla="*/ 1618782 h 6858000"/>
              <a:gd name="connsiteX141" fmla="*/ 2296875 w 12192000"/>
              <a:gd name="connsiteY141" fmla="*/ 1618782 h 6858000"/>
              <a:gd name="connsiteX142" fmla="*/ 2289082 w 12192000"/>
              <a:gd name="connsiteY142" fmla="*/ 1620490 h 6858000"/>
              <a:gd name="connsiteX143" fmla="*/ 2287161 w 12192000"/>
              <a:gd name="connsiteY143" fmla="*/ 1627642 h 6858000"/>
              <a:gd name="connsiteX144" fmla="*/ 2287161 w 12192000"/>
              <a:gd name="connsiteY144" fmla="*/ 1705458 h 6858000"/>
              <a:gd name="connsiteX145" fmla="*/ 2205075 w 12192000"/>
              <a:gd name="connsiteY145" fmla="*/ 1705458 h 6858000"/>
              <a:gd name="connsiteX146" fmla="*/ 2205075 w 12192000"/>
              <a:gd name="connsiteY146" fmla="*/ 1627642 h 6858000"/>
              <a:gd name="connsiteX147" fmla="*/ 2203047 w 12192000"/>
              <a:gd name="connsiteY147" fmla="*/ 1620490 h 6858000"/>
              <a:gd name="connsiteX148" fmla="*/ 2195254 w 12192000"/>
              <a:gd name="connsiteY148" fmla="*/ 1618782 h 6858000"/>
              <a:gd name="connsiteX149" fmla="*/ 2880658 w 12192000"/>
              <a:gd name="connsiteY149" fmla="*/ 1618675 h 6858000"/>
              <a:gd name="connsiteX150" fmla="*/ 2872865 w 12192000"/>
              <a:gd name="connsiteY150" fmla="*/ 1620490 h 6858000"/>
              <a:gd name="connsiteX151" fmla="*/ 2870944 w 12192000"/>
              <a:gd name="connsiteY151" fmla="*/ 1627535 h 6858000"/>
              <a:gd name="connsiteX152" fmla="*/ 2870944 w 12192000"/>
              <a:gd name="connsiteY152" fmla="*/ 1826292 h 6858000"/>
              <a:gd name="connsiteX153" fmla="*/ 2872865 w 12192000"/>
              <a:gd name="connsiteY153" fmla="*/ 1833338 h 6858000"/>
              <a:gd name="connsiteX154" fmla="*/ 2880658 w 12192000"/>
              <a:gd name="connsiteY154" fmla="*/ 1835152 h 6858000"/>
              <a:gd name="connsiteX155" fmla="*/ 2897417 w 12192000"/>
              <a:gd name="connsiteY155" fmla="*/ 1835152 h 6858000"/>
              <a:gd name="connsiteX156" fmla="*/ 2905316 w 12192000"/>
              <a:gd name="connsiteY156" fmla="*/ 1833338 h 6858000"/>
              <a:gd name="connsiteX157" fmla="*/ 2907130 w 12192000"/>
              <a:gd name="connsiteY157" fmla="*/ 1826292 h 6858000"/>
              <a:gd name="connsiteX158" fmla="*/ 2907130 w 12192000"/>
              <a:gd name="connsiteY158" fmla="*/ 1737268 h 6858000"/>
              <a:gd name="connsiteX159" fmla="*/ 2915350 w 12192000"/>
              <a:gd name="connsiteY159" fmla="*/ 1712183 h 6858000"/>
              <a:gd name="connsiteX160" fmla="*/ 2937873 w 12192000"/>
              <a:gd name="connsiteY160" fmla="*/ 1703216 h 6858000"/>
              <a:gd name="connsiteX161" fmla="*/ 2958794 w 12192000"/>
              <a:gd name="connsiteY161" fmla="*/ 1710688 h 6858000"/>
              <a:gd name="connsiteX162" fmla="*/ 2964559 w 12192000"/>
              <a:gd name="connsiteY162" fmla="*/ 1732144 h 6858000"/>
              <a:gd name="connsiteX163" fmla="*/ 2964559 w 12192000"/>
              <a:gd name="connsiteY163" fmla="*/ 1826399 h 6858000"/>
              <a:gd name="connsiteX164" fmla="*/ 2966587 w 12192000"/>
              <a:gd name="connsiteY164" fmla="*/ 1833444 h 6858000"/>
              <a:gd name="connsiteX165" fmla="*/ 2974379 w 12192000"/>
              <a:gd name="connsiteY165" fmla="*/ 1835259 h 6858000"/>
              <a:gd name="connsiteX166" fmla="*/ 2991138 w 12192000"/>
              <a:gd name="connsiteY166" fmla="*/ 1835259 h 6858000"/>
              <a:gd name="connsiteX167" fmla="*/ 2999037 w 12192000"/>
              <a:gd name="connsiteY167" fmla="*/ 1833444 h 6858000"/>
              <a:gd name="connsiteX168" fmla="*/ 3000852 w 12192000"/>
              <a:gd name="connsiteY168" fmla="*/ 1826399 h 6858000"/>
              <a:gd name="connsiteX169" fmla="*/ 3000852 w 12192000"/>
              <a:gd name="connsiteY169" fmla="*/ 1726700 h 6858000"/>
              <a:gd name="connsiteX170" fmla="*/ 2988256 w 12192000"/>
              <a:gd name="connsiteY170" fmla="*/ 1686458 h 6858000"/>
              <a:gd name="connsiteX171" fmla="*/ 2949828 w 12192000"/>
              <a:gd name="connsiteY171" fmla="*/ 1671727 h 6858000"/>
              <a:gd name="connsiteX172" fmla="*/ 2907237 w 12192000"/>
              <a:gd name="connsiteY172" fmla="*/ 1688699 h 6858000"/>
              <a:gd name="connsiteX173" fmla="*/ 2907237 w 12192000"/>
              <a:gd name="connsiteY173" fmla="*/ 1627642 h 6858000"/>
              <a:gd name="connsiteX174" fmla="*/ 2907130 w 12192000"/>
              <a:gd name="connsiteY174" fmla="*/ 1627535 h 6858000"/>
              <a:gd name="connsiteX175" fmla="*/ 2905316 w 12192000"/>
              <a:gd name="connsiteY175" fmla="*/ 1620490 h 6858000"/>
              <a:gd name="connsiteX176" fmla="*/ 2897417 w 12192000"/>
              <a:gd name="connsiteY176" fmla="*/ 1618675 h 6858000"/>
              <a:gd name="connsiteX177" fmla="*/ 2895923 w 12192000"/>
              <a:gd name="connsiteY177" fmla="*/ 1471367 h 6858000"/>
              <a:gd name="connsiteX178" fmla="*/ 2909266 w 12192000"/>
              <a:gd name="connsiteY178" fmla="*/ 1471688 h 6858000"/>
              <a:gd name="connsiteX179" fmla="*/ 2926879 w 12192000"/>
              <a:gd name="connsiteY179" fmla="*/ 1473182 h 6858000"/>
              <a:gd name="connsiteX180" fmla="*/ 2926879 w 12192000"/>
              <a:gd name="connsiteY180" fmla="*/ 1486845 h 6858000"/>
              <a:gd name="connsiteX181" fmla="*/ 2920474 w 12192000"/>
              <a:gd name="connsiteY181" fmla="*/ 1511503 h 6858000"/>
              <a:gd name="connsiteX182" fmla="*/ 2899232 w 12192000"/>
              <a:gd name="connsiteY182" fmla="*/ 1518762 h 6858000"/>
              <a:gd name="connsiteX183" fmla="*/ 2894108 w 12192000"/>
              <a:gd name="connsiteY183" fmla="*/ 1518762 h 6858000"/>
              <a:gd name="connsiteX184" fmla="*/ 2874360 w 12192000"/>
              <a:gd name="connsiteY184" fmla="*/ 1513638 h 6858000"/>
              <a:gd name="connsiteX185" fmla="*/ 2867315 w 12192000"/>
              <a:gd name="connsiteY185" fmla="*/ 1495385 h 6858000"/>
              <a:gd name="connsiteX186" fmla="*/ 2874467 w 12192000"/>
              <a:gd name="connsiteY186" fmla="*/ 1476811 h 6858000"/>
              <a:gd name="connsiteX187" fmla="*/ 2895923 w 12192000"/>
              <a:gd name="connsiteY187" fmla="*/ 1471367 h 6858000"/>
              <a:gd name="connsiteX188" fmla="*/ 3716786 w 12192000"/>
              <a:gd name="connsiteY188" fmla="*/ 1410203 h 6858000"/>
              <a:gd name="connsiteX189" fmla="*/ 3741657 w 12192000"/>
              <a:gd name="connsiteY189" fmla="*/ 1419917 h 6858000"/>
              <a:gd name="connsiteX190" fmla="*/ 3749556 w 12192000"/>
              <a:gd name="connsiteY190" fmla="*/ 1450339 h 6858000"/>
              <a:gd name="connsiteX191" fmla="*/ 3749556 w 12192000"/>
              <a:gd name="connsiteY191" fmla="*/ 1469233 h 6858000"/>
              <a:gd name="connsiteX192" fmla="*/ 3716679 w 12192000"/>
              <a:gd name="connsiteY192" fmla="*/ 1510863 h 6858000"/>
              <a:gd name="connsiteX193" fmla="*/ 3683588 w 12192000"/>
              <a:gd name="connsiteY193" fmla="*/ 1469233 h 6858000"/>
              <a:gd name="connsiteX194" fmla="*/ 3683588 w 12192000"/>
              <a:gd name="connsiteY194" fmla="*/ 1450339 h 6858000"/>
              <a:gd name="connsiteX195" fmla="*/ 3683695 w 12192000"/>
              <a:gd name="connsiteY195" fmla="*/ 1450339 h 6858000"/>
              <a:gd name="connsiteX196" fmla="*/ 3691701 w 12192000"/>
              <a:gd name="connsiteY196" fmla="*/ 1419917 h 6858000"/>
              <a:gd name="connsiteX197" fmla="*/ 3716786 w 12192000"/>
              <a:gd name="connsiteY197" fmla="*/ 1410203 h 6858000"/>
              <a:gd name="connsiteX198" fmla="*/ 3061696 w 12192000"/>
              <a:gd name="connsiteY198" fmla="*/ 1410203 h 6858000"/>
              <a:gd name="connsiteX199" fmla="*/ 3086568 w 12192000"/>
              <a:gd name="connsiteY199" fmla="*/ 1419917 h 6858000"/>
              <a:gd name="connsiteX200" fmla="*/ 3094467 w 12192000"/>
              <a:gd name="connsiteY200" fmla="*/ 1450339 h 6858000"/>
              <a:gd name="connsiteX201" fmla="*/ 3094467 w 12192000"/>
              <a:gd name="connsiteY201" fmla="*/ 1469233 h 6858000"/>
              <a:gd name="connsiteX202" fmla="*/ 3061590 w 12192000"/>
              <a:gd name="connsiteY202" fmla="*/ 1510863 h 6858000"/>
              <a:gd name="connsiteX203" fmla="*/ 3028499 w 12192000"/>
              <a:gd name="connsiteY203" fmla="*/ 1469233 h 6858000"/>
              <a:gd name="connsiteX204" fmla="*/ 3028499 w 12192000"/>
              <a:gd name="connsiteY204" fmla="*/ 1450339 h 6858000"/>
              <a:gd name="connsiteX205" fmla="*/ 3028606 w 12192000"/>
              <a:gd name="connsiteY205" fmla="*/ 1450339 h 6858000"/>
              <a:gd name="connsiteX206" fmla="*/ 3036612 w 12192000"/>
              <a:gd name="connsiteY206" fmla="*/ 1419917 h 6858000"/>
              <a:gd name="connsiteX207" fmla="*/ 3061696 w 12192000"/>
              <a:gd name="connsiteY207" fmla="*/ 1410203 h 6858000"/>
              <a:gd name="connsiteX208" fmla="*/ 2411035 w 12192000"/>
              <a:gd name="connsiteY208" fmla="*/ 1409049 h 6858000"/>
              <a:gd name="connsiteX209" fmla="*/ 2433187 w 12192000"/>
              <a:gd name="connsiteY209" fmla="*/ 1417996 h 6858000"/>
              <a:gd name="connsiteX210" fmla="*/ 2440232 w 12192000"/>
              <a:gd name="connsiteY210" fmla="*/ 1446069 h 6858000"/>
              <a:gd name="connsiteX211" fmla="*/ 2379175 w 12192000"/>
              <a:gd name="connsiteY211" fmla="*/ 1446069 h 6858000"/>
              <a:gd name="connsiteX212" fmla="*/ 2387180 w 12192000"/>
              <a:gd name="connsiteY212" fmla="*/ 1417675 h 6858000"/>
              <a:gd name="connsiteX213" fmla="*/ 2410984 w 12192000"/>
              <a:gd name="connsiteY213" fmla="*/ 1409029 h 6858000"/>
              <a:gd name="connsiteX214" fmla="*/ 2411091 w 12192000"/>
              <a:gd name="connsiteY214" fmla="*/ 1409029 h 6858000"/>
              <a:gd name="connsiteX215" fmla="*/ 2411035 w 12192000"/>
              <a:gd name="connsiteY215" fmla="*/ 1409049 h 6858000"/>
              <a:gd name="connsiteX216" fmla="*/ 3419716 w 12192000"/>
              <a:gd name="connsiteY216" fmla="*/ 1384052 h 6858000"/>
              <a:gd name="connsiteX217" fmla="*/ 3411924 w 12192000"/>
              <a:gd name="connsiteY217" fmla="*/ 1385760 h 6858000"/>
              <a:gd name="connsiteX218" fmla="*/ 3409895 w 12192000"/>
              <a:gd name="connsiteY218" fmla="*/ 1392911 h 6858000"/>
              <a:gd name="connsiteX219" fmla="*/ 3409895 w 12192000"/>
              <a:gd name="connsiteY219" fmla="*/ 1534561 h 6858000"/>
              <a:gd name="connsiteX220" fmla="*/ 3411924 w 12192000"/>
              <a:gd name="connsiteY220" fmla="*/ 1541713 h 6858000"/>
              <a:gd name="connsiteX221" fmla="*/ 3419716 w 12192000"/>
              <a:gd name="connsiteY221" fmla="*/ 1543421 h 6858000"/>
              <a:gd name="connsiteX222" fmla="*/ 3436475 w 12192000"/>
              <a:gd name="connsiteY222" fmla="*/ 1543421 h 6858000"/>
              <a:gd name="connsiteX223" fmla="*/ 3444267 w 12192000"/>
              <a:gd name="connsiteY223" fmla="*/ 1541713 h 6858000"/>
              <a:gd name="connsiteX224" fmla="*/ 3446188 w 12192000"/>
              <a:gd name="connsiteY224" fmla="*/ 1534561 h 6858000"/>
              <a:gd name="connsiteX225" fmla="*/ 3446188 w 12192000"/>
              <a:gd name="connsiteY225" fmla="*/ 1392911 h 6858000"/>
              <a:gd name="connsiteX226" fmla="*/ 3444267 w 12192000"/>
              <a:gd name="connsiteY226" fmla="*/ 1385760 h 6858000"/>
              <a:gd name="connsiteX227" fmla="*/ 3436475 w 12192000"/>
              <a:gd name="connsiteY227" fmla="*/ 1384052 h 6858000"/>
              <a:gd name="connsiteX228" fmla="*/ 3176126 w 12192000"/>
              <a:gd name="connsiteY228" fmla="*/ 1384052 h 6858000"/>
              <a:gd name="connsiteX229" fmla="*/ 3168334 w 12192000"/>
              <a:gd name="connsiteY229" fmla="*/ 1385760 h 6858000"/>
              <a:gd name="connsiteX230" fmla="*/ 3166412 w 12192000"/>
              <a:gd name="connsiteY230" fmla="*/ 1392911 h 6858000"/>
              <a:gd name="connsiteX231" fmla="*/ 3166412 w 12192000"/>
              <a:gd name="connsiteY231" fmla="*/ 1534561 h 6858000"/>
              <a:gd name="connsiteX232" fmla="*/ 3168334 w 12192000"/>
              <a:gd name="connsiteY232" fmla="*/ 1541713 h 6858000"/>
              <a:gd name="connsiteX233" fmla="*/ 3176126 w 12192000"/>
              <a:gd name="connsiteY233" fmla="*/ 1543421 h 6858000"/>
              <a:gd name="connsiteX234" fmla="*/ 3192885 w 12192000"/>
              <a:gd name="connsiteY234" fmla="*/ 1543421 h 6858000"/>
              <a:gd name="connsiteX235" fmla="*/ 3200677 w 12192000"/>
              <a:gd name="connsiteY235" fmla="*/ 1541713 h 6858000"/>
              <a:gd name="connsiteX236" fmla="*/ 3202705 w 12192000"/>
              <a:gd name="connsiteY236" fmla="*/ 1534561 h 6858000"/>
              <a:gd name="connsiteX237" fmla="*/ 3202705 w 12192000"/>
              <a:gd name="connsiteY237" fmla="*/ 1392911 h 6858000"/>
              <a:gd name="connsiteX238" fmla="*/ 3200677 w 12192000"/>
              <a:gd name="connsiteY238" fmla="*/ 1385760 h 6858000"/>
              <a:gd name="connsiteX239" fmla="*/ 3192885 w 12192000"/>
              <a:gd name="connsiteY239" fmla="*/ 1384052 h 6858000"/>
              <a:gd name="connsiteX240" fmla="*/ 2519650 w 12192000"/>
              <a:gd name="connsiteY240" fmla="*/ 1384052 h 6858000"/>
              <a:gd name="connsiteX241" fmla="*/ 2511858 w 12192000"/>
              <a:gd name="connsiteY241" fmla="*/ 1385760 h 6858000"/>
              <a:gd name="connsiteX242" fmla="*/ 2509829 w 12192000"/>
              <a:gd name="connsiteY242" fmla="*/ 1392911 h 6858000"/>
              <a:gd name="connsiteX243" fmla="*/ 2509829 w 12192000"/>
              <a:gd name="connsiteY243" fmla="*/ 1534561 h 6858000"/>
              <a:gd name="connsiteX244" fmla="*/ 2511858 w 12192000"/>
              <a:gd name="connsiteY244" fmla="*/ 1541713 h 6858000"/>
              <a:gd name="connsiteX245" fmla="*/ 2519650 w 12192000"/>
              <a:gd name="connsiteY245" fmla="*/ 1543421 h 6858000"/>
              <a:gd name="connsiteX246" fmla="*/ 2536409 w 12192000"/>
              <a:gd name="connsiteY246" fmla="*/ 1543421 h 6858000"/>
              <a:gd name="connsiteX247" fmla="*/ 2544201 w 12192000"/>
              <a:gd name="connsiteY247" fmla="*/ 1541713 h 6858000"/>
              <a:gd name="connsiteX248" fmla="*/ 2546122 w 12192000"/>
              <a:gd name="connsiteY248" fmla="*/ 1534561 h 6858000"/>
              <a:gd name="connsiteX249" fmla="*/ 2546122 w 12192000"/>
              <a:gd name="connsiteY249" fmla="*/ 1392911 h 6858000"/>
              <a:gd name="connsiteX250" fmla="*/ 2544201 w 12192000"/>
              <a:gd name="connsiteY250" fmla="*/ 1385760 h 6858000"/>
              <a:gd name="connsiteX251" fmla="*/ 2536409 w 12192000"/>
              <a:gd name="connsiteY251" fmla="*/ 1384052 h 6858000"/>
              <a:gd name="connsiteX252" fmla="*/ 3716572 w 12192000"/>
              <a:gd name="connsiteY252" fmla="*/ 1379888 h 6858000"/>
              <a:gd name="connsiteX253" fmla="*/ 3665548 w 12192000"/>
              <a:gd name="connsiteY253" fmla="*/ 1398141 h 6858000"/>
              <a:gd name="connsiteX254" fmla="*/ 3647295 w 12192000"/>
              <a:gd name="connsiteY254" fmla="*/ 1448951 h 6858000"/>
              <a:gd name="connsiteX255" fmla="*/ 3647295 w 12192000"/>
              <a:gd name="connsiteY255" fmla="*/ 1474143 h 6858000"/>
              <a:gd name="connsiteX256" fmla="*/ 3663413 w 12192000"/>
              <a:gd name="connsiteY256" fmla="*/ 1524099 h 6858000"/>
              <a:gd name="connsiteX257" fmla="*/ 3709954 w 12192000"/>
              <a:gd name="connsiteY257" fmla="*/ 1541605 h 6858000"/>
              <a:gd name="connsiteX258" fmla="*/ 3748915 w 12192000"/>
              <a:gd name="connsiteY258" fmla="*/ 1527942 h 6858000"/>
              <a:gd name="connsiteX259" fmla="*/ 3748915 w 12192000"/>
              <a:gd name="connsiteY259" fmla="*/ 1543100 h 6858000"/>
              <a:gd name="connsiteX260" fmla="*/ 3741016 w 12192000"/>
              <a:gd name="connsiteY260" fmla="*/ 1564982 h 6858000"/>
              <a:gd name="connsiteX261" fmla="*/ 3730342 w 12192000"/>
              <a:gd name="connsiteY261" fmla="*/ 1570960 h 6858000"/>
              <a:gd name="connsiteX262" fmla="*/ 3715184 w 12192000"/>
              <a:gd name="connsiteY262" fmla="*/ 1573202 h 6858000"/>
              <a:gd name="connsiteX263" fmla="*/ 3700240 w 12192000"/>
              <a:gd name="connsiteY263" fmla="*/ 1571067 h 6858000"/>
              <a:gd name="connsiteX264" fmla="*/ 3690847 w 12192000"/>
              <a:gd name="connsiteY264" fmla="*/ 1563168 h 6858000"/>
              <a:gd name="connsiteX265" fmla="*/ 3690740 w 12192000"/>
              <a:gd name="connsiteY265" fmla="*/ 1563168 h 6858000"/>
              <a:gd name="connsiteX266" fmla="*/ 3686470 w 12192000"/>
              <a:gd name="connsiteY266" fmla="*/ 1558471 h 6858000"/>
              <a:gd name="connsiteX267" fmla="*/ 3681346 w 12192000"/>
              <a:gd name="connsiteY267" fmla="*/ 1557404 h 6858000"/>
              <a:gd name="connsiteX268" fmla="*/ 3661278 w 12192000"/>
              <a:gd name="connsiteY268" fmla="*/ 1557404 h 6858000"/>
              <a:gd name="connsiteX269" fmla="*/ 3653059 w 12192000"/>
              <a:gd name="connsiteY269" fmla="*/ 1563168 h 6858000"/>
              <a:gd name="connsiteX270" fmla="*/ 3669498 w 12192000"/>
              <a:gd name="connsiteY270" fmla="*/ 1589747 h 6858000"/>
              <a:gd name="connsiteX271" fmla="*/ 3714437 w 12192000"/>
              <a:gd name="connsiteY271" fmla="*/ 1599674 h 6858000"/>
              <a:gd name="connsiteX272" fmla="*/ 3768129 w 12192000"/>
              <a:gd name="connsiteY272" fmla="*/ 1585584 h 6858000"/>
              <a:gd name="connsiteX273" fmla="*/ 3784995 w 12192000"/>
              <a:gd name="connsiteY273" fmla="*/ 1540431 h 6858000"/>
              <a:gd name="connsiteX274" fmla="*/ 3784995 w 12192000"/>
              <a:gd name="connsiteY274" fmla="*/ 1442547 h 6858000"/>
              <a:gd name="connsiteX275" fmla="*/ 3767062 w 12192000"/>
              <a:gd name="connsiteY275" fmla="*/ 1396327 h 6858000"/>
              <a:gd name="connsiteX276" fmla="*/ 3716572 w 12192000"/>
              <a:gd name="connsiteY276" fmla="*/ 1379888 h 6858000"/>
              <a:gd name="connsiteX277" fmla="*/ 3564782 w 12192000"/>
              <a:gd name="connsiteY277" fmla="*/ 1379888 h 6858000"/>
              <a:gd name="connsiteX278" fmla="*/ 3539377 w 12192000"/>
              <a:gd name="connsiteY278" fmla="*/ 1385012 h 6858000"/>
              <a:gd name="connsiteX279" fmla="*/ 3521017 w 12192000"/>
              <a:gd name="connsiteY279" fmla="*/ 1399315 h 6858000"/>
              <a:gd name="connsiteX280" fmla="*/ 3521017 w 12192000"/>
              <a:gd name="connsiteY280" fmla="*/ 1392911 h 6858000"/>
              <a:gd name="connsiteX281" fmla="*/ 3518988 w 12192000"/>
              <a:gd name="connsiteY281" fmla="*/ 1385759 h 6858000"/>
              <a:gd name="connsiteX282" fmla="*/ 3511196 w 12192000"/>
              <a:gd name="connsiteY282" fmla="*/ 1384051 h 6858000"/>
              <a:gd name="connsiteX283" fmla="*/ 3495078 w 12192000"/>
              <a:gd name="connsiteY283" fmla="*/ 1384051 h 6858000"/>
              <a:gd name="connsiteX284" fmla="*/ 3487285 w 12192000"/>
              <a:gd name="connsiteY284" fmla="*/ 1385759 h 6858000"/>
              <a:gd name="connsiteX285" fmla="*/ 3485364 w 12192000"/>
              <a:gd name="connsiteY285" fmla="*/ 1392911 h 6858000"/>
              <a:gd name="connsiteX286" fmla="*/ 3485364 w 12192000"/>
              <a:gd name="connsiteY286" fmla="*/ 1534454 h 6858000"/>
              <a:gd name="connsiteX287" fmla="*/ 3487285 w 12192000"/>
              <a:gd name="connsiteY287" fmla="*/ 1541605 h 6858000"/>
              <a:gd name="connsiteX288" fmla="*/ 3495078 w 12192000"/>
              <a:gd name="connsiteY288" fmla="*/ 1543313 h 6858000"/>
              <a:gd name="connsiteX289" fmla="*/ 3511837 w 12192000"/>
              <a:gd name="connsiteY289" fmla="*/ 1543313 h 6858000"/>
              <a:gd name="connsiteX290" fmla="*/ 3519629 w 12192000"/>
              <a:gd name="connsiteY290" fmla="*/ 1541605 h 6858000"/>
              <a:gd name="connsiteX291" fmla="*/ 3521657 w 12192000"/>
              <a:gd name="connsiteY291" fmla="*/ 1534454 h 6858000"/>
              <a:gd name="connsiteX292" fmla="*/ 3521657 w 12192000"/>
              <a:gd name="connsiteY292" fmla="*/ 1445429 h 6858000"/>
              <a:gd name="connsiteX293" fmla="*/ 3529983 w 12192000"/>
              <a:gd name="connsiteY293" fmla="*/ 1420344 h 6858000"/>
              <a:gd name="connsiteX294" fmla="*/ 3552933 w 12192000"/>
              <a:gd name="connsiteY294" fmla="*/ 1411378 h 6858000"/>
              <a:gd name="connsiteX295" fmla="*/ 3573428 w 12192000"/>
              <a:gd name="connsiteY295" fmla="*/ 1418850 h 6858000"/>
              <a:gd name="connsiteX296" fmla="*/ 3579085 w 12192000"/>
              <a:gd name="connsiteY296" fmla="*/ 1440305 h 6858000"/>
              <a:gd name="connsiteX297" fmla="*/ 3579085 w 12192000"/>
              <a:gd name="connsiteY297" fmla="*/ 1534560 h 6858000"/>
              <a:gd name="connsiteX298" fmla="*/ 3581114 w 12192000"/>
              <a:gd name="connsiteY298" fmla="*/ 1541712 h 6858000"/>
              <a:gd name="connsiteX299" fmla="*/ 3588906 w 12192000"/>
              <a:gd name="connsiteY299" fmla="*/ 1543420 h 6858000"/>
              <a:gd name="connsiteX300" fmla="*/ 3605665 w 12192000"/>
              <a:gd name="connsiteY300" fmla="*/ 1543420 h 6858000"/>
              <a:gd name="connsiteX301" fmla="*/ 3613457 w 12192000"/>
              <a:gd name="connsiteY301" fmla="*/ 1541712 h 6858000"/>
              <a:gd name="connsiteX302" fmla="*/ 3615485 w 12192000"/>
              <a:gd name="connsiteY302" fmla="*/ 1534560 h 6858000"/>
              <a:gd name="connsiteX303" fmla="*/ 3615485 w 12192000"/>
              <a:gd name="connsiteY303" fmla="*/ 1434861 h 6858000"/>
              <a:gd name="connsiteX304" fmla="*/ 3602996 w 12192000"/>
              <a:gd name="connsiteY304" fmla="*/ 1394619 h 6858000"/>
              <a:gd name="connsiteX305" fmla="*/ 3564995 w 12192000"/>
              <a:gd name="connsiteY305" fmla="*/ 1379888 h 6858000"/>
              <a:gd name="connsiteX306" fmla="*/ 3321405 w 12192000"/>
              <a:gd name="connsiteY306" fmla="*/ 1379888 h 6858000"/>
              <a:gd name="connsiteX307" fmla="*/ 3296000 w 12192000"/>
              <a:gd name="connsiteY307" fmla="*/ 1385012 h 6858000"/>
              <a:gd name="connsiteX308" fmla="*/ 3277640 w 12192000"/>
              <a:gd name="connsiteY308" fmla="*/ 1399315 h 6858000"/>
              <a:gd name="connsiteX309" fmla="*/ 3277640 w 12192000"/>
              <a:gd name="connsiteY309" fmla="*/ 1392911 h 6858000"/>
              <a:gd name="connsiteX310" fmla="*/ 3275718 w 12192000"/>
              <a:gd name="connsiteY310" fmla="*/ 1385759 h 6858000"/>
              <a:gd name="connsiteX311" fmla="*/ 3267926 w 12192000"/>
              <a:gd name="connsiteY311" fmla="*/ 1384051 h 6858000"/>
              <a:gd name="connsiteX312" fmla="*/ 3251807 w 12192000"/>
              <a:gd name="connsiteY312" fmla="*/ 1384051 h 6858000"/>
              <a:gd name="connsiteX313" fmla="*/ 3244015 w 12192000"/>
              <a:gd name="connsiteY313" fmla="*/ 1385759 h 6858000"/>
              <a:gd name="connsiteX314" fmla="*/ 3241987 w 12192000"/>
              <a:gd name="connsiteY314" fmla="*/ 1392911 h 6858000"/>
              <a:gd name="connsiteX315" fmla="*/ 3241987 w 12192000"/>
              <a:gd name="connsiteY315" fmla="*/ 1534454 h 6858000"/>
              <a:gd name="connsiteX316" fmla="*/ 3244015 w 12192000"/>
              <a:gd name="connsiteY316" fmla="*/ 1541605 h 6858000"/>
              <a:gd name="connsiteX317" fmla="*/ 3251807 w 12192000"/>
              <a:gd name="connsiteY317" fmla="*/ 1543313 h 6858000"/>
              <a:gd name="connsiteX318" fmla="*/ 3268566 w 12192000"/>
              <a:gd name="connsiteY318" fmla="*/ 1543313 h 6858000"/>
              <a:gd name="connsiteX319" fmla="*/ 3276359 w 12192000"/>
              <a:gd name="connsiteY319" fmla="*/ 1541605 h 6858000"/>
              <a:gd name="connsiteX320" fmla="*/ 3278280 w 12192000"/>
              <a:gd name="connsiteY320" fmla="*/ 1534454 h 6858000"/>
              <a:gd name="connsiteX321" fmla="*/ 3278280 w 12192000"/>
              <a:gd name="connsiteY321" fmla="*/ 1445429 h 6858000"/>
              <a:gd name="connsiteX322" fmla="*/ 3286606 w 12192000"/>
              <a:gd name="connsiteY322" fmla="*/ 1420344 h 6858000"/>
              <a:gd name="connsiteX323" fmla="*/ 3309556 w 12192000"/>
              <a:gd name="connsiteY323" fmla="*/ 1411378 h 6858000"/>
              <a:gd name="connsiteX324" fmla="*/ 3330051 w 12192000"/>
              <a:gd name="connsiteY324" fmla="*/ 1418850 h 6858000"/>
              <a:gd name="connsiteX325" fmla="*/ 3335708 w 12192000"/>
              <a:gd name="connsiteY325" fmla="*/ 1440305 h 6858000"/>
              <a:gd name="connsiteX326" fmla="*/ 3335708 w 12192000"/>
              <a:gd name="connsiteY326" fmla="*/ 1534560 h 6858000"/>
              <a:gd name="connsiteX327" fmla="*/ 3337630 w 12192000"/>
              <a:gd name="connsiteY327" fmla="*/ 1541712 h 6858000"/>
              <a:gd name="connsiteX328" fmla="*/ 3345422 w 12192000"/>
              <a:gd name="connsiteY328" fmla="*/ 1543420 h 6858000"/>
              <a:gd name="connsiteX329" fmla="*/ 3362181 w 12192000"/>
              <a:gd name="connsiteY329" fmla="*/ 1543420 h 6858000"/>
              <a:gd name="connsiteX330" fmla="*/ 3369973 w 12192000"/>
              <a:gd name="connsiteY330" fmla="*/ 1541712 h 6858000"/>
              <a:gd name="connsiteX331" fmla="*/ 3372001 w 12192000"/>
              <a:gd name="connsiteY331" fmla="*/ 1534560 h 6858000"/>
              <a:gd name="connsiteX332" fmla="*/ 3372001 w 12192000"/>
              <a:gd name="connsiteY332" fmla="*/ 1434861 h 6858000"/>
              <a:gd name="connsiteX333" fmla="*/ 3359512 w 12192000"/>
              <a:gd name="connsiteY333" fmla="*/ 1394619 h 6858000"/>
              <a:gd name="connsiteX334" fmla="*/ 3321511 w 12192000"/>
              <a:gd name="connsiteY334" fmla="*/ 1379888 h 6858000"/>
              <a:gd name="connsiteX335" fmla="*/ 3061483 w 12192000"/>
              <a:gd name="connsiteY335" fmla="*/ 1379888 h 6858000"/>
              <a:gd name="connsiteX336" fmla="*/ 3010459 w 12192000"/>
              <a:gd name="connsiteY336" fmla="*/ 1398141 h 6858000"/>
              <a:gd name="connsiteX337" fmla="*/ 2992206 w 12192000"/>
              <a:gd name="connsiteY337" fmla="*/ 1448951 h 6858000"/>
              <a:gd name="connsiteX338" fmla="*/ 2992206 w 12192000"/>
              <a:gd name="connsiteY338" fmla="*/ 1474143 h 6858000"/>
              <a:gd name="connsiteX339" fmla="*/ 3008324 w 12192000"/>
              <a:gd name="connsiteY339" fmla="*/ 1524099 h 6858000"/>
              <a:gd name="connsiteX340" fmla="*/ 3054865 w 12192000"/>
              <a:gd name="connsiteY340" fmla="*/ 1541605 h 6858000"/>
              <a:gd name="connsiteX341" fmla="*/ 3093720 w 12192000"/>
              <a:gd name="connsiteY341" fmla="*/ 1527942 h 6858000"/>
              <a:gd name="connsiteX342" fmla="*/ 3093720 w 12192000"/>
              <a:gd name="connsiteY342" fmla="*/ 1543100 h 6858000"/>
              <a:gd name="connsiteX343" fmla="*/ 3085821 w 12192000"/>
              <a:gd name="connsiteY343" fmla="*/ 1564982 h 6858000"/>
              <a:gd name="connsiteX344" fmla="*/ 3075146 w 12192000"/>
              <a:gd name="connsiteY344" fmla="*/ 1570960 h 6858000"/>
              <a:gd name="connsiteX345" fmla="*/ 3059989 w 12192000"/>
              <a:gd name="connsiteY345" fmla="*/ 1573202 h 6858000"/>
              <a:gd name="connsiteX346" fmla="*/ 3045151 w 12192000"/>
              <a:gd name="connsiteY346" fmla="*/ 1571067 h 6858000"/>
              <a:gd name="connsiteX347" fmla="*/ 3035758 w 12192000"/>
              <a:gd name="connsiteY347" fmla="*/ 1563168 h 6858000"/>
              <a:gd name="connsiteX348" fmla="*/ 3035651 w 12192000"/>
              <a:gd name="connsiteY348" fmla="*/ 1563168 h 6858000"/>
              <a:gd name="connsiteX349" fmla="*/ 3031381 w 12192000"/>
              <a:gd name="connsiteY349" fmla="*/ 1558471 h 6858000"/>
              <a:gd name="connsiteX350" fmla="*/ 3026257 w 12192000"/>
              <a:gd name="connsiteY350" fmla="*/ 1557404 h 6858000"/>
              <a:gd name="connsiteX351" fmla="*/ 3006189 w 12192000"/>
              <a:gd name="connsiteY351" fmla="*/ 1557404 h 6858000"/>
              <a:gd name="connsiteX352" fmla="*/ 2997970 w 12192000"/>
              <a:gd name="connsiteY352" fmla="*/ 1563168 h 6858000"/>
              <a:gd name="connsiteX353" fmla="*/ 3014409 w 12192000"/>
              <a:gd name="connsiteY353" fmla="*/ 1589747 h 6858000"/>
              <a:gd name="connsiteX354" fmla="*/ 3059348 w 12192000"/>
              <a:gd name="connsiteY354" fmla="*/ 1599674 h 6858000"/>
              <a:gd name="connsiteX355" fmla="*/ 3113040 w 12192000"/>
              <a:gd name="connsiteY355" fmla="*/ 1585584 h 6858000"/>
              <a:gd name="connsiteX356" fmla="*/ 3129906 w 12192000"/>
              <a:gd name="connsiteY356" fmla="*/ 1540431 h 6858000"/>
              <a:gd name="connsiteX357" fmla="*/ 3129906 w 12192000"/>
              <a:gd name="connsiteY357" fmla="*/ 1442547 h 6858000"/>
              <a:gd name="connsiteX358" fmla="*/ 3111973 w 12192000"/>
              <a:gd name="connsiteY358" fmla="*/ 1396327 h 6858000"/>
              <a:gd name="connsiteX359" fmla="*/ 3061483 w 12192000"/>
              <a:gd name="connsiteY359" fmla="*/ 1379888 h 6858000"/>
              <a:gd name="connsiteX360" fmla="*/ 2662900 w 12192000"/>
              <a:gd name="connsiteY360" fmla="*/ 1379888 h 6858000"/>
              <a:gd name="connsiteX361" fmla="*/ 2620950 w 12192000"/>
              <a:gd name="connsiteY361" fmla="*/ 1398995 h 6858000"/>
              <a:gd name="connsiteX362" fmla="*/ 2620950 w 12192000"/>
              <a:gd name="connsiteY362" fmla="*/ 1392911 h 6858000"/>
              <a:gd name="connsiteX363" fmla="*/ 2619028 w 12192000"/>
              <a:gd name="connsiteY363" fmla="*/ 1385759 h 6858000"/>
              <a:gd name="connsiteX364" fmla="*/ 2611236 w 12192000"/>
              <a:gd name="connsiteY364" fmla="*/ 1384051 h 6858000"/>
              <a:gd name="connsiteX365" fmla="*/ 2595117 w 12192000"/>
              <a:gd name="connsiteY365" fmla="*/ 1384051 h 6858000"/>
              <a:gd name="connsiteX366" fmla="*/ 2587325 w 12192000"/>
              <a:gd name="connsiteY366" fmla="*/ 1385759 h 6858000"/>
              <a:gd name="connsiteX367" fmla="*/ 2585297 w 12192000"/>
              <a:gd name="connsiteY367" fmla="*/ 1392911 h 6858000"/>
              <a:gd name="connsiteX368" fmla="*/ 2585297 w 12192000"/>
              <a:gd name="connsiteY368" fmla="*/ 1534347 h 6858000"/>
              <a:gd name="connsiteX369" fmla="*/ 2587325 w 12192000"/>
              <a:gd name="connsiteY369" fmla="*/ 1541499 h 6858000"/>
              <a:gd name="connsiteX370" fmla="*/ 2595117 w 12192000"/>
              <a:gd name="connsiteY370" fmla="*/ 1543207 h 6858000"/>
              <a:gd name="connsiteX371" fmla="*/ 2611876 w 12192000"/>
              <a:gd name="connsiteY371" fmla="*/ 1543207 h 6858000"/>
              <a:gd name="connsiteX372" fmla="*/ 2619669 w 12192000"/>
              <a:gd name="connsiteY372" fmla="*/ 1541499 h 6858000"/>
              <a:gd name="connsiteX373" fmla="*/ 2621590 w 12192000"/>
              <a:gd name="connsiteY373" fmla="*/ 1534347 h 6858000"/>
              <a:gd name="connsiteX374" fmla="*/ 2621590 w 12192000"/>
              <a:gd name="connsiteY374" fmla="*/ 1445322 h 6858000"/>
              <a:gd name="connsiteX375" fmla="*/ 2629489 w 12192000"/>
              <a:gd name="connsiteY375" fmla="*/ 1420237 h 6858000"/>
              <a:gd name="connsiteX376" fmla="*/ 2650731 w 12192000"/>
              <a:gd name="connsiteY376" fmla="*/ 1411271 h 6858000"/>
              <a:gd name="connsiteX377" fmla="*/ 2670052 w 12192000"/>
              <a:gd name="connsiteY377" fmla="*/ 1418743 h 6858000"/>
              <a:gd name="connsiteX378" fmla="*/ 2675389 w 12192000"/>
              <a:gd name="connsiteY378" fmla="*/ 1440198 h 6858000"/>
              <a:gd name="connsiteX379" fmla="*/ 2675389 w 12192000"/>
              <a:gd name="connsiteY379" fmla="*/ 1534454 h 6858000"/>
              <a:gd name="connsiteX380" fmla="*/ 2677310 w 12192000"/>
              <a:gd name="connsiteY380" fmla="*/ 1541605 h 6858000"/>
              <a:gd name="connsiteX381" fmla="*/ 2685103 w 12192000"/>
              <a:gd name="connsiteY381" fmla="*/ 1543313 h 6858000"/>
              <a:gd name="connsiteX382" fmla="*/ 2701862 w 12192000"/>
              <a:gd name="connsiteY382" fmla="*/ 1543313 h 6858000"/>
              <a:gd name="connsiteX383" fmla="*/ 2709654 w 12192000"/>
              <a:gd name="connsiteY383" fmla="*/ 1541605 h 6858000"/>
              <a:gd name="connsiteX384" fmla="*/ 2711575 w 12192000"/>
              <a:gd name="connsiteY384" fmla="*/ 1534454 h 6858000"/>
              <a:gd name="connsiteX385" fmla="*/ 2711575 w 12192000"/>
              <a:gd name="connsiteY385" fmla="*/ 1445429 h 6858000"/>
              <a:gd name="connsiteX386" fmla="*/ 2719474 w 12192000"/>
              <a:gd name="connsiteY386" fmla="*/ 1420344 h 6858000"/>
              <a:gd name="connsiteX387" fmla="*/ 2740716 w 12192000"/>
              <a:gd name="connsiteY387" fmla="*/ 1411378 h 6858000"/>
              <a:gd name="connsiteX388" fmla="*/ 2760037 w 12192000"/>
              <a:gd name="connsiteY388" fmla="*/ 1418850 h 6858000"/>
              <a:gd name="connsiteX389" fmla="*/ 2765374 w 12192000"/>
              <a:gd name="connsiteY389" fmla="*/ 1440305 h 6858000"/>
              <a:gd name="connsiteX390" fmla="*/ 2765374 w 12192000"/>
              <a:gd name="connsiteY390" fmla="*/ 1534560 h 6858000"/>
              <a:gd name="connsiteX391" fmla="*/ 2767296 w 12192000"/>
              <a:gd name="connsiteY391" fmla="*/ 1541712 h 6858000"/>
              <a:gd name="connsiteX392" fmla="*/ 2775088 w 12192000"/>
              <a:gd name="connsiteY392" fmla="*/ 1543420 h 6858000"/>
              <a:gd name="connsiteX393" fmla="*/ 2791847 w 12192000"/>
              <a:gd name="connsiteY393" fmla="*/ 1543420 h 6858000"/>
              <a:gd name="connsiteX394" fmla="*/ 2799639 w 12192000"/>
              <a:gd name="connsiteY394" fmla="*/ 1541712 h 6858000"/>
              <a:gd name="connsiteX395" fmla="*/ 2801667 w 12192000"/>
              <a:gd name="connsiteY395" fmla="*/ 1534560 h 6858000"/>
              <a:gd name="connsiteX396" fmla="*/ 2801667 w 12192000"/>
              <a:gd name="connsiteY396" fmla="*/ 1434861 h 6858000"/>
              <a:gd name="connsiteX397" fmla="*/ 2789712 w 12192000"/>
              <a:gd name="connsiteY397" fmla="*/ 1394619 h 6858000"/>
              <a:gd name="connsiteX398" fmla="*/ 2753099 w 12192000"/>
              <a:gd name="connsiteY398" fmla="*/ 1379888 h 6858000"/>
              <a:gd name="connsiteX399" fmla="*/ 2752885 w 12192000"/>
              <a:gd name="connsiteY399" fmla="*/ 1379888 h 6858000"/>
              <a:gd name="connsiteX400" fmla="*/ 2724278 w 12192000"/>
              <a:gd name="connsiteY400" fmla="*/ 1385652 h 6858000"/>
              <a:gd name="connsiteX401" fmla="*/ 2704530 w 12192000"/>
              <a:gd name="connsiteY401" fmla="*/ 1402091 h 6858000"/>
              <a:gd name="connsiteX402" fmla="*/ 2688412 w 12192000"/>
              <a:gd name="connsiteY402" fmla="*/ 1385652 h 6858000"/>
              <a:gd name="connsiteX403" fmla="*/ 2662900 w 12192000"/>
              <a:gd name="connsiteY403" fmla="*/ 1379888 h 6858000"/>
              <a:gd name="connsiteX404" fmla="*/ 2410878 w 12192000"/>
              <a:gd name="connsiteY404" fmla="*/ 1379888 h 6858000"/>
              <a:gd name="connsiteX405" fmla="*/ 2360708 w 12192000"/>
              <a:gd name="connsiteY405" fmla="*/ 1399209 h 6858000"/>
              <a:gd name="connsiteX406" fmla="*/ 2343095 w 12192000"/>
              <a:gd name="connsiteY406" fmla="*/ 1453755 h 6858000"/>
              <a:gd name="connsiteX407" fmla="*/ 2343095 w 12192000"/>
              <a:gd name="connsiteY407" fmla="*/ 1477452 h 6858000"/>
              <a:gd name="connsiteX408" fmla="*/ 2360708 w 12192000"/>
              <a:gd name="connsiteY408" fmla="*/ 1529437 h 6858000"/>
              <a:gd name="connsiteX409" fmla="*/ 2410557 w 12192000"/>
              <a:gd name="connsiteY409" fmla="*/ 1547690 h 6858000"/>
              <a:gd name="connsiteX410" fmla="*/ 2440232 w 12192000"/>
              <a:gd name="connsiteY410" fmla="*/ 1542993 h 6858000"/>
              <a:gd name="connsiteX411" fmla="*/ 2462221 w 12192000"/>
              <a:gd name="connsiteY411" fmla="*/ 1529437 h 6858000"/>
              <a:gd name="connsiteX412" fmla="*/ 2471188 w 12192000"/>
              <a:gd name="connsiteY412" fmla="*/ 1516521 h 6858000"/>
              <a:gd name="connsiteX413" fmla="*/ 2475031 w 12192000"/>
              <a:gd name="connsiteY413" fmla="*/ 1502964 h 6858000"/>
              <a:gd name="connsiteX414" fmla="*/ 2472896 w 12192000"/>
              <a:gd name="connsiteY414" fmla="*/ 1497520 h 6858000"/>
              <a:gd name="connsiteX415" fmla="*/ 2465637 w 12192000"/>
              <a:gd name="connsiteY415" fmla="*/ 1496026 h 6858000"/>
              <a:gd name="connsiteX416" fmla="*/ 2446744 w 12192000"/>
              <a:gd name="connsiteY416" fmla="*/ 1496026 h 6858000"/>
              <a:gd name="connsiteX417" fmla="*/ 2438524 w 12192000"/>
              <a:gd name="connsiteY417" fmla="*/ 1501149 h 6858000"/>
              <a:gd name="connsiteX418" fmla="*/ 2411411 w 12192000"/>
              <a:gd name="connsiteY418" fmla="*/ 1516948 h 6858000"/>
              <a:gd name="connsiteX419" fmla="*/ 2386647 w 12192000"/>
              <a:gd name="connsiteY419" fmla="*/ 1507341 h 6858000"/>
              <a:gd name="connsiteX420" fmla="*/ 2379175 w 12192000"/>
              <a:gd name="connsiteY420" fmla="*/ 1474997 h 6858000"/>
              <a:gd name="connsiteX421" fmla="*/ 2379175 w 12192000"/>
              <a:gd name="connsiteY421" fmla="*/ 1473503 h 6858000"/>
              <a:gd name="connsiteX422" fmla="*/ 2467345 w 12192000"/>
              <a:gd name="connsiteY422" fmla="*/ 1473503 h 6858000"/>
              <a:gd name="connsiteX423" fmla="*/ 2467452 w 12192000"/>
              <a:gd name="connsiteY423" fmla="*/ 1473609 h 6858000"/>
              <a:gd name="connsiteX424" fmla="*/ 2475351 w 12192000"/>
              <a:gd name="connsiteY424" fmla="*/ 1471795 h 6858000"/>
              <a:gd name="connsiteX425" fmla="*/ 2477166 w 12192000"/>
              <a:gd name="connsiteY425" fmla="*/ 1464750 h 6858000"/>
              <a:gd name="connsiteX426" fmla="*/ 2477166 w 12192000"/>
              <a:gd name="connsiteY426" fmla="*/ 1450446 h 6858000"/>
              <a:gd name="connsiteX427" fmla="*/ 2460300 w 12192000"/>
              <a:gd name="connsiteY427" fmla="*/ 1397821 h 6858000"/>
              <a:gd name="connsiteX428" fmla="*/ 2410878 w 12192000"/>
              <a:gd name="connsiteY428" fmla="*/ 1379888 h 6858000"/>
              <a:gd name="connsiteX429" fmla="*/ 2900193 w 12192000"/>
              <a:gd name="connsiteY429" fmla="*/ 1379781 h 6858000"/>
              <a:gd name="connsiteX430" fmla="*/ 2867636 w 12192000"/>
              <a:gd name="connsiteY430" fmla="*/ 1384371 h 6858000"/>
              <a:gd name="connsiteX431" fmla="*/ 2847568 w 12192000"/>
              <a:gd name="connsiteY431" fmla="*/ 1397180 h 6858000"/>
              <a:gd name="connsiteX432" fmla="*/ 2838174 w 12192000"/>
              <a:gd name="connsiteY432" fmla="*/ 1419383 h 6858000"/>
              <a:gd name="connsiteX433" fmla="*/ 2839989 w 12192000"/>
              <a:gd name="connsiteY433" fmla="*/ 1424400 h 6858000"/>
              <a:gd name="connsiteX434" fmla="*/ 2846714 w 12192000"/>
              <a:gd name="connsiteY434" fmla="*/ 1426108 h 6858000"/>
              <a:gd name="connsiteX435" fmla="*/ 2866461 w 12192000"/>
              <a:gd name="connsiteY435" fmla="*/ 1426108 h 6858000"/>
              <a:gd name="connsiteX436" fmla="*/ 2873186 w 12192000"/>
              <a:gd name="connsiteY436" fmla="*/ 1425041 h 6858000"/>
              <a:gd name="connsiteX437" fmla="*/ 2876282 w 12192000"/>
              <a:gd name="connsiteY437" fmla="*/ 1420344 h 6858000"/>
              <a:gd name="connsiteX438" fmla="*/ 2884821 w 12192000"/>
              <a:gd name="connsiteY438" fmla="*/ 1410417 h 6858000"/>
              <a:gd name="connsiteX439" fmla="*/ 2900299 w 12192000"/>
              <a:gd name="connsiteY439" fmla="*/ 1407534 h 6858000"/>
              <a:gd name="connsiteX440" fmla="*/ 2920474 w 12192000"/>
              <a:gd name="connsiteY440" fmla="*/ 1414046 h 6858000"/>
              <a:gd name="connsiteX441" fmla="*/ 2926985 w 12192000"/>
              <a:gd name="connsiteY441" fmla="*/ 1437636 h 6858000"/>
              <a:gd name="connsiteX442" fmla="*/ 2926985 w 12192000"/>
              <a:gd name="connsiteY442" fmla="*/ 1445535 h 6858000"/>
              <a:gd name="connsiteX443" fmla="*/ 2910120 w 12192000"/>
              <a:gd name="connsiteY443" fmla="*/ 1444148 h 6858000"/>
              <a:gd name="connsiteX444" fmla="*/ 2894108 w 12192000"/>
              <a:gd name="connsiteY444" fmla="*/ 1443721 h 6858000"/>
              <a:gd name="connsiteX445" fmla="*/ 2894001 w 12192000"/>
              <a:gd name="connsiteY445" fmla="*/ 1443614 h 6858000"/>
              <a:gd name="connsiteX446" fmla="*/ 2862832 w 12192000"/>
              <a:gd name="connsiteY446" fmla="*/ 1448311 h 6858000"/>
              <a:gd name="connsiteX447" fmla="*/ 2840309 w 12192000"/>
              <a:gd name="connsiteY447" fmla="*/ 1464322 h 6858000"/>
              <a:gd name="connsiteX448" fmla="*/ 2831983 w 12192000"/>
              <a:gd name="connsiteY448" fmla="*/ 1495598 h 6858000"/>
              <a:gd name="connsiteX449" fmla="*/ 2847354 w 12192000"/>
              <a:gd name="connsiteY449" fmla="*/ 1534347 h 6858000"/>
              <a:gd name="connsiteX450" fmla="*/ 2894962 w 12192000"/>
              <a:gd name="connsiteY450" fmla="*/ 1546302 h 6858000"/>
              <a:gd name="connsiteX451" fmla="*/ 2903502 w 12192000"/>
              <a:gd name="connsiteY451" fmla="*/ 1546302 h 6858000"/>
              <a:gd name="connsiteX452" fmla="*/ 2938941 w 12192000"/>
              <a:gd name="connsiteY452" fmla="*/ 1539043 h 6858000"/>
              <a:gd name="connsiteX453" fmla="*/ 2956767 w 12192000"/>
              <a:gd name="connsiteY453" fmla="*/ 1519723 h 6858000"/>
              <a:gd name="connsiteX454" fmla="*/ 2961891 w 12192000"/>
              <a:gd name="connsiteY454" fmla="*/ 1494317 h 6858000"/>
              <a:gd name="connsiteX455" fmla="*/ 2961891 w 12192000"/>
              <a:gd name="connsiteY455" fmla="*/ 1435074 h 6858000"/>
              <a:gd name="connsiteX456" fmla="*/ 2956447 w 12192000"/>
              <a:gd name="connsiteY456" fmla="*/ 1404866 h 6858000"/>
              <a:gd name="connsiteX457" fmla="*/ 2937553 w 12192000"/>
              <a:gd name="connsiteY457" fmla="*/ 1386186 h 6858000"/>
              <a:gd name="connsiteX458" fmla="*/ 2900193 w 12192000"/>
              <a:gd name="connsiteY458" fmla="*/ 1379781 h 6858000"/>
              <a:gd name="connsiteX459" fmla="*/ 2204434 w 12192000"/>
              <a:gd name="connsiteY459" fmla="*/ 1358539 h 6858000"/>
              <a:gd name="connsiteX460" fmla="*/ 2242328 w 12192000"/>
              <a:gd name="connsiteY460" fmla="*/ 1358539 h 6858000"/>
              <a:gd name="connsiteX461" fmla="*/ 2267413 w 12192000"/>
              <a:gd name="connsiteY461" fmla="*/ 1366011 h 6858000"/>
              <a:gd name="connsiteX462" fmla="*/ 2274565 w 12192000"/>
              <a:gd name="connsiteY462" fmla="*/ 1391416 h 6858000"/>
              <a:gd name="connsiteX463" fmla="*/ 2274565 w 12192000"/>
              <a:gd name="connsiteY463" fmla="*/ 1395686 h 6858000"/>
              <a:gd name="connsiteX464" fmla="*/ 2267307 w 12192000"/>
              <a:gd name="connsiteY464" fmla="*/ 1420024 h 6858000"/>
              <a:gd name="connsiteX465" fmla="*/ 2242435 w 12192000"/>
              <a:gd name="connsiteY465" fmla="*/ 1427283 h 6858000"/>
              <a:gd name="connsiteX466" fmla="*/ 2204434 w 12192000"/>
              <a:gd name="connsiteY466" fmla="*/ 1427283 h 6858000"/>
              <a:gd name="connsiteX467" fmla="*/ 2177641 w 12192000"/>
              <a:gd name="connsiteY467" fmla="*/ 1326943 h 6858000"/>
              <a:gd name="connsiteX468" fmla="*/ 2169849 w 12192000"/>
              <a:gd name="connsiteY468" fmla="*/ 1328758 h 6858000"/>
              <a:gd name="connsiteX469" fmla="*/ 2167821 w 12192000"/>
              <a:gd name="connsiteY469" fmla="*/ 1335803 h 6858000"/>
              <a:gd name="connsiteX470" fmla="*/ 2167821 w 12192000"/>
              <a:gd name="connsiteY470" fmla="*/ 1534560 h 6858000"/>
              <a:gd name="connsiteX471" fmla="*/ 2169849 w 12192000"/>
              <a:gd name="connsiteY471" fmla="*/ 1541606 h 6858000"/>
              <a:gd name="connsiteX472" fmla="*/ 2177641 w 12192000"/>
              <a:gd name="connsiteY472" fmla="*/ 1543420 h 6858000"/>
              <a:gd name="connsiteX473" fmla="*/ 2194721 w 12192000"/>
              <a:gd name="connsiteY473" fmla="*/ 1543420 h 6858000"/>
              <a:gd name="connsiteX474" fmla="*/ 2202620 w 12192000"/>
              <a:gd name="connsiteY474" fmla="*/ 1541606 h 6858000"/>
              <a:gd name="connsiteX475" fmla="*/ 2204434 w 12192000"/>
              <a:gd name="connsiteY475" fmla="*/ 1534560 h 6858000"/>
              <a:gd name="connsiteX476" fmla="*/ 2204434 w 12192000"/>
              <a:gd name="connsiteY476" fmla="*/ 1458879 h 6858000"/>
              <a:gd name="connsiteX477" fmla="*/ 2237525 w 12192000"/>
              <a:gd name="connsiteY477" fmla="*/ 1458879 h 6858000"/>
              <a:gd name="connsiteX478" fmla="*/ 2278515 w 12192000"/>
              <a:gd name="connsiteY478" fmla="*/ 1534560 h 6858000"/>
              <a:gd name="connsiteX479" fmla="*/ 2283959 w 12192000"/>
              <a:gd name="connsiteY479" fmla="*/ 1541712 h 6858000"/>
              <a:gd name="connsiteX480" fmla="*/ 2291217 w 12192000"/>
              <a:gd name="connsiteY480" fmla="*/ 1543420 h 6858000"/>
              <a:gd name="connsiteX481" fmla="*/ 2314060 w 12192000"/>
              <a:gd name="connsiteY481" fmla="*/ 1543420 h 6858000"/>
              <a:gd name="connsiteX482" fmla="*/ 2321960 w 12192000"/>
              <a:gd name="connsiteY482" fmla="*/ 1538510 h 6858000"/>
              <a:gd name="connsiteX483" fmla="*/ 2320785 w 12192000"/>
              <a:gd name="connsiteY483" fmla="*/ 1534560 h 6858000"/>
              <a:gd name="connsiteX484" fmla="*/ 2275526 w 12192000"/>
              <a:gd name="connsiteY484" fmla="*/ 1454289 h 6858000"/>
              <a:gd name="connsiteX485" fmla="*/ 2312353 w 12192000"/>
              <a:gd name="connsiteY485" fmla="*/ 1395900 h 6858000"/>
              <a:gd name="connsiteX486" fmla="*/ 2312353 w 12192000"/>
              <a:gd name="connsiteY486" fmla="*/ 1390136 h 6858000"/>
              <a:gd name="connsiteX487" fmla="*/ 2295594 w 12192000"/>
              <a:gd name="connsiteY487" fmla="*/ 1342101 h 6858000"/>
              <a:gd name="connsiteX488" fmla="*/ 2242649 w 12192000"/>
              <a:gd name="connsiteY488" fmla="*/ 1326943 h 6858000"/>
              <a:gd name="connsiteX489" fmla="*/ 3428255 w 12192000"/>
              <a:gd name="connsiteY489" fmla="*/ 1322994 h 6858000"/>
              <a:gd name="connsiteX490" fmla="*/ 3413205 w 12192000"/>
              <a:gd name="connsiteY490" fmla="*/ 1327691 h 6858000"/>
              <a:gd name="connsiteX491" fmla="*/ 3407547 w 12192000"/>
              <a:gd name="connsiteY491" fmla="*/ 1341247 h 6858000"/>
              <a:gd name="connsiteX492" fmla="*/ 3407547 w 12192000"/>
              <a:gd name="connsiteY492" fmla="*/ 1347652 h 6858000"/>
              <a:gd name="connsiteX493" fmla="*/ 3413205 w 12192000"/>
              <a:gd name="connsiteY493" fmla="*/ 1360995 h 6858000"/>
              <a:gd name="connsiteX494" fmla="*/ 3428255 w 12192000"/>
              <a:gd name="connsiteY494" fmla="*/ 1365905 h 6858000"/>
              <a:gd name="connsiteX495" fmla="*/ 3443627 w 12192000"/>
              <a:gd name="connsiteY495" fmla="*/ 1360995 h 6858000"/>
              <a:gd name="connsiteX496" fmla="*/ 3449284 w 12192000"/>
              <a:gd name="connsiteY496" fmla="*/ 1347652 h 6858000"/>
              <a:gd name="connsiteX497" fmla="*/ 3449284 w 12192000"/>
              <a:gd name="connsiteY497" fmla="*/ 1341247 h 6858000"/>
              <a:gd name="connsiteX498" fmla="*/ 3443627 w 12192000"/>
              <a:gd name="connsiteY498" fmla="*/ 1327691 h 6858000"/>
              <a:gd name="connsiteX499" fmla="*/ 3428255 w 12192000"/>
              <a:gd name="connsiteY499" fmla="*/ 1322994 h 6858000"/>
              <a:gd name="connsiteX500" fmla="*/ 3184772 w 12192000"/>
              <a:gd name="connsiteY500" fmla="*/ 1322994 h 6858000"/>
              <a:gd name="connsiteX501" fmla="*/ 3169721 w 12192000"/>
              <a:gd name="connsiteY501" fmla="*/ 1327691 h 6858000"/>
              <a:gd name="connsiteX502" fmla="*/ 3164064 w 12192000"/>
              <a:gd name="connsiteY502" fmla="*/ 1341247 h 6858000"/>
              <a:gd name="connsiteX503" fmla="*/ 3164064 w 12192000"/>
              <a:gd name="connsiteY503" fmla="*/ 1347652 h 6858000"/>
              <a:gd name="connsiteX504" fmla="*/ 3169721 w 12192000"/>
              <a:gd name="connsiteY504" fmla="*/ 1360995 h 6858000"/>
              <a:gd name="connsiteX505" fmla="*/ 3184772 w 12192000"/>
              <a:gd name="connsiteY505" fmla="*/ 1365905 h 6858000"/>
              <a:gd name="connsiteX506" fmla="*/ 3200143 w 12192000"/>
              <a:gd name="connsiteY506" fmla="*/ 1360995 h 6858000"/>
              <a:gd name="connsiteX507" fmla="*/ 3205801 w 12192000"/>
              <a:gd name="connsiteY507" fmla="*/ 1347652 h 6858000"/>
              <a:gd name="connsiteX508" fmla="*/ 3205801 w 12192000"/>
              <a:gd name="connsiteY508" fmla="*/ 1341247 h 6858000"/>
              <a:gd name="connsiteX509" fmla="*/ 3200143 w 12192000"/>
              <a:gd name="connsiteY509" fmla="*/ 1327691 h 6858000"/>
              <a:gd name="connsiteX510" fmla="*/ 3184772 w 12192000"/>
              <a:gd name="connsiteY510" fmla="*/ 1322994 h 6858000"/>
              <a:gd name="connsiteX511" fmla="*/ 2528189 w 12192000"/>
              <a:gd name="connsiteY511" fmla="*/ 1322994 h 6858000"/>
              <a:gd name="connsiteX512" fmla="*/ 2513138 w 12192000"/>
              <a:gd name="connsiteY512" fmla="*/ 1327691 h 6858000"/>
              <a:gd name="connsiteX513" fmla="*/ 2507481 w 12192000"/>
              <a:gd name="connsiteY513" fmla="*/ 1341247 h 6858000"/>
              <a:gd name="connsiteX514" fmla="*/ 2507481 w 12192000"/>
              <a:gd name="connsiteY514" fmla="*/ 1347652 h 6858000"/>
              <a:gd name="connsiteX515" fmla="*/ 2513138 w 12192000"/>
              <a:gd name="connsiteY515" fmla="*/ 1360995 h 6858000"/>
              <a:gd name="connsiteX516" fmla="*/ 2528189 w 12192000"/>
              <a:gd name="connsiteY516" fmla="*/ 1365905 h 6858000"/>
              <a:gd name="connsiteX517" fmla="*/ 2543561 w 12192000"/>
              <a:gd name="connsiteY517" fmla="*/ 1360995 h 6858000"/>
              <a:gd name="connsiteX518" fmla="*/ 2549218 w 12192000"/>
              <a:gd name="connsiteY518" fmla="*/ 1347652 h 6858000"/>
              <a:gd name="connsiteX519" fmla="*/ 2549218 w 12192000"/>
              <a:gd name="connsiteY519" fmla="*/ 1341247 h 6858000"/>
              <a:gd name="connsiteX520" fmla="*/ 2543561 w 12192000"/>
              <a:gd name="connsiteY520" fmla="*/ 1327691 h 6858000"/>
              <a:gd name="connsiteX521" fmla="*/ 2528189 w 12192000"/>
              <a:gd name="connsiteY521" fmla="*/ 1322994 h 6858000"/>
              <a:gd name="connsiteX522" fmla="*/ 2156792 w 12192000"/>
              <a:gd name="connsiteY522" fmla="*/ 1078400 h 6858000"/>
              <a:gd name="connsiteX523" fmla="*/ 1919733 w 12192000"/>
              <a:gd name="connsiteY523" fmla="*/ 1313422 h 6858000"/>
              <a:gd name="connsiteX524" fmla="*/ 1919733 w 12192000"/>
              <a:gd name="connsiteY524" fmla="*/ 1649305 h 6858000"/>
              <a:gd name="connsiteX525" fmla="*/ 2051931 w 12192000"/>
              <a:gd name="connsiteY525" fmla="*/ 1649305 h 6858000"/>
              <a:gd name="connsiteX526" fmla="*/ 2051931 w 12192000"/>
              <a:gd name="connsiteY526" fmla="*/ 1313953 h 6858000"/>
              <a:gd name="connsiteX527" fmla="*/ 2156792 w 12192000"/>
              <a:gd name="connsiteY527" fmla="*/ 1209699 h 6858000"/>
              <a:gd name="connsiteX528" fmla="*/ 2479599 w 12192000"/>
              <a:gd name="connsiteY528" fmla="*/ 1209699 h 6858000"/>
              <a:gd name="connsiteX529" fmla="*/ 2479599 w 12192000"/>
              <a:gd name="connsiteY529" fmla="*/ 1078400 h 6858000"/>
              <a:gd name="connsiteX530" fmla="*/ 1567930 w 12192000"/>
              <a:gd name="connsiteY530" fmla="*/ 809980 h 6858000"/>
              <a:gd name="connsiteX531" fmla="*/ 1590215 w 12192000"/>
              <a:gd name="connsiteY531" fmla="*/ 819067 h 6858000"/>
              <a:gd name="connsiteX532" fmla="*/ 1597179 w 12192000"/>
              <a:gd name="connsiteY532" fmla="*/ 847515 h 6858000"/>
              <a:gd name="connsiteX533" fmla="*/ 1535895 w 12192000"/>
              <a:gd name="connsiteY533" fmla="*/ 847515 h 6858000"/>
              <a:gd name="connsiteX534" fmla="*/ 1543931 w 12192000"/>
              <a:gd name="connsiteY534" fmla="*/ 818742 h 6858000"/>
              <a:gd name="connsiteX535" fmla="*/ 1567930 w 12192000"/>
              <a:gd name="connsiteY535" fmla="*/ 809980 h 6858000"/>
              <a:gd name="connsiteX536" fmla="*/ 1439363 w 12192000"/>
              <a:gd name="connsiteY536" fmla="*/ 784669 h 6858000"/>
              <a:gd name="connsiteX537" fmla="*/ 1431542 w 12192000"/>
              <a:gd name="connsiteY537" fmla="*/ 786400 h 6858000"/>
              <a:gd name="connsiteX538" fmla="*/ 1429506 w 12192000"/>
              <a:gd name="connsiteY538" fmla="*/ 793647 h 6858000"/>
              <a:gd name="connsiteX539" fmla="*/ 1429506 w 12192000"/>
              <a:gd name="connsiteY539" fmla="*/ 937189 h 6858000"/>
              <a:gd name="connsiteX540" fmla="*/ 1431542 w 12192000"/>
              <a:gd name="connsiteY540" fmla="*/ 944436 h 6858000"/>
              <a:gd name="connsiteX541" fmla="*/ 1439363 w 12192000"/>
              <a:gd name="connsiteY541" fmla="*/ 946167 h 6858000"/>
              <a:gd name="connsiteX542" fmla="*/ 1456184 w 12192000"/>
              <a:gd name="connsiteY542" fmla="*/ 946167 h 6858000"/>
              <a:gd name="connsiteX543" fmla="*/ 1464005 w 12192000"/>
              <a:gd name="connsiteY543" fmla="*/ 944436 h 6858000"/>
              <a:gd name="connsiteX544" fmla="*/ 1466041 w 12192000"/>
              <a:gd name="connsiteY544" fmla="*/ 937189 h 6858000"/>
              <a:gd name="connsiteX545" fmla="*/ 1466041 w 12192000"/>
              <a:gd name="connsiteY545" fmla="*/ 793647 h 6858000"/>
              <a:gd name="connsiteX546" fmla="*/ 1464005 w 12192000"/>
              <a:gd name="connsiteY546" fmla="*/ 786400 h 6858000"/>
              <a:gd name="connsiteX547" fmla="*/ 1456184 w 12192000"/>
              <a:gd name="connsiteY547" fmla="*/ 784669 h 6858000"/>
              <a:gd name="connsiteX548" fmla="*/ 1252941 w 12192000"/>
              <a:gd name="connsiteY548" fmla="*/ 784669 h 6858000"/>
              <a:gd name="connsiteX549" fmla="*/ 1245120 w 12192000"/>
              <a:gd name="connsiteY549" fmla="*/ 786400 h 6858000"/>
              <a:gd name="connsiteX550" fmla="*/ 1243191 w 12192000"/>
              <a:gd name="connsiteY550" fmla="*/ 793647 h 6858000"/>
              <a:gd name="connsiteX551" fmla="*/ 1243191 w 12192000"/>
              <a:gd name="connsiteY551" fmla="*/ 937189 h 6858000"/>
              <a:gd name="connsiteX552" fmla="*/ 1245120 w 12192000"/>
              <a:gd name="connsiteY552" fmla="*/ 944436 h 6858000"/>
              <a:gd name="connsiteX553" fmla="*/ 1252941 w 12192000"/>
              <a:gd name="connsiteY553" fmla="*/ 946167 h 6858000"/>
              <a:gd name="connsiteX554" fmla="*/ 1269762 w 12192000"/>
              <a:gd name="connsiteY554" fmla="*/ 946167 h 6858000"/>
              <a:gd name="connsiteX555" fmla="*/ 1277583 w 12192000"/>
              <a:gd name="connsiteY555" fmla="*/ 944436 h 6858000"/>
              <a:gd name="connsiteX556" fmla="*/ 1279619 w 12192000"/>
              <a:gd name="connsiteY556" fmla="*/ 937189 h 6858000"/>
              <a:gd name="connsiteX557" fmla="*/ 1279619 w 12192000"/>
              <a:gd name="connsiteY557" fmla="*/ 793647 h 6858000"/>
              <a:gd name="connsiteX558" fmla="*/ 1277583 w 12192000"/>
              <a:gd name="connsiteY558" fmla="*/ 786400 h 6858000"/>
              <a:gd name="connsiteX559" fmla="*/ 1269762 w 12192000"/>
              <a:gd name="connsiteY559" fmla="*/ 784669 h 6858000"/>
              <a:gd name="connsiteX560" fmla="*/ 1567609 w 12192000"/>
              <a:gd name="connsiteY560" fmla="*/ 780450 h 6858000"/>
              <a:gd name="connsiteX561" fmla="*/ 1517253 w 12192000"/>
              <a:gd name="connsiteY561" fmla="*/ 800029 h 6858000"/>
              <a:gd name="connsiteX562" fmla="*/ 1499575 w 12192000"/>
              <a:gd name="connsiteY562" fmla="*/ 855304 h 6858000"/>
              <a:gd name="connsiteX563" fmla="*/ 1499575 w 12192000"/>
              <a:gd name="connsiteY563" fmla="*/ 879317 h 6858000"/>
              <a:gd name="connsiteX564" fmla="*/ 1517253 w 12192000"/>
              <a:gd name="connsiteY564" fmla="*/ 931996 h 6858000"/>
              <a:gd name="connsiteX565" fmla="*/ 1567287 w 12192000"/>
              <a:gd name="connsiteY565" fmla="*/ 950493 h 6858000"/>
              <a:gd name="connsiteX566" fmla="*/ 1597072 w 12192000"/>
              <a:gd name="connsiteY566" fmla="*/ 945733 h 6858000"/>
              <a:gd name="connsiteX567" fmla="*/ 1619143 w 12192000"/>
              <a:gd name="connsiteY567" fmla="*/ 931996 h 6858000"/>
              <a:gd name="connsiteX568" fmla="*/ 1628142 w 12192000"/>
              <a:gd name="connsiteY568" fmla="*/ 918907 h 6858000"/>
              <a:gd name="connsiteX569" fmla="*/ 1631999 w 12192000"/>
              <a:gd name="connsiteY569" fmla="*/ 905170 h 6858000"/>
              <a:gd name="connsiteX570" fmla="*/ 1629857 w 12192000"/>
              <a:gd name="connsiteY570" fmla="*/ 899653 h 6858000"/>
              <a:gd name="connsiteX571" fmla="*/ 1622571 w 12192000"/>
              <a:gd name="connsiteY571" fmla="*/ 898139 h 6858000"/>
              <a:gd name="connsiteX572" fmla="*/ 1603608 w 12192000"/>
              <a:gd name="connsiteY572" fmla="*/ 898139 h 6858000"/>
              <a:gd name="connsiteX573" fmla="*/ 1595358 w 12192000"/>
              <a:gd name="connsiteY573" fmla="*/ 903331 h 6858000"/>
              <a:gd name="connsiteX574" fmla="*/ 1568251 w 12192000"/>
              <a:gd name="connsiteY574" fmla="*/ 919340 h 6858000"/>
              <a:gd name="connsiteX575" fmla="*/ 1543395 w 12192000"/>
              <a:gd name="connsiteY575" fmla="*/ 909605 h 6858000"/>
              <a:gd name="connsiteX576" fmla="*/ 1535895 w 12192000"/>
              <a:gd name="connsiteY576" fmla="*/ 876829 h 6858000"/>
              <a:gd name="connsiteX577" fmla="*/ 1535895 w 12192000"/>
              <a:gd name="connsiteY577" fmla="*/ 875315 h 6858000"/>
              <a:gd name="connsiteX578" fmla="*/ 1624393 w 12192000"/>
              <a:gd name="connsiteY578" fmla="*/ 875315 h 6858000"/>
              <a:gd name="connsiteX579" fmla="*/ 1624393 w 12192000"/>
              <a:gd name="connsiteY579" fmla="*/ 875423 h 6858000"/>
              <a:gd name="connsiteX580" fmla="*/ 1632321 w 12192000"/>
              <a:gd name="connsiteY580" fmla="*/ 873584 h 6858000"/>
              <a:gd name="connsiteX581" fmla="*/ 1634142 w 12192000"/>
              <a:gd name="connsiteY581" fmla="*/ 866445 h 6858000"/>
              <a:gd name="connsiteX582" fmla="*/ 1634142 w 12192000"/>
              <a:gd name="connsiteY582" fmla="*/ 851950 h 6858000"/>
              <a:gd name="connsiteX583" fmla="*/ 1617214 w 12192000"/>
              <a:gd name="connsiteY583" fmla="*/ 798623 h 6858000"/>
              <a:gd name="connsiteX584" fmla="*/ 1567609 w 12192000"/>
              <a:gd name="connsiteY584" fmla="*/ 780450 h 6858000"/>
              <a:gd name="connsiteX585" fmla="*/ 1720711 w 12192000"/>
              <a:gd name="connsiteY585" fmla="*/ 780342 h 6858000"/>
              <a:gd name="connsiteX586" fmla="*/ 1676034 w 12192000"/>
              <a:gd name="connsiteY586" fmla="*/ 792998 h 6858000"/>
              <a:gd name="connsiteX587" fmla="*/ 1659963 w 12192000"/>
              <a:gd name="connsiteY587" fmla="*/ 828369 h 6858000"/>
              <a:gd name="connsiteX588" fmla="*/ 1659963 w 12192000"/>
              <a:gd name="connsiteY588" fmla="*/ 832696 h 6858000"/>
              <a:gd name="connsiteX589" fmla="*/ 1699605 w 12192000"/>
              <a:gd name="connsiteY589" fmla="*/ 875207 h 6858000"/>
              <a:gd name="connsiteX590" fmla="*/ 1719747 w 12192000"/>
              <a:gd name="connsiteY590" fmla="*/ 880399 h 6858000"/>
              <a:gd name="connsiteX591" fmla="*/ 1737425 w 12192000"/>
              <a:gd name="connsiteY591" fmla="*/ 886348 h 6858000"/>
              <a:gd name="connsiteX592" fmla="*/ 1745782 w 12192000"/>
              <a:gd name="connsiteY592" fmla="*/ 893271 h 6858000"/>
              <a:gd name="connsiteX593" fmla="*/ 1748032 w 12192000"/>
              <a:gd name="connsiteY593" fmla="*/ 903764 h 6858000"/>
              <a:gd name="connsiteX594" fmla="*/ 1741925 w 12192000"/>
              <a:gd name="connsiteY594" fmla="*/ 917609 h 6858000"/>
              <a:gd name="connsiteX595" fmla="*/ 1721461 w 12192000"/>
              <a:gd name="connsiteY595" fmla="*/ 921936 h 6858000"/>
              <a:gd name="connsiteX596" fmla="*/ 1701319 w 12192000"/>
              <a:gd name="connsiteY596" fmla="*/ 917826 h 6858000"/>
              <a:gd name="connsiteX597" fmla="*/ 1693069 w 12192000"/>
              <a:gd name="connsiteY597" fmla="*/ 904413 h 6858000"/>
              <a:gd name="connsiteX598" fmla="*/ 1684819 w 12192000"/>
              <a:gd name="connsiteY598" fmla="*/ 898572 h 6858000"/>
              <a:gd name="connsiteX599" fmla="*/ 1665856 w 12192000"/>
              <a:gd name="connsiteY599" fmla="*/ 898572 h 6858000"/>
              <a:gd name="connsiteX600" fmla="*/ 1657606 w 12192000"/>
              <a:gd name="connsiteY600" fmla="*/ 905386 h 6858000"/>
              <a:gd name="connsiteX601" fmla="*/ 1669498 w 12192000"/>
              <a:gd name="connsiteY601" fmla="*/ 934376 h 6858000"/>
              <a:gd name="connsiteX602" fmla="*/ 1722318 w 12192000"/>
              <a:gd name="connsiteY602" fmla="*/ 950385 h 6858000"/>
              <a:gd name="connsiteX603" fmla="*/ 1722425 w 12192000"/>
              <a:gd name="connsiteY603" fmla="*/ 950169 h 6858000"/>
              <a:gd name="connsiteX604" fmla="*/ 1767531 w 12192000"/>
              <a:gd name="connsiteY604" fmla="*/ 937729 h 6858000"/>
              <a:gd name="connsiteX605" fmla="*/ 1783709 w 12192000"/>
              <a:gd name="connsiteY605" fmla="*/ 902790 h 6858000"/>
              <a:gd name="connsiteX606" fmla="*/ 1783709 w 12192000"/>
              <a:gd name="connsiteY606" fmla="*/ 896625 h 6858000"/>
              <a:gd name="connsiteX607" fmla="*/ 1745889 w 12192000"/>
              <a:gd name="connsiteY607" fmla="*/ 852924 h 6858000"/>
              <a:gd name="connsiteX608" fmla="*/ 1719961 w 12192000"/>
              <a:gd name="connsiteY608" fmla="*/ 846109 h 6858000"/>
              <a:gd name="connsiteX609" fmla="*/ 1699819 w 12192000"/>
              <a:gd name="connsiteY609" fmla="*/ 837780 h 6858000"/>
              <a:gd name="connsiteX610" fmla="*/ 1694355 w 12192000"/>
              <a:gd name="connsiteY610" fmla="*/ 825773 h 6858000"/>
              <a:gd name="connsiteX611" fmla="*/ 1700783 w 12192000"/>
              <a:gd name="connsiteY611" fmla="*/ 812577 h 6858000"/>
              <a:gd name="connsiteX612" fmla="*/ 1718461 w 12192000"/>
              <a:gd name="connsiteY612" fmla="*/ 807925 h 6858000"/>
              <a:gd name="connsiteX613" fmla="*/ 1747496 w 12192000"/>
              <a:gd name="connsiteY613" fmla="*/ 824583 h 6858000"/>
              <a:gd name="connsiteX614" fmla="*/ 1749960 w 12192000"/>
              <a:gd name="connsiteY614" fmla="*/ 829559 h 6858000"/>
              <a:gd name="connsiteX615" fmla="*/ 1756924 w 12192000"/>
              <a:gd name="connsiteY615" fmla="*/ 830749 h 6858000"/>
              <a:gd name="connsiteX616" fmla="*/ 1772781 w 12192000"/>
              <a:gd name="connsiteY616" fmla="*/ 830749 h 6858000"/>
              <a:gd name="connsiteX617" fmla="*/ 1780602 w 12192000"/>
              <a:gd name="connsiteY617" fmla="*/ 829235 h 6858000"/>
              <a:gd name="connsiteX618" fmla="*/ 1782638 w 12192000"/>
              <a:gd name="connsiteY618" fmla="*/ 823394 h 6858000"/>
              <a:gd name="connsiteX619" fmla="*/ 1771388 w 12192000"/>
              <a:gd name="connsiteY619" fmla="*/ 795702 h 6858000"/>
              <a:gd name="connsiteX620" fmla="*/ 1720711 w 12192000"/>
              <a:gd name="connsiteY620" fmla="*/ 780342 h 6858000"/>
              <a:gd name="connsiteX621" fmla="*/ 1338116 w 12192000"/>
              <a:gd name="connsiteY621" fmla="*/ 739346 h 6858000"/>
              <a:gd name="connsiteX622" fmla="*/ 1330295 w 12192000"/>
              <a:gd name="connsiteY622" fmla="*/ 741077 h 6858000"/>
              <a:gd name="connsiteX623" fmla="*/ 1328259 w 12192000"/>
              <a:gd name="connsiteY623" fmla="*/ 748324 h 6858000"/>
              <a:gd name="connsiteX624" fmla="*/ 1328259 w 12192000"/>
              <a:gd name="connsiteY624" fmla="*/ 784669 h 6858000"/>
              <a:gd name="connsiteX625" fmla="*/ 1312081 w 12192000"/>
              <a:gd name="connsiteY625" fmla="*/ 784669 h 6858000"/>
              <a:gd name="connsiteX626" fmla="*/ 1305974 w 12192000"/>
              <a:gd name="connsiteY626" fmla="*/ 786400 h 6858000"/>
              <a:gd name="connsiteX627" fmla="*/ 1304474 w 12192000"/>
              <a:gd name="connsiteY627" fmla="*/ 793323 h 6858000"/>
              <a:gd name="connsiteX628" fmla="*/ 1304474 w 12192000"/>
              <a:gd name="connsiteY628" fmla="*/ 806303 h 6858000"/>
              <a:gd name="connsiteX629" fmla="*/ 1305974 w 12192000"/>
              <a:gd name="connsiteY629" fmla="*/ 813226 h 6858000"/>
              <a:gd name="connsiteX630" fmla="*/ 1312081 w 12192000"/>
              <a:gd name="connsiteY630" fmla="*/ 814957 h 6858000"/>
              <a:gd name="connsiteX631" fmla="*/ 1328259 w 12192000"/>
              <a:gd name="connsiteY631" fmla="*/ 814957 h 6858000"/>
              <a:gd name="connsiteX632" fmla="*/ 1328259 w 12192000"/>
              <a:gd name="connsiteY632" fmla="*/ 897815 h 6858000"/>
              <a:gd name="connsiteX633" fmla="*/ 1338330 w 12192000"/>
              <a:gd name="connsiteY633" fmla="*/ 933078 h 6858000"/>
              <a:gd name="connsiteX634" fmla="*/ 1375293 w 12192000"/>
              <a:gd name="connsiteY634" fmla="*/ 946167 h 6858000"/>
              <a:gd name="connsiteX635" fmla="*/ 1392436 w 12192000"/>
              <a:gd name="connsiteY635" fmla="*/ 946167 h 6858000"/>
              <a:gd name="connsiteX636" fmla="*/ 1392650 w 12192000"/>
              <a:gd name="connsiteY636" fmla="*/ 946275 h 6858000"/>
              <a:gd name="connsiteX637" fmla="*/ 1398864 w 12192000"/>
              <a:gd name="connsiteY637" fmla="*/ 944544 h 6858000"/>
              <a:gd name="connsiteX638" fmla="*/ 1400257 w 12192000"/>
              <a:gd name="connsiteY638" fmla="*/ 937621 h 6858000"/>
              <a:gd name="connsiteX639" fmla="*/ 1400257 w 12192000"/>
              <a:gd name="connsiteY639" fmla="*/ 923126 h 6858000"/>
              <a:gd name="connsiteX640" fmla="*/ 1398757 w 12192000"/>
              <a:gd name="connsiteY640" fmla="*/ 916204 h 6858000"/>
              <a:gd name="connsiteX641" fmla="*/ 1392650 w 12192000"/>
              <a:gd name="connsiteY641" fmla="*/ 914473 h 6858000"/>
              <a:gd name="connsiteX642" fmla="*/ 1381614 w 12192000"/>
              <a:gd name="connsiteY642" fmla="*/ 914473 h 6858000"/>
              <a:gd name="connsiteX643" fmla="*/ 1368651 w 12192000"/>
              <a:gd name="connsiteY643" fmla="*/ 909064 h 6858000"/>
              <a:gd name="connsiteX644" fmla="*/ 1364794 w 12192000"/>
              <a:gd name="connsiteY644" fmla="*/ 892298 h 6858000"/>
              <a:gd name="connsiteX645" fmla="*/ 1364794 w 12192000"/>
              <a:gd name="connsiteY645" fmla="*/ 814957 h 6858000"/>
              <a:gd name="connsiteX646" fmla="*/ 1392543 w 12192000"/>
              <a:gd name="connsiteY646" fmla="*/ 814957 h 6858000"/>
              <a:gd name="connsiteX647" fmla="*/ 1398650 w 12192000"/>
              <a:gd name="connsiteY647" fmla="*/ 813226 h 6858000"/>
              <a:gd name="connsiteX648" fmla="*/ 1400150 w 12192000"/>
              <a:gd name="connsiteY648" fmla="*/ 806303 h 6858000"/>
              <a:gd name="connsiteX649" fmla="*/ 1400150 w 12192000"/>
              <a:gd name="connsiteY649" fmla="*/ 793323 h 6858000"/>
              <a:gd name="connsiteX650" fmla="*/ 1398650 w 12192000"/>
              <a:gd name="connsiteY650" fmla="*/ 786400 h 6858000"/>
              <a:gd name="connsiteX651" fmla="*/ 1392543 w 12192000"/>
              <a:gd name="connsiteY651" fmla="*/ 784669 h 6858000"/>
              <a:gd name="connsiteX652" fmla="*/ 1364794 w 12192000"/>
              <a:gd name="connsiteY652" fmla="*/ 784669 h 6858000"/>
              <a:gd name="connsiteX653" fmla="*/ 1364794 w 12192000"/>
              <a:gd name="connsiteY653" fmla="*/ 748324 h 6858000"/>
              <a:gd name="connsiteX654" fmla="*/ 1362758 w 12192000"/>
              <a:gd name="connsiteY654" fmla="*/ 741077 h 6858000"/>
              <a:gd name="connsiteX655" fmla="*/ 1354937 w 12192000"/>
              <a:gd name="connsiteY655" fmla="*/ 739346 h 6858000"/>
              <a:gd name="connsiteX656" fmla="*/ 1448041 w 12192000"/>
              <a:gd name="connsiteY656" fmla="*/ 722688 h 6858000"/>
              <a:gd name="connsiteX657" fmla="*/ 1432934 w 12192000"/>
              <a:gd name="connsiteY657" fmla="*/ 727447 h 6858000"/>
              <a:gd name="connsiteX658" fmla="*/ 1427256 w 12192000"/>
              <a:gd name="connsiteY658" fmla="*/ 741185 h 6858000"/>
              <a:gd name="connsiteX659" fmla="*/ 1427256 w 12192000"/>
              <a:gd name="connsiteY659" fmla="*/ 747675 h 6858000"/>
              <a:gd name="connsiteX660" fmla="*/ 1432934 w 12192000"/>
              <a:gd name="connsiteY660" fmla="*/ 761196 h 6858000"/>
              <a:gd name="connsiteX661" fmla="*/ 1448041 w 12192000"/>
              <a:gd name="connsiteY661" fmla="*/ 766172 h 6858000"/>
              <a:gd name="connsiteX662" fmla="*/ 1463469 w 12192000"/>
              <a:gd name="connsiteY662" fmla="*/ 761196 h 6858000"/>
              <a:gd name="connsiteX663" fmla="*/ 1469148 w 12192000"/>
              <a:gd name="connsiteY663" fmla="*/ 747675 h 6858000"/>
              <a:gd name="connsiteX664" fmla="*/ 1469148 w 12192000"/>
              <a:gd name="connsiteY664" fmla="*/ 741185 h 6858000"/>
              <a:gd name="connsiteX665" fmla="*/ 1463469 w 12192000"/>
              <a:gd name="connsiteY665" fmla="*/ 727447 h 6858000"/>
              <a:gd name="connsiteX666" fmla="*/ 1448041 w 12192000"/>
              <a:gd name="connsiteY666" fmla="*/ 722688 h 6858000"/>
              <a:gd name="connsiteX667" fmla="*/ 1261619 w 12192000"/>
              <a:gd name="connsiteY667" fmla="*/ 722688 h 6858000"/>
              <a:gd name="connsiteX668" fmla="*/ 1246512 w 12192000"/>
              <a:gd name="connsiteY668" fmla="*/ 727447 h 6858000"/>
              <a:gd name="connsiteX669" fmla="*/ 1240834 w 12192000"/>
              <a:gd name="connsiteY669" fmla="*/ 741185 h 6858000"/>
              <a:gd name="connsiteX670" fmla="*/ 1240834 w 12192000"/>
              <a:gd name="connsiteY670" fmla="*/ 747675 h 6858000"/>
              <a:gd name="connsiteX671" fmla="*/ 1246512 w 12192000"/>
              <a:gd name="connsiteY671" fmla="*/ 761196 h 6858000"/>
              <a:gd name="connsiteX672" fmla="*/ 1261619 w 12192000"/>
              <a:gd name="connsiteY672" fmla="*/ 766172 h 6858000"/>
              <a:gd name="connsiteX673" fmla="*/ 1277047 w 12192000"/>
              <a:gd name="connsiteY673" fmla="*/ 761196 h 6858000"/>
              <a:gd name="connsiteX674" fmla="*/ 1282726 w 12192000"/>
              <a:gd name="connsiteY674" fmla="*/ 747675 h 6858000"/>
              <a:gd name="connsiteX675" fmla="*/ 1282726 w 12192000"/>
              <a:gd name="connsiteY675" fmla="*/ 741185 h 6858000"/>
              <a:gd name="connsiteX676" fmla="*/ 1277047 w 12192000"/>
              <a:gd name="connsiteY676" fmla="*/ 727447 h 6858000"/>
              <a:gd name="connsiteX677" fmla="*/ 1261619 w 12192000"/>
              <a:gd name="connsiteY677" fmla="*/ 722688 h 6858000"/>
              <a:gd name="connsiteX678" fmla="*/ 1138837 w 12192000"/>
              <a:gd name="connsiteY678" fmla="*/ 721930 h 6858000"/>
              <a:gd name="connsiteX679" fmla="*/ 1092445 w 12192000"/>
              <a:gd name="connsiteY679" fmla="*/ 733504 h 6858000"/>
              <a:gd name="connsiteX680" fmla="*/ 1065339 w 12192000"/>
              <a:gd name="connsiteY680" fmla="*/ 766929 h 6858000"/>
              <a:gd name="connsiteX681" fmla="*/ 1059982 w 12192000"/>
              <a:gd name="connsiteY681" fmla="*/ 787914 h 6858000"/>
              <a:gd name="connsiteX682" fmla="*/ 1058268 w 12192000"/>
              <a:gd name="connsiteY682" fmla="*/ 815605 h 6858000"/>
              <a:gd name="connsiteX683" fmla="*/ 1058268 w 12192000"/>
              <a:gd name="connsiteY683" fmla="*/ 860604 h 6858000"/>
              <a:gd name="connsiteX684" fmla="*/ 1059768 w 12192000"/>
              <a:gd name="connsiteY684" fmla="*/ 889377 h 6858000"/>
              <a:gd name="connsiteX685" fmla="*/ 1065232 w 12192000"/>
              <a:gd name="connsiteY685" fmla="*/ 909280 h 6858000"/>
              <a:gd name="connsiteX686" fmla="*/ 1134766 w 12192000"/>
              <a:gd name="connsiteY686" fmla="*/ 951142 h 6858000"/>
              <a:gd name="connsiteX687" fmla="*/ 1195835 w 12192000"/>
              <a:gd name="connsiteY687" fmla="*/ 930157 h 6858000"/>
              <a:gd name="connsiteX688" fmla="*/ 1208906 w 12192000"/>
              <a:gd name="connsiteY688" fmla="*/ 909496 h 6858000"/>
              <a:gd name="connsiteX689" fmla="*/ 1212870 w 12192000"/>
              <a:gd name="connsiteY689" fmla="*/ 882021 h 6858000"/>
              <a:gd name="connsiteX690" fmla="*/ 1210835 w 12192000"/>
              <a:gd name="connsiteY690" fmla="*/ 875423 h 6858000"/>
              <a:gd name="connsiteX691" fmla="*/ 1203013 w 12192000"/>
              <a:gd name="connsiteY691" fmla="*/ 873692 h 6858000"/>
              <a:gd name="connsiteX692" fmla="*/ 1184693 w 12192000"/>
              <a:gd name="connsiteY692" fmla="*/ 873692 h 6858000"/>
              <a:gd name="connsiteX693" fmla="*/ 1177193 w 12192000"/>
              <a:gd name="connsiteY693" fmla="*/ 875207 h 6858000"/>
              <a:gd name="connsiteX694" fmla="*/ 1174943 w 12192000"/>
              <a:gd name="connsiteY694" fmla="*/ 881372 h 6858000"/>
              <a:gd name="connsiteX695" fmla="*/ 1175157 w 12192000"/>
              <a:gd name="connsiteY695" fmla="*/ 881480 h 6858000"/>
              <a:gd name="connsiteX696" fmla="*/ 1165193 w 12192000"/>
              <a:gd name="connsiteY696" fmla="*/ 909172 h 6858000"/>
              <a:gd name="connsiteX697" fmla="*/ 1136694 w 12192000"/>
              <a:gd name="connsiteY697" fmla="*/ 918150 h 6858000"/>
              <a:gd name="connsiteX698" fmla="*/ 1105838 w 12192000"/>
              <a:gd name="connsiteY698" fmla="*/ 905061 h 6858000"/>
              <a:gd name="connsiteX699" fmla="*/ 1096410 w 12192000"/>
              <a:gd name="connsiteY699" fmla="*/ 862443 h 6858000"/>
              <a:gd name="connsiteX700" fmla="*/ 1096410 w 12192000"/>
              <a:gd name="connsiteY700" fmla="*/ 810737 h 6858000"/>
              <a:gd name="connsiteX701" fmla="*/ 1105517 w 12192000"/>
              <a:gd name="connsiteY701" fmla="*/ 767469 h 6858000"/>
              <a:gd name="connsiteX702" fmla="*/ 1136908 w 12192000"/>
              <a:gd name="connsiteY702" fmla="*/ 754705 h 6858000"/>
              <a:gd name="connsiteX703" fmla="*/ 1165408 w 12192000"/>
              <a:gd name="connsiteY703" fmla="*/ 763143 h 6858000"/>
              <a:gd name="connsiteX704" fmla="*/ 1174407 w 12192000"/>
              <a:gd name="connsiteY704" fmla="*/ 790726 h 6858000"/>
              <a:gd name="connsiteX705" fmla="*/ 1176657 w 12192000"/>
              <a:gd name="connsiteY705" fmla="*/ 796892 h 6858000"/>
              <a:gd name="connsiteX706" fmla="*/ 1184157 w 12192000"/>
              <a:gd name="connsiteY706" fmla="*/ 798406 h 6858000"/>
              <a:gd name="connsiteX707" fmla="*/ 1203121 w 12192000"/>
              <a:gd name="connsiteY707" fmla="*/ 798406 h 6858000"/>
              <a:gd name="connsiteX708" fmla="*/ 1210942 w 12192000"/>
              <a:gd name="connsiteY708" fmla="*/ 796675 h 6858000"/>
              <a:gd name="connsiteX709" fmla="*/ 1212977 w 12192000"/>
              <a:gd name="connsiteY709" fmla="*/ 790077 h 6858000"/>
              <a:gd name="connsiteX710" fmla="*/ 1209335 w 12192000"/>
              <a:gd name="connsiteY710" fmla="*/ 763251 h 6858000"/>
              <a:gd name="connsiteX711" fmla="*/ 1196799 w 12192000"/>
              <a:gd name="connsiteY711" fmla="*/ 742590 h 6858000"/>
              <a:gd name="connsiteX712" fmla="*/ 1138837 w 12192000"/>
              <a:gd name="connsiteY712" fmla="*/ 721930 h 6858000"/>
              <a:gd name="connsiteX713" fmla="*/ 1880864 w 12192000"/>
              <a:gd name="connsiteY713" fmla="*/ 607613 h 6858000"/>
              <a:gd name="connsiteX714" fmla="*/ 1880864 w 12192000"/>
              <a:gd name="connsiteY714" fmla="*/ 942965 h 6858000"/>
              <a:gd name="connsiteX715" fmla="*/ 1776003 w 12192000"/>
              <a:gd name="connsiteY715" fmla="*/ 1047219 h 6858000"/>
              <a:gd name="connsiteX716" fmla="*/ 1453196 w 12192000"/>
              <a:gd name="connsiteY716" fmla="*/ 1047219 h 6858000"/>
              <a:gd name="connsiteX717" fmla="*/ 1453196 w 12192000"/>
              <a:gd name="connsiteY717" fmla="*/ 1178518 h 6858000"/>
              <a:gd name="connsiteX718" fmla="*/ 1776003 w 12192000"/>
              <a:gd name="connsiteY718" fmla="*/ 1178518 h 6858000"/>
              <a:gd name="connsiteX719" fmla="*/ 2013062 w 12192000"/>
              <a:gd name="connsiteY719" fmla="*/ 943496 h 6858000"/>
              <a:gd name="connsiteX720" fmla="*/ 2013062 w 12192000"/>
              <a:gd name="connsiteY720" fmla="*/ 607613 h 6858000"/>
              <a:gd name="connsiteX721" fmla="*/ 1437327 w 12192000"/>
              <a:gd name="connsiteY721" fmla="*/ 514244 h 6858000"/>
              <a:gd name="connsiteX722" fmla="*/ 1459612 w 12192000"/>
              <a:gd name="connsiteY722" fmla="*/ 523331 h 6858000"/>
              <a:gd name="connsiteX723" fmla="*/ 1466576 w 12192000"/>
              <a:gd name="connsiteY723" fmla="*/ 551779 h 6858000"/>
              <a:gd name="connsiteX724" fmla="*/ 1405292 w 12192000"/>
              <a:gd name="connsiteY724" fmla="*/ 551779 h 6858000"/>
              <a:gd name="connsiteX725" fmla="*/ 1413328 w 12192000"/>
              <a:gd name="connsiteY725" fmla="*/ 523006 h 6858000"/>
              <a:gd name="connsiteX726" fmla="*/ 1437327 w 12192000"/>
              <a:gd name="connsiteY726" fmla="*/ 514244 h 6858000"/>
              <a:gd name="connsiteX727" fmla="*/ 899701 w 12192000"/>
              <a:gd name="connsiteY727" fmla="*/ 514244 h 6858000"/>
              <a:gd name="connsiteX728" fmla="*/ 921986 w 12192000"/>
              <a:gd name="connsiteY728" fmla="*/ 523331 h 6858000"/>
              <a:gd name="connsiteX729" fmla="*/ 928950 w 12192000"/>
              <a:gd name="connsiteY729" fmla="*/ 551779 h 6858000"/>
              <a:gd name="connsiteX730" fmla="*/ 867666 w 12192000"/>
              <a:gd name="connsiteY730" fmla="*/ 551779 h 6858000"/>
              <a:gd name="connsiteX731" fmla="*/ 875703 w 12192000"/>
              <a:gd name="connsiteY731" fmla="*/ 523006 h 6858000"/>
              <a:gd name="connsiteX732" fmla="*/ 899701 w 12192000"/>
              <a:gd name="connsiteY732" fmla="*/ 514244 h 6858000"/>
              <a:gd name="connsiteX733" fmla="*/ 1308760 w 12192000"/>
              <a:gd name="connsiteY733" fmla="*/ 488933 h 6858000"/>
              <a:gd name="connsiteX734" fmla="*/ 1300939 w 12192000"/>
              <a:gd name="connsiteY734" fmla="*/ 490664 h 6858000"/>
              <a:gd name="connsiteX735" fmla="*/ 1298903 w 12192000"/>
              <a:gd name="connsiteY735" fmla="*/ 497911 h 6858000"/>
              <a:gd name="connsiteX736" fmla="*/ 1298903 w 12192000"/>
              <a:gd name="connsiteY736" fmla="*/ 641453 h 6858000"/>
              <a:gd name="connsiteX737" fmla="*/ 1300939 w 12192000"/>
              <a:gd name="connsiteY737" fmla="*/ 648700 h 6858000"/>
              <a:gd name="connsiteX738" fmla="*/ 1308760 w 12192000"/>
              <a:gd name="connsiteY738" fmla="*/ 650431 h 6858000"/>
              <a:gd name="connsiteX739" fmla="*/ 1325581 w 12192000"/>
              <a:gd name="connsiteY739" fmla="*/ 650431 h 6858000"/>
              <a:gd name="connsiteX740" fmla="*/ 1333402 w 12192000"/>
              <a:gd name="connsiteY740" fmla="*/ 648700 h 6858000"/>
              <a:gd name="connsiteX741" fmla="*/ 1335437 w 12192000"/>
              <a:gd name="connsiteY741" fmla="*/ 641453 h 6858000"/>
              <a:gd name="connsiteX742" fmla="*/ 1335437 w 12192000"/>
              <a:gd name="connsiteY742" fmla="*/ 497911 h 6858000"/>
              <a:gd name="connsiteX743" fmla="*/ 1333402 w 12192000"/>
              <a:gd name="connsiteY743" fmla="*/ 490664 h 6858000"/>
              <a:gd name="connsiteX744" fmla="*/ 1325581 w 12192000"/>
              <a:gd name="connsiteY744" fmla="*/ 488933 h 6858000"/>
              <a:gd name="connsiteX745" fmla="*/ 1156836 w 12192000"/>
              <a:gd name="connsiteY745" fmla="*/ 488933 h 6858000"/>
              <a:gd name="connsiteX746" fmla="*/ 1149015 w 12192000"/>
              <a:gd name="connsiteY746" fmla="*/ 490664 h 6858000"/>
              <a:gd name="connsiteX747" fmla="*/ 1146979 w 12192000"/>
              <a:gd name="connsiteY747" fmla="*/ 497911 h 6858000"/>
              <a:gd name="connsiteX748" fmla="*/ 1146979 w 12192000"/>
              <a:gd name="connsiteY748" fmla="*/ 641453 h 6858000"/>
              <a:gd name="connsiteX749" fmla="*/ 1149015 w 12192000"/>
              <a:gd name="connsiteY749" fmla="*/ 648700 h 6858000"/>
              <a:gd name="connsiteX750" fmla="*/ 1156836 w 12192000"/>
              <a:gd name="connsiteY750" fmla="*/ 650431 h 6858000"/>
              <a:gd name="connsiteX751" fmla="*/ 1173657 w 12192000"/>
              <a:gd name="connsiteY751" fmla="*/ 650431 h 6858000"/>
              <a:gd name="connsiteX752" fmla="*/ 1181478 w 12192000"/>
              <a:gd name="connsiteY752" fmla="*/ 648700 h 6858000"/>
              <a:gd name="connsiteX753" fmla="*/ 1183513 w 12192000"/>
              <a:gd name="connsiteY753" fmla="*/ 641453 h 6858000"/>
              <a:gd name="connsiteX754" fmla="*/ 1183513 w 12192000"/>
              <a:gd name="connsiteY754" fmla="*/ 497911 h 6858000"/>
              <a:gd name="connsiteX755" fmla="*/ 1181478 w 12192000"/>
              <a:gd name="connsiteY755" fmla="*/ 490664 h 6858000"/>
              <a:gd name="connsiteX756" fmla="*/ 1173657 w 12192000"/>
              <a:gd name="connsiteY756" fmla="*/ 488933 h 6858000"/>
              <a:gd name="connsiteX757" fmla="*/ 1615929 w 12192000"/>
              <a:gd name="connsiteY757" fmla="*/ 484714 h 6858000"/>
              <a:gd name="connsiteX758" fmla="*/ 1590430 w 12192000"/>
              <a:gd name="connsiteY758" fmla="*/ 489906 h 6858000"/>
              <a:gd name="connsiteX759" fmla="*/ 1572002 w 12192000"/>
              <a:gd name="connsiteY759" fmla="*/ 504401 h 6858000"/>
              <a:gd name="connsiteX760" fmla="*/ 1572002 w 12192000"/>
              <a:gd name="connsiteY760" fmla="*/ 497911 h 6858000"/>
              <a:gd name="connsiteX761" fmla="*/ 1569966 w 12192000"/>
              <a:gd name="connsiteY761" fmla="*/ 490663 h 6858000"/>
              <a:gd name="connsiteX762" fmla="*/ 1562145 w 12192000"/>
              <a:gd name="connsiteY762" fmla="*/ 488933 h 6858000"/>
              <a:gd name="connsiteX763" fmla="*/ 1545967 w 12192000"/>
              <a:gd name="connsiteY763" fmla="*/ 488933 h 6858000"/>
              <a:gd name="connsiteX764" fmla="*/ 1538146 w 12192000"/>
              <a:gd name="connsiteY764" fmla="*/ 490663 h 6858000"/>
              <a:gd name="connsiteX765" fmla="*/ 1536110 w 12192000"/>
              <a:gd name="connsiteY765" fmla="*/ 497911 h 6858000"/>
              <a:gd name="connsiteX766" fmla="*/ 1536110 w 12192000"/>
              <a:gd name="connsiteY766" fmla="*/ 641344 h 6858000"/>
              <a:gd name="connsiteX767" fmla="*/ 1538146 w 12192000"/>
              <a:gd name="connsiteY767" fmla="*/ 648591 h 6858000"/>
              <a:gd name="connsiteX768" fmla="*/ 1545967 w 12192000"/>
              <a:gd name="connsiteY768" fmla="*/ 650322 h 6858000"/>
              <a:gd name="connsiteX769" fmla="*/ 1562788 w 12192000"/>
              <a:gd name="connsiteY769" fmla="*/ 650322 h 6858000"/>
              <a:gd name="connsiteX770" fmla="*/ 1570609 w 12192000"/>
              <a:gd name="connsiteY770" fmla="*/ 648591 h 6858000"/>
              <a:gd name="connsiteX771" fmla="*/ 1572645 w 12192000"/>
              <a:gd name="connsiteY771" fmla="*/ 641344 h 6858000"/>
              <a:gd name="connsiteX772" fmla="*/ 1572645 w 12192000"/>
              <a:gd name="connsiteY772" fmla="*/ 551130 h 6858000"/>
              <a:gd name="connsiteX773" fmla="*/ 1581001 w 12192000"/>
              <a:gd name="connsiteY773" fmla="*/ 525710 h 6858000"/>
              <a:gd name="connsiteX774" fmla="*/ 1604036 w 12192000"/>
              <a:gd name="connsiteY774" fmla="*/ 516624 h 6858000"/>
              <a:gd name="connsiteX775" fmla="*/ 1624607 w 12192000"/>
              <a:gd name="connsiteY775" fmla="*/ 524196 h 6858000"/>
              <a:gd name="connsiteX776" fmla="*/ 1630286 w 12192000"/>
              <a:gd name="connsiteY776" fmla="*/ 545938 h 6858000"/>
              <a:gd name="connsiteX777" fmla="*/ 1630286 w 12192000"/>
              <a:gd name="connsiteY777" fmla="*/ 641452 h 6858000"/>
              <a:gd name="connsiteX778" fmla="*/ 1632321 w 12192000"/>
              <a:gd name="connsiteY778" fmla="*/ 648699 h 6858000"/>
              <a:gd name="connsiteX779" fmla="*/ 1640142 w 12192000"/>
              <a:gd name="connsiteY779" fmla="*/ 650430 h 6858000"/>
              <a:gd name="connsiteX780" fmla="*/ 1656963 w 12192000"/>
              <a:gd name="connsiteY780" fmla="*/ 650430 h 6858000"/>
              <a:gd name="connsiteX781" fmla="*/ 1664785 w 12192000"/>
              <a:gd name="connsiteY781" fmla="*/ 648699 h 6858000"/>
              <a:gd name="connsiteX782" fmla="*/ 1666820 w 12192000"/>
              <a:gd name="connsiteY782" fmla="*/ 641452 h 6858000"/>
              <a:gd name="connsiteX783" fmla="*/ 1666820 w 12192000"/>
              <a:gd name="connsiteY783" fmla="*/ 540421 h 6858000"/>
              <a:gd name="connsiteX784" fmla="*/ 1654285 w 12192000"/>
              <a:gd name="connsiteY784" fmla="*/ 499641 h 6858000"/>
              <a:gd name="connsiteX785" fmla="*/ 1616143 w 12192000"/>
              <a:gd name="connsiteY785" fmla="*/ 484714 h 6858000"/>
              <a:gd name="connsiteX786" fmla="*/ 1437006 w 12192000"/>
              <a:gd name="connsiteY786" fmla="*/ 484714 h 6858000"/>
              <a:gd name="connsiteX787" fmla="*/ 1386650 w 12192000"/>
              <a:gd name="connsiteY787" fmla="*/ 504293 h 6858000"/>
              <a:gd name="connsiteX788" fmla="*/ 1368972 w 12192000"/>
              <a:gd name="connsiteY788" fmla="*/ 559568 h 6858000"/>
              <a:gd name="connsiteX789" fmla="*/ 1368972 w 12192000"/>
              <a:gd name="connsiteY789" fmla="*/ 583581 h 6858000"/>
              <a:gd name="connsiteX790" fmla="*/ 1386650 w 12192000"/>
              <a:gd name="connsiteY790" fmla="*/ 636260 h 6858000"/>
              <a:gd name="connsiteX791" fmla="*/ 1436684 w 12192000"/>
              <a:gd name="connsiteY791" fmla="*/ 654757 h 6858000"/>
              <a:gd name="connsiteX792" fmla="*/ 1466469 w 12192000"/>
              <a:gd name="connsiteY792" fmla="*/ 649997 h 6858000"/>
              <a:gd name="connsiteX793" fmla="*/ 1488540 w 12192000"/>
              <a:gd name="connsiteY793" fmla="*/ 636260 h 6858000"/>
              <a:gd name="connsiteX794" fmla="*/ 1497539 w 12192000"/>
              <a:gd name="connsiteY794" fmla="*/ 623171 h 6858000"/>
              <a:gd name="connsiteX795" fmla="*/ 1501396 w 12192000"/>
              <a:gd name="connsiteY795" fmla="*/ 609434 h 6858000"/>
              <a:gd name="connsiteX796" fmla="*/ 1499254 w 12192000"/>
              <a:gd name="connsiteY796" fmla="*/ 603917 h 6858000"/>
              <a:gd name="connsiteX797" fmla="*/ 1491968 w 12192000"/>
              <a:gd name="connsiteY797" fmla="*/ 602403 h 6858000"/>
              <a:gd name="connsiteX798" fmla="*/ 1473004 w 12192000"/>
              <a:gd name="connsiteY798" fmla="*/ 602403 h 6858000"/>
              <a:gd name="connsiteX799" fmla="*/ 1464755 w 12192000"/>
              <a:gd name="connsiteY799" fmla="*/ 607595 h 6858000"/>
              <a:gd name="connsiteX800" fmla="*/ 1437648 w 12192000"/>
              <a:gd name="connsiteY800" fmla="*/ 623604 h 6858000"/>
              <a:gd name="connsiteX801" fmla="*/ 1412792 w 12192000"/>
              <a:gd name="connsiteY801" fmla="*/ 613869 h 6858000"/>
              <a:gd name="connsiteX802" fmla="*/ 1405292 w 12192000"/>
              <a:gd name="connsiteY802" fmla="*/ 581093 h 6858000"/>
              <a:gd name="connsiteX803" fmla="*/ 1405292 w 12192000"/>
              <a:gd name="connsiteY803" fmla="*/ 579579 h 6858000"/>
              <a:gd name="connsiteX804" fmla="*/ 1493790 w 12192000"/>
              <a:gd name="connsiteY804" fmla="*/ 579579 h 6858000"/>
              <a:gd name="connsiteX805" fmla="*/ 1493790 w 12192000"/>
              <a:gd name="connsiteY805" fmla="*/ 579687 h 6858000"/>
              <a:gd name="connsiteX806" fmla="*/ 1501718 w 12192000"/>
              <a:gd name="connsiteY806" fmla="*/ 577848 h 6858000"/>
              <a:gd name="connsiteX807" fmla="*/ 1503539 w 12192000"/>
              <a:gd name="connsiteY807" fmla="*/ 570709 h 6858000"/>
              <a:gd name="connsiteX808" fmla="*/ 1503539 w 12192000"/>
              <a:gd name="connsiteY808" fmla="*/ 556214 h 6858000"/>
              <a:gd name="connsiteX809" fmla="*/ 1486611 w 12192000"/>
              <a:gd name="connsiteY809" fmla="*/ 502887 h 6858000"/>
              <a:gd name="connsiteX810" fmla="*/ 1437006 w 12192000"/>
              <a:gd name="connsiteY810" fmla="*/ 484714 h 6858000"/>
              <a:gd name="connsiteX811" fmla="*/ 899381 w 12192000"/>
              <a:gd name="connsiteY811" fmla="*/ 484714 h 6858000"/>
              <a:gd name="connsiteX812" fmla="*/ 849025 w 12192000"/>
              <a:gd name="connsiteY812" fmla="*/ 504293 h 6858000"/>
              <a:gd name="connsiteX813" fmla="*/ 831346 w 12192000"/>
              <a:gd name="connsiteY813" fmla="*/ 559568 h 6858000"/>
              <a:gd name="connsiteX814" fmla="*/ 831346 w 12192000"/>
              <a:gd name="connsiteY814" fmla="*/ 583581 h 6858000"/>
              <a:gd name="connsiteX815" fmla="*/ 849025 w 12192000"/>
              <a:gd name="connsiteY815" fmla="*/ 636260 h 6858000"/>
              <a:gd name="connsiteX816" fmla="*/ 899059 w 12192000"/>
              <a:gd name="connsiteY816" fmla="*/ 654757 h 6858000"/>
              <a:gd name="connsiteX817" fmla="*/ 928844 w 12192000"/>
              <a:gd name="connsiteY817" fmla="*/ 649997 h 6858000"/>
              <a:gd name="connsiteX818" fmla="*/ 950914 w 12192000"/>
              <a:gd name="connsiteY818" fmla="*/ 636260 h 6858000"/>
              <a:gd name="connsiteX819" fmla="*/ 959913 w 12192000"/>
              <a:gd name="connsiteY819" fmla="*/ 623171 h 6858000"/>
              <a:gd name="connsiteX820" fmla="*/ 963770 w 12192000"/>
              <a:gd name="connsiteY820" fmla="*/ 609434 h 6858000"/>
              <a:gd name="connsiteX821" fmla="*/ 961629 w 12192000"/>
              <a:gd name="connsiteY821" fmla="*/ 603917 h 6858000"/>
              <a:gd name="connsiteX822" fmla="*/ 954343 w 12192000"/>
              <a:gd name="connsiteY822" fmla="*/ 602403 h 6858000"/>
              <a:gd name="connsiteX823" fmla="*/ 935378 w 12192000"/>
              <a:gd name="connsiteY823" fmla="*/ 602403 h 6858000"/>
              <a:gd name="connsiteX824" fmla="*/ 927130 w 12192000"/>
              <a:gd name="connsiteY824" fmla="*/ 607595 h 6858000"/>
              <a:gd name="connsiteX825" fmla="*/ 900022 w 12192000"/>
              <a:gd name="connsiteY825" fmla="*/ 623604 h 6858000"/>
              <a:gd name="connsiteX826" fmla="*/ 875166 w 12192000"/>
              <a:gd name="connsiteY826" fmla="*/ 613869 h 6858000"/>
              <a:gd name="connsiteX827" fmla="*/ 867666 w 12192000"/>
              <a:gd name="connsiteY827" fmla="*/ 581093 h 6858000"/>
              <a:gd name="connsiteX828" fmla="*/ 867666 w 12192000"/>
              <a:gd name="connsiteY828" fmla="*/ 579579 h 6858000"/>
              <a:gd name="connsiteX829" fmla="*/ 956165 w 12192000"/>
              <a:gd name="connsiteY829" fmla="*/ 579579 h 6858000"/>
              <a:gd name="connsiteX830" fmla="*/ 956165 w 12192000"/>
              <a:gd name="connsiteY830" fmla="*/ 579687 h 6858000"/>
              <a:gd name="connsiteX831" fmla="*/ 964092 w 12192000"/>
              <a:gd name="connsiteY831" fmla="*/ 577848 h 6858000"/>
              <a:gd name="connsiteX832" fmla="*/ 965913 w 12192000"/>
              <a:gd name="connsiteY832" fmla="*/ 570709 h 6858000"/>
              <a:gd name="connsiteX833" fmla="*/ 965913 w 12192000"/>
              <a:gd name="connsiteY833" fmla="*/ 556214 h 6858000"/>
              <a:gd name="connsiteX834" fmla="*/ 948985 w 12192000"/>
              <a:gd name="connsiteY834" fmla="*/ 502887 h 6858000"/>
              <a:gd name="connsiteX835" fmla="*/ 899381 w 12192000"/>
              <a:gd name="connsiteY835" fmla="*/ 484714 h 6858000"/>
              <a:gd name="connsiteX836" fmla="*/ 1052482 w 12192000"/>
              <a:gd name="connsiteY836" fmla="*/ 484606 h 6858000"/>
              <a:gd name="connsiteX837" fmla="*/ 1007805 w 12192000"/>
              <a:gd name="connsiteY837" fmla="*/ 497262 h 6858000"/>
              <a:gd name="connsiteX838" fmla="*/ 991735 w 12192000"/>
              <a:gd name="connsiteY838" fmla="*/ 532633 h 6858000"/>
              <a:gd name="connsiteX839" fmla="*/ 991735 w 12192000"/>
              <a:gd name="connsiteY839" fmla="*/ 536960 h 6858000"/>
              <a:gd name="connsiteX840" fmla="*/ 1031376 w 12192000"/>
              <a:gd name="connsiteY840" fmla="*/ 579471 h 6858000"/>
              <a:gd name="connsiteX841" fmla="*/ 1051518 w 12192000"/>
              <a:gd name="connsiteY841" fmla="*/ 584663 h 6858000"/>
              <a:gd name="connsiteX842" fmla="*/ 1069196 w 12192000"/>
              <a:gd name="connsiteY842" fmla="*/ 590612 h 6858000"/>
              <a:gd name="connsiteX843" fmla="*/ 1077553 w 12192000"/>
              <a:gd name="connsiteY843" fmla="*/ 597535 h 6858000"/>
              <a:gd name="connsiteX844" fmla="*/ 1079803 w 12192000"/>
              <a:gd name="connsiteY844" fmla="*/ 608028 h 6858000"/>
              <a:gd name="connsiteX845" fmla="*/ 1073696 w 12192000"/>
              <a:gd name="connsiteY845" fmla="*/ 621873 h 6858000"/>
              <a:gd name="connsiteX846" fmla="*/ 1053232 w 12192000"/>
              <a:gd name="connsiteY846" fmla="*/ 626200 h 6858000"/>
              <a:gd name="connsiteX847" fmla="*/ 1033090 w 12192000"/>
              <a:gd name="connsiteY847" fmla="*/ 622090 h 6858000"/>
              <a:gd name="connsiteX848" fmla="*/ 1024841 w 12192000"/>
              <a:gd name="connsiteY848" fmla="*/ 608677 h 6858000"/>
              <a:gd name="connsiteX849" fmla="*/ 1016591 w 12192000"/>
              <a:gd name="connsiteY849" fmla="*/ 602836 h 6858000"/>
              <a:gd name="connsiteX850" fmla="*/ 997628 w 12192000"/>
              <a:gd name="connsiteY850" fmla="*/ 602836 h 6858000"/>
              <a:gd name="connsiteX851" fmla="*/ 989377 w 12192000"/>
              <a:gd name="connsiteY851" fmla="*/ 609650 h 6858000"/>
              <a:gd name="connsiteX852" fmla="*/ 1001269 w 12192000"/>
              <a:gd name="connsiteY852" fmla="*/ 638640 h 6858000"/>
              <a:gd name="connsiteX853" fmla="*/ 1054089 w 12192000"/>
              <a:gd name="connsiteY853" fmla="*/ 654649 h 6858000"/>
              <a:gd name="connsiteX854" fmla="*/ 1054196 w 12192000"/>
              <a:gd name="connsiteY854" fmla="*/ 654433 h 6858000"/>
              <a:gd name="connsiteX855" fmla="*/ 1099302 w 12192000"/>
              <a:gd name="connsiteY855" fmla="*/ 641993 h 6858000"/>
              <a:gd name="connsiteX856" fmla="*/ 1115480 w 12192000"/>
              <a:gd name="connsiteY856" fmla="*/ 607054 h 6858000"/>
              <a:gd name="connsiteX857" fmla="*/ 1115480 w 12192000"/>
              <a:gd name="connsiteY857" fmla="*/ 600889 h 6858000"/>
              <a:gd name="connsiteX858" fmla="*/ 1077660 w 12192000"/>
              <a:gd name="connsiteY858" fmla="*/ 557188 h 6858000"/>
              <a:gd name="connsiteX859" fmla="*/ 1051732 w 12192000"/>
              <a:gd name="connsiteY859" fmla="*/ 550373 h 6858000"/>
              <a:gd name="connsiteX860" fmla="*/ 1031591 w 12192000"/>
              <a:gd name="connsiteY860" fmla="*/ 542044 h 6858000"/>
              <a:gd name="connsiteX861" fmla="*/ 1026126 w 12192000"/>
              <a:gd name="connsiteY861" fmla="*/ 530037 h 6858000"/>
              <a:gd name="connsiteX862" fmla="*/ 1032554 w 12192000"/>
              <a:gd name="connsiteY862" fmla="*/ 516841 h 6858000"/>
              <a:gd name="connsiteX863" fmla="*/ 1050232 w 12192000"/>
              <a:gd name="connsiteY863" fmla="*/ 512189 h 6858000"/>
              <a:gd name="connsiteX864" fmla="*/ 1079267 w 12192000"/>
              <a:gd name="connsiteY864" fmla="*/ 528847 h 6858000"/>
              <a:gd name="connsiteX865" fmla="*/ 1081731 w 12192000"/>
              <a:gd name="connsiteY865" fmla="*/ 533823 h 6858000"/>
              <a:gd name="connsiteX866" fmla="*/ 1088695 w 12192000"/>
              <a:gd name="connsiteY866" fmla="*/ 535013 h 6858000"/>
              <a:gd name="connsiteX867" fmla="*/ 1104552 w 12192000"/>
              <a:gd name="connsiteY867" fmla="*/ 535013 h 6858000"/>
              <a:gd name="connsiteX868" fmla="*/ 1112373 w 12192000"/>
              <a:gd name="connsiteY868" fmla="*/ 533499 h 6858000"/>
              <a:gd name="connsiteX869" fmla="*/ 1114409 w 12192000"/>
              <a:gd name="connsiteY869" fmla="*/ 527658 h 6858000"/>
              <a:gd name="connsiteX870" fmla="*/ 1103159 w 12192000"/>
              <a:gd name="connsiteY870" fmla="*/ 499966 h 6858000"/>
              <a:gd name="connsiteX871" fmla="*/ 1052482 w 12192000"/>
              <a:gd name="connsiteY871" fmla="*/ 484606 h 6858000"/>
              <a:gd name="connsiteX872" fmla="*/ 692280 w 12192000"/>
              <a:gd name="connsiteY872" fmla="*/ 463080 h 6858000"/>
              <a:gd name="connsiteX873" fmla="*/ 730314 w 12192000"/>
              <a:gd name="connsiteY873" fmla="*/ 463080 h 6858000"/>
              <a:gd name="connsiteX874" fmla="*/ 755492 w 12192000"/>
              <a:gd name="connsiteY874" fmla="*/ 470652 h 6858000"/>
              <a:gd name="connsiteX875" fmla="*/ 762670 w 12192000"/>
              <a:gd name="connsiteY875" fmla="*/ 496397 h 6858000"/>
              <a:gd name="connsiteX876" fmla="*/ 762670 w 12192000"/>
              <a:gd name="connsiteY876" fmla="*/ 500723 h 6858000"/>
              <a:gd name="connsiteX877" fmla="*/ 755384 w 12192000"/>
              <a:gd name="connsiteY877" fmla="*/ 525386 h 6858000"/>
              <a:gd name="connsiteX878" fmla="*/ 730422 w 12192000"/>
              <a:gd name="connsiteY878" fmla="*/ 532742 h 6858000"/>
              <a:gd name="connsiteX879" fmla="*/ 692280 w 12192000"/>
              <a:gd name="connsiteY879" fmla="*/ 532742 h 6858000"/>
              <a:gd name="connsiteX880" fmla="*/ 1723819 w 12192000"/>
              <a:gd name="connsiteY880" fmla="*/ 443609 h 6858000"/>
              <a:gd name="connsiteX881" fmla="*/ 1715998 w 12192000"/>
              <a:gd name="connsiteY881" fmla="*/ 445340 h 6858000"/>
              <a:gd name="connsiteX882" fmla="*/ 1713962 w 12192000"/>
              <a:gd name="connsiteY882" fmla="*/ 452587 h 6858000"/>
              <a:gd name="connsiteX883" fmla="*/ 1713962 w 12192000"/>
              <a:gd name="connsiteY883" fmla="*/ 488932 h 6858000"/>
              <a:gd name="connsiteX884" fmla="*/ 1697784 w 12192000"/>
              <a:gd name="connsiteY884" fmla="*/ 488932 h 6858000"/>
              <a:gd name="connsiteX885" fmla="*/ 1691677 w 12192000"/>
              <a:gd name="connsiteY885" fmla="*/ 490663 h 6858000"/>
              <a:gd name="connsiteX886" fmla="*/ 1690177 w 12192000"/>
              <a:gd name="connsiteY886" fmla="*/ 497586 h 6858000"/>
              <a:gd name="connsiteX887" fmla="*/ 1690177 w 12192000"/>
              <a:gd name="connsiteY887" fmla="*/ 510566 h 6858000"/>
              <a:gd name="connsiteX888" fmla="*/ 1691677 w 12192000"/>
              <a:gd name="connsiteY888" fmla="*/ 517489 h 6858000"/>
              <a:gd name="connsiteX889" fmla="*/ 1697784 w 12192000"/>
              <a:gd name="connsiteY889" fmla="*/ 519220 h 6858000"/>
              <a:gd name="connsiteX890" fmla="*/ 1713962 w 12192000"/>
              <a:gd name="connsiteY890" fmla="*/ 519220 h 6858000"/>
              <a:gd name="connsiteX891" fmla="*/ 1713962 w 12192000"/>
              <a:gd name="connsiteY891" fmla="*/ 602078 h 6858000"/>
              <a:gd name="connsiteX892" fmla="*/ 1724033 w 12192000"/>
              <a:gd name="connsiteY892" fmla="*/ 637341 h 6858000"/>
              <a:gd name="connsiteX893" fmla="*/ 1760996 w 12192000"/>
              <a:gd name="connsiteY893" fmla="*/ 650430 h 6858000"/>
              <a:gd name="connsiteX894" fmla="*/ 1778139 w 12192000"/>
              <a:gd name="connsiteY894" fmla="*/ 650430 h 6858000"/>
              <a:gd name="connsiteX895" fmla="*/ 1778353 w 12192000"/>
              <a:gd name="connsiteY895" fmla="*/ 650538 h 6858000"/>
              <a:gd name="connsiteX896" fmla="*/ 1784567 w 12192000"/>
              <a:gd name="connsiteY896" fmla="*/ 648807 h 6858000"/>
              <a:gd name="connsiteX897" fmla="*/ 1785960 w 12192000"/>
              <a:gd name="connsiteY897" fmla="*/ 641884 h 6858000"/>
              <a:gd name="connsiteX898" fmla="*/ 1785960 w 12192000"/>
              <a:gd name="connsiteY898" fmla="*/ 627389 h 6858000"/>
              <a:gd name="connsiteX899" fmla="*/ 1784460 w 12192000"/>
              <a:gd name="connsiteY899" fmla="*/ 620467 h 6858000"/>
              <a:gd name="connsiteX900" fmla="*/ 1778353 w 12192000"/>
              <a:gd name="connsiteY900" fmla="*/ 618736 h 6858000"/>
              <a:gd name="connsiteX901" fmla="*/ 1767318 w 12192000"/>
              <a:gd name="connsiteY901" fmla="*/ 618736 h 6858000"/>
              <a:gd name="connsiteX902" fmla="*/ 1754354 w 12192000"/>
              <a:gd name="connsiteY902" fmla="*/ 613327 h 6858000"/>
              <a:gd name="connsiteX903" fmla="*/ 1750497 w 12192000"/>
              <a:gd name="connsiteY903" fmla="*/ 596561 h 6858000"/>
              <a:gd name="connsiteX904" fmla="*/ 1750497 w 12192000"/>
              <a:gd name="connsiteY904" fmla="*/ 519220 h 6858000"/>
              <a:gd name="connsiteX905" fmla="*/ 1778246 w 12192000"/>
              <a:gd name="connsiteY905" fmla="*/ 519220 h 6858000"/>
              <a:gd name="connsiteX906" fmla="*/ 1784353 w 12192000"/>
              <a:gd name="connsiteY906" fmla="*/ 517489 h 6858000"/>
              <a:gd name="connsiteX907" fmla="*/ 1785853 w 12192000"/>
              <a:gd name="connsiteY907" fmla="*/ 510566 h 6858000"/>
              <a:gd name="connsiteX908" fmla="*/ 1785853 w 12192000"/>
              <a:gd name="connsiteY908" fmla="*/ 497586 h 6858000"/>
              <a:gd name="connsiteX909" fmla="*/ 1784353 w 12192000"/>
              <a:gd name="connsiteY909" fmla="*/ 490663 h 6858000"/>
              <a:gd name="connsiteX910" fmla="*/ 1778246 w 12192000"/>
              <a:gd name="connsiteY910" fmla="*/ 488932 h 6858000"/>
              <a:gd name="connsiteX911" fmla="*/ 1750497 w 12192000"/>
              <a:gd name="connsiteY911" fmla="*/ 488932 h 6858000"/>
              <a:gd name="connsiteX912" fmla="*/ 1750497 w 12192000"/>
              <a:gd name="connsiteY912" fmla="*/ 452587 h 6858000"/>
              <a:gd name="connsiteX913" fmla="*/ 1748461 w 12192000"/>
              <a:gd name="connsiteY913" fmla="*/ 445340 h 6858000"/>
              <a:gd name="connsiteX914" fmla="*/ 1740640 w 12192000"/>
              <a:gd name="connsiteY914" fmla="*/ 443609 h 6858000"/>
              <a:gd name="connsiteX915" fmla="*/ 1232798 w 12192000"/>
              <a:gd name="connsiteY915" fmla="*/ 431062 h 6858000"/>
              <a:gd name="connsiteX916" fmla="*/ 1224977 w 12192000"/>
              <a:gd name="connsiteY916" fmla="*/ 432793 h 6858000"/>
              <a:gd name="connsiteX917" fmla="*/ 1222941 w 12192000"/>
              <a:gd name="connsiteY917" fmla="*/ 440040 h 6858000"/>
              <a:gd name="connsiteX918" fmla="*/ 1222941 w 12192000"/>
              <a:gd name="connsiteY918" fmla="*/ 641452 h 6858000"/>
              <a:gd name="connsiteX919" fmla="*/ 1224977 w 12192000"/>
              <a:gd name="connsiteY919" fmla="*/ 648700 h 6858000"/>
              <a:gd name="connsiteX920" fmla="*/ 1232798 w 12192000"/>
              <a:gd name="connsiteY920" fmla="*/ 650430 h 6858000"/>
              <a:gd name="connsiteX921" fmla="*/ 1249619 w 12192000"/>
              <a:gd name="connsiteY921" fmla="*/ 650430 h 6858000"/>
              <a:gd name="connsiteX922" fmla="*/ 1257440 w 12192000"/>
              <a:gd name="connsiteY922" fmla="*/ 648700 h 6858000"/>
              <a:gd name="connsiteX923" fmla="*/ 1259476 w 12192000"/>
              <a:gd name="connsiteY923" fmla="*/ 641452 h 6858000"/>
              <a:gd name="connsiteX924" fmla="*/ 1259476 w 12192000"/>
              <a:gd name="connsiteY924" fmla="*/ 440040 h 6858000"/>
              <a:gd name="connsiteX925" fmla="*/ 1257440 w 12192000"/>
              <a:gd name="connsiteY925" fmla="*/ 432793 h 6858000"/>
              <a:gd name="connsiteX926" fmla="*/ 1249619 w 12192000"/>
              <a:gd name="connsiteY926" fmla="*/ 431062 h 6858000"/>
              <a:gd name="connsiteX927" fmla="*/ 665388 w 12192000"/>
              <a:gd name="connsiteY927" fmla="*/ 431062 h 6858000"/>
              <a:gd name="connsiteX928" fmla="*/ 657567 w 12192000"/>
              <a:gd name="connsiteY928" fmla="*/ 432901 h 6858000"/>
              <a:gd name="connsiteX929" fmla="*/ 655530 w 12192000"/>
              <a:gd name="connsiteY929" fmla="*/ 440040 h 6858000"/>
              <a:gd name="connsiteX930" fmla="*/ 655530 w 12192000"/>
              <a:gd name="connsiteY930" fmla="*/ 641452 h 6858000"/>
              <a:gd name="connsiteX931" fmla="*/ 657567 w 12192000"/>
              <a:gd name="connsiteY931" fmla="*/ 648591 h 6858000"/>
              <a:gd name="connsiteX932" fmla="*/ 665388 w 12192000"/>
              <a:gd name="connsiteY932" fmla="*/ 650430 h 6858000"/>
              <a:gd name="connsiteX933" fmla="*/ 682529 w 12192000"/>
              <a:gd name="connsiteY933" fmla="*/ 650430 h 6858000"/>
              <a:gd name="connsiteX934" fmla="*/ 690458 w 12192000"/>
              <a:gd name="connsiteY934" fmla="*/ 648591 h 6858000"/>
              <a:gd name="connsiteX935" fmla="*/ 692280 w 12192000"/>
              <a:gd name="connsiteY935" fmla="*/ 641452 h 6858000"/>
              <a:gd name="connsiteX936" fmla="*/ 692280 w 12192000"/>
              <a:gd name="connsiteY936" fmla="*/ 564760 h 6858000"/>
              <a:gd name="connsiteX937" fmla="*/ 725492 w 12192000"/>
              <a:gd name="connsiteY937" fmla="*/ 564760 h 6858000"/>
              <a:gd name="connsiteX938" fmla="*/ 766635 w 12192000"/>
              <a:gd name="connsiteY938" fmla="*/ 641452 h 6858000"/>
              <a:gd name="connsiteX939" fmla="*/ 772098 w 12192000"/>
              <a:gd name="connsiteY939" fmla="*/ 648700 h 6858000"/>
              <a:gd name="connsiteX940" fmla="*/ 779384 w 12192000"/>
              <a:gd name="connsiteY940" fmla="*/ 650430 h 6858000"/>
              <a:gd name="connsiteX941" fmla="*/ 802311 w 12192000"/>
              <a:gd name="connsiteY941" fmla="*/ 650430 h 6858000"/>
              <a:gd name="connsiteX942" fmla="*/ 810239 w 12192000"/>
              <a:gd name="connsiteY942" fmla="*/ 645455 h 6858000"/>
              <a:gd name="connsiteX943" fmla="*/ 809061 w 12192000"/>
              <a:gd name="connsiteY943" fmla="*/ 641452 h 6858000"/>
              <a:gd name="connsiteX944" fmla="*/ 763635 w 12192000"/>
              <a:gd name="connsiteY944" fmla="*/ 560109 h 6858000"/>
              <a:gd name="connsiteX945" fmla="*/ 800597 w 12192000"/>
              <a:gd name="connsiteY945" fmla="*/ 500940 h 6858000"/>
              <a:gd name="connsiteX946" fmla="*/ 800597 w 12192000"/>
              <a:gd name="connsiteY946" fmla="*/ 495099 h 6858000"/>
              <a:gd name="connsiteX947" fmla="*/ 783776 w 12192000"/>
              <a:gd name="connsiteY947" fmla="*/ 446422 h 6858000"/>
              <a:gd name="connsiteX948" fmla="*/ 730636 w 12192000"/>
              <a:gd name="connsiteY948" fmla="*/ 431062 h 6858000"/>
              <a:gd name="connsiteX949" fmla="*/ 1317438 w 12192000"/>
              <a:gd name="connsiteY949" fmla="*/ 427060 h 6858000"/>
              <a:gd name="connsiteX950" fmla="*/ 1302331 w 12192000"/>
              <a:gd name="connsiteY950" fmla="*/ 431819 h 6858000"/>
              <a:gd name="connsiteX951" fmla="*/ 1296653 w 12192000"/>
              <a:gd name="connsiteY951" fmla="*/ 445557 h 6858000"/>
              <a:gd name="connsiteX952" fmla="*/ 1296653 w 12192000"/>
              <a:gd name="connsiteY952" fmla="*/ 452047 h 6858000"/>
              <a:gd name="connsiteX953" fmla="*/ 1302331 w 12192000"/>
              <a:gd name="connsiteY953" fmla="*/ 465568 h 6858000"/>
              <a:gd name="connsiteX954" fmla="*/ 1317438 w 12192000"/>
              <a:gd name="connsiteY954" fmla="*/ 470544 h 6858000"/>
              <a:gd name="connsiteX955" fmla="*/ 1332866 w 12192000"/>
              <a:gd name="connsiteY955" fmla="*/ 465568 h 6858000"/>
              <a:gd name="connsiteX956" fmla="*/ 1338545 w 12192000"/>
              <a:gd name="connsiteY956" fmla="*/ 452047 h 6858000"/>
              <a:gd name="connsiteX957" fmla="*/ 1338545 w 12192000"/>
              <a:gd name="connsiteY957" fmla="*/ 445557 h 6858000"/>
              <a:gd name="connsiteX958" fmla="*/ 1332866 w 12192000"/>
              <a:gd name="connsiteY958" fmla="*/ 431819 h 6858000"/>
              <a:gd name="connsiteX959" fmla="*/ 1317438 w 12192000"/>
              <a:gd name="connsiteY959" fmla="*/ 427060 h 6858000"/>
              <a:gd name="connsiteX960" fmla="*/ 1165514 w 12192000"/>
              <a:gd name="connsiteY960" fmla="*/ 427060 h 6858000"/>
              <a:gd name="connsiteX961" fmla="*/ 1150407 w 12192000"/>
              <a:gd name="connsiteY961" fmla="*/ 431819 h 6858000"/>
              <a:gd name="connsiteX962" fmla="*/ 1144729 w 12192000"/>
              <a:gd name="connsiteY962" fmla="*/ 445557 h 6858000"/>
              <a:gd name="connsiteX963" fmla="*/ 1144729 w 12192000"/>
              <a:gd name="connsiteY963" fmla="*/ 452047 h 6858000"/>
              <a:gd name="connsiteX964" fmla="*/ 1150407 w 12192000"/>
              <a:gd name="connsiteY964" fmla="*/ 465568 h 6858000"/>
              <a:gd name="connsiteX965" fmla="*/ 1165514 w 12192000"/>
              <a:gd name="connsiteY965" fmla="*/ 470544 h 6858000"/>
              <a:gd name="connsiteX966" fmla="*/ 1180942 w 12192000"/>
              <a:gd name="connsiteY966" fmla="*/ 465568 h 6858000"/>
              <a:gd name="connsiteX967" fmla="*/ 1186621 w 12192000"/>
              <a:gd name="connsiteY967" fmla="*/ 452047 h 6858000"/>
              <a:gd name="connsiteX968" fmla="*/ 1186621 w 12192000"/>
              <a:gd name="connsiteY968" fmla="*/ 445557 h 6858000"/>
              <a:gd name="connsiteX969" fmla="*/ 1180942 w 12192000"/>
              <a:gd name="connsiteY969" fmla="*/ 431819 h 6858000"/>
              <a:gd name="connsiteX970" fmla="*/ 1165514 w 12192000"/>
              <a:gd name="connsiteY970" fmla="*/ 427060 h 6858000"/>
              <a:gd name="connsiteX971" fmla="*/ 0 w 12192000"/>
              <a:gd name="connsiteY971" fmla="*/ 0 h 6858000"/>
              <a:gd name="connsiteX972" fmla="*/ 12192000 w 12192000"/>
              <a:gd name="connsiteY972" fmla="*/ 0 h 6858000"/>
              <a:gd name="connsiteX973" fmla="*/ 12192000 w 12192000"/>
              <a:gd name="connsiteY973" fmla="*/ 6858000 h 6858000"/>
              <a:gd name="connsiteX974" fmla="*/ 0 w 12192000"/>
              <a:gd name="connsiteY97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</a:cxnLst>
            <a:rect l="l" t="t" r="r" b="b"/>
            <a:pathLst>
              <a:path w="12192000" h="6858000">
                <a:moveTo>
                  <a:pt x="2582842" y="1763206"/>
                </a:moveTo>
                <a:cubicBezTo>
                  <a:pt x="2586685" y="1763206"/>
                  <a:pt x="2591061" y="1763313"/>
                  <a:pt x="2596185" y="1763526"/>
                </a:cubicBezTo>
                <a:cubicBezTo>
                  <a:pt x="2601202" y="1763740"/>
                  <a:pt x="2607073" y="1764167"/>
                  <a:pt x="2613798" y="1765021"/>
                </a:cubicBezTo>
                <a:lnTo>
                  <a:pt x="2613798" y="1778684"/>
                </a:lnTo>
                <a:cubicBezTo>
                  <a:pt x="2613798" y="1790319"/>
                  <a:pt x="2611663" y="1798432"/>
                  <a:pt x="2607393" y="1803342"/>
                </a:cubicBezTo>
                <a:cubicBezTo>
                  <a:pt x="2603123" y="1808146"/>
                  <a:pt x="2596078" y="1810601"/>
                  <a:pt x="2586151" y="1810601"/>
                </a:cubicBezTo>
                <a:lnTo>
                  <a:pt x="2581027" y="1810601"/>
                </a:lnTo>
                <a:cubicBezTo>
                  <a:pt x="2572488" y="1810601"/>
                  <a:pt x="2565976" y="1808893"/>
                  <a:pt x="2561279" y="1805477"/>
                </a:cubicBezTo>
                <a:cubicBezTo>
                  <a:pt x="2556583" y="1802061"/>
                  <a:pt x="2554234" y="1795977"/>
                  <a:pt x="2554234" y="1787224"/>
                </a:cubicBezTo>
                <a:cubicBezTo>
                  <a:pt x="2554234" y="1778471"/>
                  <a:pt x="2556583" y="1772279"/>
                  <a:pt x="2561386" y="1768650"/>
                </a:cubicBezTo>
                <a:cubicBezTo>
                  <a:pt x="2566190" y="1765021"/>
                  <a:pt x="2573341" y="1763206"/>
                  <a:pt x="2582842" y="1763206"/>
                </a:cubicBezTo>
                <a:close/>
                <a:moveTo>
                  <a:pt x="2427794" y="1700888"/>
                </a:moveTo>
                <a:lnTo>
                  <a:pt x="2449946" y="1709835"/>
                </a:lnTo>
                <a:cubicBezTo>
                  <a:pt x="2454642" y="1715812"/>
                  <a:pt x="2456991" y="1725099"/>
                  <a:pt x="2456991" y="1737908"/>
                </a:cubicBezTo>
                <a:lnTo>
                  <a:pt x="2395933" y="1737908"/>
                </a:lnTo>
                <a:cubicBezTo>
                  <a:pt x="2396253" y="1724779"/>
                  <a:pt x="2399029" y="1715279"/>
                  <a:pt x="2403939" y="1709514"/>
                </a:cubicBezTo>
                <a:close/>
                <a:moveTo>
                  <a:pt x="2427743" y="1700868"/>
                </a:moveTo>
                <a:lnTo>
                  <a:pt x="2427850" y="1700868"/>
                </a:lnTo>
                <a:lnTo>
                  <a:pt x="2427794" y="1700888"/>
                </a:lnTo>
                <a:close/>
                <a:moveTo>
                  <a:pt x="2427423" y="1671727"/>
                </a:moveTo>
                <a:cubicBezTo>
                  <a:pt x="2405753" y="1671727"/>
                  <a:pt x="2388995" y="1678132"/>
                  <a:pt x="2377253" y="1691048"/>
                </a:cubicBezTo>
                <a:cubicBezTo>
                  <a:pt x="2365511" y="1703857"/>
                  <a:pt x="2359640" y="1722110"/>
                  <a:pt x="2359640" y="1745594"/>
                </a:cubicBezTo>
                <a:lnTo>
                  <a:pt x="2359640" y="1769291"/>
                </a:lnTo>
                <a:cubicBezTo>
                  <a:pt x="2359640" y="1791814"/>
                  <a:pt x="2365511" y="1809107"/>
                  <a:pt x="2377253" y="1821276"/>
                </a:cubicBezTo>
                <a:cubicBezTo>
                  <a:pt x="2388995" y="1833444"/>
                  <a:pt x="2405647" y="1839529"/>
                  <a:pt x="2427102" y="1839529"/>
                </a:cubicBezTo>
                <a:cubicBezTo>
                  <a:pt x="2437883" y="1839529"/>
                  <a:pt x="2447704" y="1838034"/>
                  <a:pt x="2456777" y="1834832"/>
                </a:cubicBezTo>
                <a:cubicBezTo>
                  <a:pt x="2465850" y="1831630"/>
                  <a:pt x="2473216" y="1827147"/>
                  <a:pt x="2478873" y="1821276"/>
                </a:cubicBezTo>
                <a:cubicBezTo>
                  <a:pt x="2482289" y="1817860"/>
                  <a:pt x="2485278" y="1813590"/>
                  <a:pt x="2487840" y="1808360"/>
                </a:cubicBezTo>
                <a:cubicBezTo>
                  <a:pt x="2490402" y="1803129"/>
                  <a:pt x="2491683" y="1798646"/>
                  <a:pt x="2491683" y="1794803"/>
                </a:cubicBezTo>
                <a:cubicBezTo>
                  <a:pt x="2491683" y="1792241"/>
                  <a:pt x="2490935" y="1790320"/>
                  <a:pt x="2489548" y="1789359"/>
                </a:cubicBezTo>
                <a:cubicBezTo>
                  <a:pt x="2488160" y="1788398"/>
                  <a:pt x="2485705" y="1787865"/>
                  <a:pt x="2482289" y="1787865"/>
                </a:cubicBezTo>
                <a:lnTo>
                  <a:pt x="2463395" y="1787865"/>
                </a:lnTo>
                <a:cubicBezTo>
                  <a:pt x="2459126" y="1787865"/>
                  <a:pt x="2456350" y="1789573"/>
                  <a:pt x="2455176" y="1792988"/>
                </a:cubicBezTo>
                <a:cubicBezTo>
                  <a:pt x="2451974" y="1803556"/>
                  <a:pt x="2443007" y="1808787"/>
                  <a:pt x="2428170" y="1808787"/>
                </a:cubicBezTo>
                <a:cubicBezTo>
                  <a:pt x="2416641" y="1808787"/>
                  <a:pt x="2408315" y="1805584"/>
                  <a:pt x="2403405" y="1799180"/>
                </a:cubicBezTo>
                <a:cubicBezTo>
                  <a:pt x="2398388" y="1792775"/>
                  <a:pt x="2395933" y="1781994"/>
                  <a:pt x="2395933" y="1766836"/>
                </a:cubicBezTo>
                <a:lnTo>
                  <a:pt x="2395933" y="1765342"/>
                </a:lnTo>
                <a:lnTo>
                  <a:pt x="2484104" y="1765342"/>
                </a:lnTo>
                <a:lnTo>
                  <a:pt x="2483997" y="1765448"/>
                </a:lnTo>
                <a:cubicBezTo>
                  <a:pt x="2488053" y="1765448"/>
                  <a:pt x="2490722" y="1764808"/>
                  <a:pt x="2491896" y="1763634"/>
                </a:cubicBezTo>
                <a:cubicBezTo>
                  <a:pt x="2493070" y="1762353"/>
                  <a:pt x="2493711" y="1760004"/>
                  <a:pt x="2493711" y="1756589"/>
                </a:cubicBezTo>
                <a:lnTo>
                  <a:pt x="2493711" y="1742285"/>
                </a:lnTo>
                <a:cubicBezTo>
                  <a:pt x="2493711" y="1719121"/>
                  <a:pt x="2488160" y="1701615"/>
                  <a:pt x="2476845" y="1689660"/>
                </a:cubicBezTo>
                <a:cubicBezTo>
                  <a:pt x="2465530" y="1677705"/>
                  <a:pt x="2449092" y="1671727"/>
                  <a:pt x="2427423" y="1671727"/>
                </a:cubicBezTo>
                <a:close/>
                <a:moveTo>
                  <a:pt x="2587112" y="1671513"/>
                </a:moveTo>
                <a:cubicBezTo>
                  <a:pt x="2573662" y="1671513"/>
                  <a:pt x="2562881" y="1673007"/>
                  <a:pt x="2554555" y="1676103"/>
                </a:cubicBezTo>
                <a:cubicBezTo>
                  <a:pt x="2546228" y="1679199"/>
                  <a:pt x="2539504" y="1683468"/>
                  <a:pt x="2534487" y="1688912"/>
                </a:cubicBezTo>
                <a:cubicBezTo>
                  <a:pt x="2528189" y="1695851"/>
                  <a:pt x="2525093" y="1703216"/>
                  <a:pt x="2525093" y="1711115"/>
                </a:cubicBezTo>
                <a:cubicBezTo>
                  <a:pt x="2525093" y="1713357"/>
                  <a:pt x="2525734" y="1715065"/>
                  <a:pt x="2526908" y="1716132"/>
                </a:cubicBezTo>
                <a:cubicBezTo>
                  <a:pt x="2528189" y="1717306"/>
                  <a:pt x="2530430" y="1717840"/>
                  <a:pt x="2533633" y="1717840"/>
                </a:cubicBezTo>
                <a:lnTo>
                  <a:pt x="2553380" y="1717840"/>
                </a:lnTo>
                <a:cubicBezTo>
                  <a:pt x="2556689" y="1717840"/>
                  <a:pt x="2558931" y="1717520"/>
                  <a:pt x="2560105" y="1716773"/>
                </a:cubicBezTo>
                <a:cubicBezTo>
                  <a:pt x="2561386" y="1716132"/>
                  <a:pt x="2562347" y="1714531"/>
                  <a:pt x="2563201" y="1712076"/>
                </a:cubicBezTo>
                <a:cubicBezTo>
                  <a:pt x="2564802" y="1707379"/>
                  <a:pt x="2567684" y="1704070"/>
                  <a:pt x="2571740" y="1702149"/>
                </a:cubicBezTo>
                <a:cubicBezTo>
                  <a:pt x="2575797" y="1700227"/>
                  <a:pt x="2580920" y="1699266"/>
                  <a:pt x="2587218" y="1699266"/>
                </a:cubicBezTo>
                <a:cubicBezTo>
                  <a:pt x="2596292" y="1699266"/>
                  <a:pt x="2603016" y="1701401"/>
                  <a:pt x="2607393" y="1705778"/>
                </a:cubicBezTo>
                <a:cubicBezTo>
                  <a:pt x="2611769" y="1710154"/>
                  <a:pt x="2613904" y="1718053"/>
                  <a:pt x="2613904" y="1729368"/>
                </a:cubicBezTo>
                <a:lnTo>
                  <a:pt x="2613904" y="1737267"/>
                </a:lnTo>
                <a:cubicBezTo>
                  <a:pt x="2608674" y="1736627"/>
                  <a:pt x="2603016" y="1736200"/>
                  <a:pt x="2597039" y="1735880"/>
                </a:cubicBezTo>
                <a:cubicBezTo>
                  <a:pt x="2590954" y="1735560"/>
                  <a:pt x="2585724" y="1735453"/>
                  <a:pt x="2581027" y="1735453"/>
                </a:cubicBezTo>
                <a:lnTo>
                  <a:pt x="2580920" y="1735346"/>
                </a:lnTo>
                <a:cubicBezTo>
                  <a:pt x="2569605" y="1735346"/>
                  <a:pt x="2559145" y="1736947"/>
                  <a:pt x="2549751" y="1740043"/>
                </a:cubicBezTo>
                <a:cubicBezTo>
                  <a:pt x="2540251" y="1743245"/>
                  <a:pt x="2532779" y="1748582"/>
                  <a:pt x="2527228" y="1756054"/>
                </a:cubicBezTo>
                <a:cubicBezTo>
                  <a:pt x="2521677" y="1763526"/>
                  <a:pt x="2518902" y="1773987"/>
                  <a:pt x="2518902" y="1787330"/>
                </a:cubicBezTo>
                <a:cubicBezTo>
                  <a:pt x="2518902" y="1805157"/>
                  <a:pt x="2524026" y="1818179"/>
                  <a:pt x="2534273" y="1826079"/>
                </a:cubicBezTo>
                <a:cubicBezTo>
                  <a:pt x="2544521" y="1833978"/>
                  <a:pt x="2560425" y="1838034"/>
                  <a:pt x="2581881" y="1838034"/>
                </a:cubicBezTo>
                <a:lnTo>
                  <a:pt x="2590421" y="1838034"/>
                </a:lnTo>
                <a:cubicBezTo>
                  <a:pt x="2605685" y="1838034"/>
                  <a:pt x="2617427" y="1835686"/>
                  <a:pt x="2625860" y="1830775"/>
                </a:cubicBezTo>
                <a:cubicBezTo>
                  <a:pt x="2634292" y="1825865"/>
                  <a:pt x="2640270" y="1819460"/>
                  <a:pt x="2643686" y="1811455"/>
                </a:cubicBezTo>
                <a:cubicBezTo>
                  <a:pt x="2647102" y="1803449"/>
                  <a:pt x="2648810" y="1795016"/>
                  <a:pt x="2648810" y="1786049"/>
                </a:cubicBezTo>
                <a:lnTo>
                  <a:pt x="2648810" y="1726806"/>
                </a:lnTo>
                <a:cubicBezTo>
                  <a:pt x="2648810" y="1714851"/>
                  <a:pt x="2647102" y="1704817"/>
                  <a:pt x="2643366" y="1696598"/>
                </a:cubicBezTo>
                <a:cubicBezTo>
                  <a:pt x="2639630" y="1688379"/>
                  <a:pt x="2633332" y="1682187"/>
                  <a:pt x="2624472" y="1677918"/>
                </a:cubicBezTo>
                <a:cubicBezTo>
                  <a:pt x="2615612" y="1673648"/>
                  <a:pt x="2603123" y="1671513"/>
                  <a:pt x="2587112" y="1671513"/>
                </a:cubicBezTo>
                <a:close/>
                <a:moveTo>
                  <a:pt x="2779785" y="1631164"/>
                </a:moveTo>
                <a:cubicBezTo>
                  <a:pt x="2775942" y="1631164"/>
                  <a:pt x="2773274" y="1631804"/>
                  <a:pt x="2771993" y="1632872"/>
                </a:cubicBezTo>
                <a:cubicBezTo>
                  <a:pt x="2770712" y="1633939"/>
                  <a:pt x="2770071" y="1636394"/>
                  <a:pt x="2770071" y="1640024"/>
                </a:cubicBezTo>
                <a:lnTo>
                  <a:pt x="2770071" y="1675890"/>
                </a:lnTo>
                <a:lnTo>
                  <a:pt x="2753953" y="1675890"/>
                </a:lnTo>
                <a:cubicBezTo>
                  <a:pt x="2750857" y="1675890"/>
                  <a:pt x="2748829" y="1676530"/>
                  <a:pt x="2747868" y="1677598"/>
                </a:cubicBezTo>
                <a:cubicBezTo>
                  <a:pt x="2746908" y="1678665"/>
                  <a:pt x="2746374" y="1681014"/>
                  <a:pt x="2746374" y="1684429"/>
                </a:cubicBezTo>
                <a:lnTo>
                  <a:pt x="2746374" y="1697239"/>
                </a:lnTo>
                <a:cubicBezTo>
                  <a:pt x="2746374" y="1700654"/>
                  <a:pt x="2746801" y="1703003"/>
                  <a:pt x="2747868" y="1704070"/>
                </a:cubicBezTo>
                <a:cubicBezTo>
                  <a:pt x="2748936" y="1705244"/>
                  <a:pt x="2750857" y="1705778"/>
                  <a:pt x="2753953" y="1705778"/>
                </a:cubicBezTo>
                <a:lnTo>
                  <a:pt x="2770071" y="1705778"/>
                </a:lnTo>
                <a:lnTo>
                  <a:pt x="2770071" y="1787544"/>
                </a:lnTo>
                <a:cubicBezTo>
                  <a:pt x="2770071" y="1802168"/>
                  <a:pt x="2773380" y="1813697"/>
                  <a:pt x="2780105" y="1822343"/>
                </a:cubicBezTo>
                <a:cubicBezTo>
                  <a:pt x="2786830" y="1830989"/>
                  <a:pt x="2799106" y="1835259"/>
                  <a:pt x="2816932" y="1835259"/>
                </a:cubicBezTo>
                <a:lnTo>
                  <a:pt x="2833904" y="1835259"/>
                </a:lnTo>
                <a:lnTo>
                  <a:pt x="2834011" y="1835366"/>
                </a:lnTo>
                <a:cubicBezTo>
                  <a:pt x="2837213" y="1835366"/>
                  <a:pt x="2839348" y="1834725"/>
                  <a:pt x="2840202" y="1833658"/>
                </a:cubicBezTo>
                <a:cubicBezTo>
                  <a:pt x="2841163" y="1832590"/>
                  <a:pt x="2841590" y="1830242"/>
                  <a:pt x="2841590" y="1826826"/>
                </a:cubicBezTo>
                <a:lnTo>
                  <a:pt x="2841590" y="1812522"/>
                </a:lnTo>
                <a:cubicBezTo>
                  <a:pt x="2841590" y="1809107"/>
                  <a:pt x="2841056" y="1806758"/>
                  <a:pt x="2840095" y="1805691"/>
                </a:cubicBezTo>
                <a:cubicBezTo>
                  <a:pt x="2839028" y="1804517"/>
                  <a:pt x="2837107" y="1803983"/>
                  <a:pt x="2834011" y="1803983"/>
                </a:cubicBezTo>
                <a:lnTo>
                  <a:pt x="2823123" y="1803983"/>
                </a:lnTo>
                <a:cubicBezTo>
                  <a:pt x="2817039" y="1803983"/>
                  <a:pt x="2812769" y="1802168"/>
                  <a:pt x="2810207" y="1798646"/>
                </a:cubicBezTo>
                <a:cubicBezTo>
                  <a:pt x="2807645" y="1795123"/>
                  <a:pt x="2806364" y="1789572"/>
                  <a:pt x="2806364" y="1782100"/>
                </a:cubicBezTo>
                <a:lnTo>
                  <a:pt x="2806364" y="1705778"/>
                </a:lnTo>
                <a:lnTo>
                  <a:pt x="2834011" y="1705778"/>
                </a:lnTo>
                <a:cubicBezTo>
                  <a:pt x="2837000" y="1705778"/>
                  <a:pt x="2839028" y="1705138"/>
                  <a:pt x="2840095" y="1704070"/>
                </a:cubicBezTo>
                <a:cubicBezTo>
                  <a:pt x="2841056" y="1703003"/>
                  <a:pt x="2841590" y="1700654"/>
                  <a:pt x="2841590" y="1697239"/>
                </a:cubicBezTo>
                <a:lnTo>
                  <a:pt x="2841590" y="1684429"/>
                </a:lnTo>
                <a:cubicBezTo>
                  <a:pt x="2841590" y="1681014"/>
                  <a:pt x="2841056" y="1678665"/>
                  <a:pt x="2840095" y="1677598"/>
                </a:cubicBezTo>
                <a:cubicBezTo>
                  <a:pt x="2839028" y="1676424"/>
                  <a:pt x="2837107" y="1675890"/>
                  <a:pt x="2834011" y="1675890"/>
                </a:cubicBezTo>
                <a:lnTo>
                  <a:pt x="2806364" y="1675890"/>
                </a:lnTo>
                <a:lnTo>
                  <a:pt x="2806364" y="1640024"/>
                </a:lnTo>
                <a:cubicBezTo>
                  <a:pt x="2806364" y="1636394"/>
                  <a:pt x="2805617" y="1633939"/>
                  <a:pt x="2804336" y="1632872"/>
                </a:cubicBezTo>
                <a:cubicBezTo>
                  <a:pt x="2802948" y="1631698"/>
                  <a:pt x="2800387" y="1631164"/>
                  <a:pt x="2796544" y="1631164"/>
                </a:cubicBezTo>
                <a:close/>
                <a:moveTo>
                  <a:pt x="2694924" y="1618782"/>
                </a:moveTo>
                <a:cubicBezTo>
                  <a:pt x="2691081" y="1618782"/>
                  <a:pt x="2688412" y="1619316"/>
                  <a:pt x="2687131" y="1620490"/>
                </a:cubicBezTo>
                <a:cubicBezTo>
                  <a:pt x="2685850" y="1621664"/>
                  <a:pt x="2685210" y="1624012"/>
                  <a:pt x="2685210" y="1627642"/>
                </a:cubicBezTo>
                <a:lnTo>
                  <a:pt x="2685210" y="1826399"/>
                </a:lnTo>
                <a:cubicBezTo>
                  <a:pt x="2685210" y="1830029"/>
                  <a:pt x="2685744" y="1832377"/>
                  <a:pt x="2687131" y="1833551"/>
                </a:cubicBezTo>
                <a:cubicBezTo>
                  <a:pt x="2688519" y="1834725"/>
                  <a:pt x="2691081" y="1835259"/>
                  <a:pt x="2694924" y="1835259"/>
                </a:cubicBezTo>
                <a:lnTo>
                  <a:pt x="2711683" y="1835259"/>
                </a:lnTo>
                <a:cubicBezTo>
                  <a:pt x="2715525" y="1835259"/>
                  <a:pt x="2718194" y="1834619"/>
                  <a:pt x="2719475" y="1833551"/>
                </a:cubicBezTo>
                <a:cubicBezTo>
                  <a:pt x="2720863" y="1832484"/>
                  <a:pt x="2721503" y="1830029"/>
                  <a:pt x="2721503" y="1826399"/>
                </a:cubicBezTo>
                <a:lnTo>
                  <a:pt x="2721503" y="1627642"/>
                </a:lnTo>
                <a:cubicBezTo>
                  <a:pt x="2721503" y="1624012"/>
                  <a:pt x="2720756" y="1621557"/>
                  <a:pt x="2719475" y="1620490"/>
                </a:cubicBezTo>
                <a:cubicBezTo>
                  <a:pt x="2718087" y="1619316"/>
                  <a:pt x="2715525" y="1618782"/>
                  <a:pt x="2711683" y="1618782"/>
                </a:cubicBezTo>
                <a:close/>
                <a:moveTo>
                  <a:pt x="2177641" y="1618782"/>
                </a:moveTo>
                <a:cubicBezTo>
                  <a:pt x="2173799" y="1618782"/>
                  <a:pt x="2171130" y="1619422"/>
                  <a:pt x="2169849" y="1620490"/>
                </a:cubicBezTo>
                <a:cubicBezTo>
                  <a:pt x="2168461" y="1621664"/>
                  <a:pt x="2167821" y="1624012"/>
                  <a:pt x="2167821" y="1627642"/>
                </a:cubicBezTo>
                <a:lnTo>
                  <a:pt x="2167821" y="1826399"/>
                </a:lnTo>
                <a:cubicBezTo>
                  <a:pt x="2167821" y="1830029"/>
                  <a:pt x="2168568" y="1832484"/>
                  <a:pt x="2169849" y="1833551"/>
                </a:cubicBezTo>
                <a:cubicBezTo>
                  <a:pt x="2171237" y="1834725"/>
                  <a:pt x="2173799" y="1835259"/>
                  <a:pt x="2177641" y="1835259"/>
                </a:cubicBezTo>
                <a:lnTo>
                  <a:pt x="2195148" y="1835259"/>
                </a:lnTo>
                <a:cubicBezTo>
                  <a:pt x="2198990" y="1835259"/>
                  <a:pt x="2201659" y="1834619"/>
                  <a:pt x="2202940" y="1833551"/>
                </a:cubicBezTo>
                <a:cubicBezTo>
                  <a:pt x="2204328" y="1832484"/>
                  <a:pt x="2204968" y="1830029"/>
                  <a:pt x="2204968" y="1826399"/>
                </a:cubicBezTo>
                <a:lnTo>
                  <a:pt x="2204968" y="1738229"/>
                </a:lnTo>
                <a:lnTo>
                  <a:pt x="2287161" y="1738229"/>
                </a:lnTo>
                <a:lnTo>
                  <a:pt x="2287161" y="1826399"/>
                </a:lnTo>
                <a:cubicBezTo>
                  <a:pt x="2287161" y="1830029"/>
                  <a:pt x="2287801" y="1832484"/>
                  <a:pt x="2289082" y="1833551"/>
                </a:cubicBezTo>
                <a:cubicBezTo>
                  <a:pt x="2290470" y="1834725"/>
                  <a:pt x="2293032" y="1835259"/>
                  <a:pt x="2296875" y="1835259"/>
                </a:cubicBezTo>
                <a:lnTo>
                  <a:pt x="2314487" y="1835259"/>
                </a:lnTo>
                <a:cubicBezTo>
                  <a:pt x="2318330" y="1835259"/>
                  <a:pt x="2320999" y="1834619"/>
                  <a:pt x="2322280" y="1833551"/>
                </a:cubicBezTo>
                <a:cubicBezTo>
                  <a:pt x="2323561" y="1832484"/>
                  <a:pt x="2324201" y="1830029"/>
                  <a:pt x="2324201" y="1826399"/>
                </a:cubicBezTo>
                <a:lnTo>
                  <a:pt x="2324201" y="1627642"/>
                </a:lnTo>
                <a:cubicBezTo>
                  <a:pt x="2324201" y="1624012"/>
                  <a:pt x="2323561" y="1621557"/>
                  <a:pt x="2322280" y="1620490"/>
                </a:cubicBezTo>
                <a:cubicBezTo>
                  <a:pt x="2320892" y="1619316"/>
                  <a:pt x="2318330" y="1618782"/>
                  <a:pt x="2314487" y="1618782"/>
                </a:cubicBezTo>
                <a:lnTo>
                  <a:pt x="2296875" y="1618782"/>
                </a:lnTo>
                <a:cubicBezTo>
                  <a:pt x="2293032" y="1618782"/>
                  <a:pt x="2290363" y="1619422"/>
                  <a:pt x="2289082" y="1620490"/>
                </a:cubicBezTo>
                <a:cubicBezTo>
                  <a:pt x="2287801" y="1621664"/>
                  <a:pt x="2287161" y="1624012"/>
                  <a:pt x="2287161" y="1627642"/>
                </a:cubicBezTo>
                <a:lnTo>
                  <a:pt x="2287161" y="1705458"/>
                </a:lnTo>
                <a:lnTo>
                  <a:pt x="2205075" y="1705458"/>
                </a:lnTo>
                <a:lnTo>
                  <a:pt x="2205075" y="1627642"/>
                </a:lnTo>
                <a:cubicBezTo>
                  <a:pt x="2205075" y="1624012"/>
                  <a:pt x="2204328" y="1621557"/>
                  <a:pt x="2203047" y="1620490"/>
                </a:cubicBezTo>
                <a:cubicBezTo>
                  <a:pt x="2201659" y="1619316"/>
                  <a:pt x="2199097" y="1618782"/>
                  <a:pt x="2195254" y="1618782"/>
                </a:cubicBezTo>
                <a:close/>
                <a:moveTo>
                  <a:pt x="2880658" y="1618675"/>
                </a:moveTo>
                <a:cubicBezTo>
                  <a:pt x="2876815" y="1618675"/>
                  <a:pt x="2874146" y="1619315"/>
                  <a:pt x="2872865" y="1620490"/>
                </a:cubicBezTo>
                <a:cubicBezTo>
                  <a:pt x="2871584" y="1621771"/>
                  <a:pt x="2870944" y="1624119"/>
                  <a:pt x="2870944" y="1627535"/>
                </a:cubicBezTo>
                <a:lnTo>
                  <a:pt x="2870944" y="1826292"/>
                </a:lnTo>
                <a:cubicBezTo>
                  <a:pt x="2870944" y="1829815"/>
                  <a:pt x="2871478" y="1832163"/>
                  <a:pt x="2872865" y="1833338"/>
                </a:cubicBezTo>
                <a:cubicBezTo>
                  <a:pt x="2874253" y="1834512"/>
                  <a:pt x="2876815" y="1835152"/>
                  <a:pt x="2880658" y="1835152"/>
                </a:cubicBezTo>
                <a:lnTo>
                  <a:pt x="2897417" y="1835152"/>
                </a:lnTo>
                <a:cubicBezTo>
                  <a:pt x="2901473" y="1835152"/>
                  <a:pt x="2904141" y="1834618"/>
                  <a:pt x="2905316" y="1833338"/>
                </a:cubicBezTo>
                <a:cubicBezTo>
                  <a:pt x="2906490" y="1832057"/>
                  <a:pt x="2907130" y="1829708"/>
                  <a:pt x="2907130" y="1826292"/>
                </a:cubicBezTo>
                <a:lnTo>
                  <a:pt x="2907130" y="1737268"/>
                </a:lnTo>
                <a:cubicBezTo>
                  <a:pt x="2907130" y="1726487"/>
                  <a:pt x="2909906" y="1718161"/>
                  <a:pt x="2915350" y="1712183"/>
                </a:cubicBezTo>
                <a:cubicBezTo>
                  <a:pt x="2920900" y="1706205"/>
                  <a:pt x="2928372" y="1703216"/>
                  <a:pt x="2937873" y="1703216"/>
                </a:cubicBezTo>
                <a:cubicBezTo>
                  <a:pt x="2947907" y="1703216"/>
                  <a:pt x="2954952" y="1705671"/>
                  <a:pt x="2958794" y="1710688"/>
                </a:cubicBezTo>
                <a:cubicBezTo>
                  <a:pt x="2962637" y="1715705"/>
                  <a:pt x="2964559" y="1722857"/>
                  <a:pt x="2964559" y="1732144"/>
                </a:cubicBezTo>
                <a:lnTo>
                  <a:pt x="2964559" y="1826399"/>
                </a:lnTo>
                <a:cubicBezTo>
                  <a:pt x="2964559" y="1829922"/>
                  <a:pt x="2965306" y="1832270"/>
                  <a:pt x="2966587" y="1833444"/>
                </a:cubicBezTo>
                <a:cubicBezTo>
                  <a:pt x="2967974" y="1834618"/>
                  <a:pt x="2970536" y="1835259"/>
                  <a:pt x="2974379" y="1835259"/>
                </a:cubicBezTo>
                <a:lnTo>
                  <a:pt x="2991138" y="1835259"/>
                </a:lnTo>
                <a:cubicBezTo>
                  <a:pt x="2995194" y="1835259"/>
                  <a:pt x="2997863" y="1834618"/>
                  <a:pt x="2999037" y="1833444"/>
                </a:cubicBezTo>
                <a:cubicBezTo>
                  <a:pt x="3000211" y="1832163"/>
                  <a:pt x="3000852" y="1829815"/>
                  <a:pt x="3000852" y="1826399"/>
                </a:cubicBezTo>
                <a:lnTo>
                  <a:pt x="3000852" y="1726700"/>
                </a:lnTo>
                <a:cubicBezTo>
                  <a:pt x="3000852" y="1709728"/>
                  <a:pt x="2996689" y="1696278"/>
                  <a:pt x="2988256" y="1686458"/>
                </a:cubicBezTo>
                <a:cubicBezTo>
                  <a:pt x="2979823" y="1676637"/>
                  <a:pt x="2967014" y="1671727"/>
                  <a:pt x="2949828" y="1671727"/>
                </a:cubicBezTo>
                <a:cubicBezTo>
                  <a:pt x="2931575" y="1671727"/>
                  <a:pt x="2917378" y="1677384"/>
                  <a:pt x="2907237" y="1688699"/>
                </a:cubicBezTo>
                <a:lnTo>
                  <a:pt x="2907237" y="1627642"/>
                </a:lnTo>
                <a:lnTo>
                  <a:pt x="2907130" y="1627535"/>
                </a:lnTo>
                <a:cubicBezTo>
                  <a:pt x="2907130" y="1624012"/>
                  <a:pt x="2906490" y="1621664"/>
                  <a:pt x="2905316" y="1620490"/>
                </a:cubicBezTo>
                <a:cubicBezTo>
                  <a:pt x="2904141" y="1619315"/>
                  <a:pt x="2901473" y="1618675"/>
                  <a:pt x="2897417" y="1618675"/>
                </a:cubicBezTo>
                <a:close/>
                <a:moveTo>
                  <a:pt x="2895923" y="1471367"/>
                </a:moveTo>
                <a:cubicBezTo>
                  <a:pt x="2899766" y="1471367"/>
                  <a:pt x="2904142" y="1471474"/>
                  <a:pt x="2909266" y="1471688"/>
                </a:cubicBezTo>
                <a:cubicBezTo>
                  <a:pt x="2914283" y="1471901"/>
                  <a:pt x="2920154" y="1472328"/>
                  <a:pt x="2926879" y="1473182"/>
                </a:cubicBezTo>
                <a:lnTo>
                  <a:pt x="2926879" y="1486845"/>
                </a:lnTo>
                <a:cubicBezTo>
                  <a:pt x="2926879" y="1498481"/>
                  <a:pt x="2924744" y="1506593"/>
                  <a:pt x="2920474" y="1511503"/>
                </a:cubicBezTo>
                <a:cubicBezTo>
                  <a:pt x="2916204" y="1516307"/>
                  <a:pt x="2909159" y="1518762"/>
                  <a:pt x="2899232" y="1518762"/>
                </a:cubicBezTo>
                <a:lnTo>
                  <a:pt x="2894108" y="1518762"/>
                </a:lnTo>
                <a:cubicBezTo>
                  <a:pt x="2885569" y="1518762"/>
                  <a:pt x="2879057" y="1517054"/>
                  <a:pt x="2874360" y="1513638"/>
                </a:cubicBezTo>
                <a:cubicBezTo>
                  <a:pt x="2869664" y="1510222"/>
                  <a:pt x="2867315" y="1504138"/>
                  <a:pt x="2867315" y="1495385"/>
                </a:cubicBezTo>
                <a:cubicBezTo>
                  <a:pt x="2867315" y="1486632"/>
                  <a:pt x="2869664" y="1480441"/>
                  <a:pt x="2874467" y="1476811"/>
                </a:cubicBezTo>
                <a:cubicBezTo>
                  <a:pt x="2879271" y="1473182"/>
                  <a:pt x="2886422" y="1471367"/>
                  <a:pt x="2895923" y="1471367"/>
                </a:cubicBezTo>
                <a:close/>
                <a:moveTo>
                  <a:pt x="3716786" y="1410203"/>
                </a:moveTo>
                <a:cubicBezTo>
                  <a:pt x="3728100" y="1410203"/>
                  <a:pt x="3736426" y="1413406"/>
                  <a:pt x="3741657" y="1419917"/>
                </a:cubicBezTo>
                <a:cubicBezTo>
                  <a:pt x="3746887" y="1426428"/>
                  <a:pt x="3749556" y="1436569"/>
                  <a:pt x="3749556" y="1450339"/>
                </a:cubicBezTo>
                <a:lnTo>
                  <a:pt x="3749556" y="1469233"/>
                </a:lnTo>
                <a:cubicBezTo>
                  <a:pt x="3749556" y="1496986"/>
                  <a:pt x="3738668" y="1510863"/>
                  <a:pt x="3716679" y="1510863"/>
                </a:cubicBezTo>
                <a:cubicBezTo>
                  <a:pt x="3694689" y="1510863"/>
                  <a:pt x="3683588" y="1496986"/>
                  <a:pt x="3683588" y="1469233"/>
                </a:cubicBezTo>
                <a:lnTo>
                  <a:pt x="3683588" y="1450339"/>
                </a:lnTo>
                <a:lnTo>
                  <a:pt x="3683695" y="1450339"/>
                </a:lnTo>
                <a:cubicBezTo>
                  <a:pt x="3683695" y="1436569"/>
                  <a:pt x="3686363" y="1426428"/>
                  <a:pt x="3691701" y="1419917"/>
                </a:cubicBezTo>
                <a:cubicBezTo>
                  <a:pt x="3697038" y="1413406"/>
                  <a:pt x="3705471" y="1410203"/>
                  <a:pt x="3716786" y="1410203"/>
                </a:cubicBezTo>
                <a:close/>
                <a:moveTo>
                  <a:pt x="3061696" y="1410203"/>
                </a:moveTo>
                <a:cubicBezTo>
                  <a:pt x="3073011" y="1410203"/>
                  <a:pt x="3081337" y="1413406"/>
                  <a:pt x="3086568" y="1419917"/>
                </a:cubicBezTo>
                <a:cubicBezTo>
                  <a:pt x="3091798" y="1426428"/>
                  <a:pt x="3094467" y="1436569"/>
                  <a:pt x="3094467" y="1450339"/>
                </a:cubicBezTo>
                <a:lnTo>
                  <a:pt x="3094467" y="1469233"/>
                </a:lnTo>
                <a:cubicBezTo>
                  <a:pt x="3094467" y="1496986"/>
                  <a:pt x="3083686" y="1510863"/>
                  <a:pt x="3061590" y="1510863"/>
                </a:cubicBezTo>
                <a:cubicBezTo>
                  <a:pt x="3039494" y="1510863"/>
                  <a:pt x="3028499" y="1496986"/>
                  <a:pt x="3028499" y="1469233"/>
                </a:cubicBezTo>
                <a:lnTo>
                  <a:pt x="3028499" y="1450339"/>
                </a:lnTo>
                <a:lnTo>
                  <a:pt x="3028606" y="1450339"/>
                </a:lnTo>
                <a:cubicBezTo>
                  <a:pt x="3028606" y="1436569"/>
                  <a:pt x="3031274" y="1426428"/>
                  <a:pt x="3036612" y="1419917"/>
                </a:cubicBezTo>
                <a:cubicBezTo>
                  <a:pt x="3041949" y="1413406"/>
                  <a:pt x="3050382" y="1410203"/>
                  <a:pt x="3061696" y="1410203"/>
                </a:cubicBezTo>
                <a:close/>
                <a:moveTo>
                  <a:pt x="2411035" y="1409049"/>
                </a:moveTo>
                <a:lnTo>
                  <a:pt x="2433187" y="1417996"/>
                </a:lnTo>
                <a:cubicBezTo>
                  <a:pt x="2437884" y="1423973"/>
                  <a:pt x="2440232" y="1433260"/>
                  <a:pt x="2440232" y="1446069"/>
                </a:cubicBezTo>
                <a:lnTo>
                  <a:pt x="2379175" y="1446069"/>
                </a:lnTo>
                <a:cubicBezTo>
                  <a:pt x="2379495" y="1432940"/>
                  <a:pt x="2382163" y="1423440"/>
                  <a:pt x="2387180" y="1417675"/>
                </a:cubicBezTo>
                <a:close/>
                <a:moveTo>
                  <a:pt x="2410984" y="1409029"/>
                </a:moveTo>
                <a:lnTo>
                  <a:pt x="2411091" y="1409029"/>
                </a:lnTo>
                <a:lnTo>
                  <a:pt x="2411035" y="1409049"/>
                </a:lnTo>
                <a:close/>
                <a:moveTo>
                  <a:pt x="3419716" y="1384052"/>
                </a:moveTo>
                <a:cubicBezTo>
                  <a:pt x="3415873" y="1384052"/>
                  <a:pt x="3413205" y="1384692"/>
                  <a:pt x="3411924" y="1385760"/>
                </a:cubicBezTo>
                <a:cubicBezTo>
                  <a:pt x="3410536" y="1386934"/>
                  <a:pt x="3409895" y="1389282"/>
                  <a:pt x="3409895" y="1392911"/>
                </a:cubicBezTo>
                <a:lnTo>
                  <a:pt x="3409895" y="1534561"/>
                </a:lnTo>
                <a:cubicBezTo>
                  <a:pt x="3409895" y="1538190"/>
                  <a:pt x="3410643" y="1540645"/>
                  <a:pt x="3411924" y="1541713"/>
                </a:cubicBezTo>
                <a:cubicBezTo>
                  <a:pt x="3413311" y="1542887"/>
                  <a:pt x="3415873" y="1543421"/>
                  <a:pt x="3419716" y="1543421"/>
                </a:cubicBezTo>
                <a:lnTo>
                  <a:pt x="3436475" y="1543421"/>
                </a:lnTo>
                <a:cubicBezTo>
                  <a:pt x="3440317" y="1543421"/>
                  <a:pt x="3442986" y="1542780"/>
                  <a:pt x="3444267" y="1541713"/>
                </a:cubicBezTo>
                <a:cubicBezTo>
                  <a:pt x="3445548" y="1540645"/>
                  <a:pt x="3446188" y="1538190"/>
                  <a:pt x="3446188" y="1534561"/>
                </a:cubicBezTo>
                <a:lnTo>
                  <a:pt x="3446188" y="1392911"/>
                </a:lnTo>
                <a:cubicBezTo>
                  <a:pt x="3446188" y="1389282"/>
                  <a:pt x="3445548" y="1386827"/>
                  <a:pt x="3444267" y="1385760"/>
                </a:cubicBezTo>
                <a:cubicBezTo>
                  <a:pt x="3442879" y="1384585"/>
                  <a:pt x="3440317" y="1384052"/>
                  <a:pt x="3436475" y="1384052"/>
                </a:cubicBezTo>
                <a:close/>
                <a:moveTo>
                  <a:pt x="3176126" y="1384052"/>
                </a:moveTo>
                <a:cubicBezTo>
                  <a:pt x="3172283" y="1384052"/>
                  <a:pt x="3169615" y="1384585"/>
                  <a:pt x="3168334" y="1385760"/>
                </a:cubicBezTo>
                <a:cubicBezTo>
                  <a:pt x="3167053" y="1386934"/>
                  <a:pt x="3166412" y="1389282"/>
                  <a:pt x="3166412" y="1392911"/>
                </a:cubicBezTo>
                <a:lnTo>
                  <a:pt x="3166412" y="1534561"/>
                </a:lnTo>
                <a:cubicBezTo>
                  <a:pt x="3166412" y="1538190"/>
                  <a:pt x="3166946" y="1540539"/>
                  <a:pt x="3168334" y="1541713"/>
                </a:cubicBezTo>
                <a:cubicBezTo>
                  <a:pt x="3169721" y="1542887"/>
                  <a:pt x="3172283" y="1543421"/>
                  <a:pt x="3176126" y="1543421"/>
                </a:cubicBezTo>
                <a:lnTo>
                  <a:pt x="3192885" y="1543421"/>
                </a:lnTo>
                <a:cubicBezTo>
                  <a:pt x="3196728" y="1543421"/>
                  <a:pt x="3199396" y="1542780"/>
                  <a:pt x="3200677" y="1541713"/>
                </a:cubicBezTo>
                <a:cubicBezTo>
                  <a:pt x="3202065" y="1540645"/>
                  <a:pt x="3202705" y="1538190"/>
                  <a:pt x="3202705" y="1534561"/>
                </a:cubicBezTo>
                <a:lnTo>
                  <a:pt x="3202705" y="1392911"/>
                </a:lnTo>
                <a:cubicBezTo>
                  <a:pt x="3202705" y="1389282"/>
                  <a:pt x="3201958" y="1386827"/>
                  <a:pt x="3200677" y="1385760"/>
                </a:cubicBezTo>
                <a:cubicBezTo>
                  <a:pt x="3199290" y="1384585"/>
                  <a:pt x="3196728" y="1384052"/>
                  <a:pt x="3192885" y="1384052"/>
                </a:cubicBezTo>
                <a:close/>
                <a:moveTo>
                  <a:pt x="2519650" y="1384052"/>
                </a:moveTo>
                <a:cubicBezTo>
                  <a:pt x="2515807" y="1384052"/>
                  <a:pt x="2513138" y="1384692"/>
                  <a:pt x="2511858" y="1385760"/>
                </a:cubicBezTo>
                <a:cubicBezTo>
                  <a:pt x="2510470" y="1386934"/>
                  <a:pt x="2509829" y="1389282"/>
                  <a:pt x="2509829" y="1392911"/>
                </a:cubicBezTo>
                <a:lnTo>
                  <a:pt x="2509829" y="1534561"/>
                </a:lnTo>
                <a:cubicBezTo>
                  <a:pt x="2509829" y="1538190"/>
                  <a:pt x="2510577" y="1540645"/>
                  <a:pt x="2511858" y="1541713"/>
                </a:cubicBezTo>
                <a:cubicBezTo>
                  <a:pt x="2513245" y="1542887"/>
                  <a:pt x="2515807" y="1543421"/>
                  <a:pt x="2519650" y="1543421"/>
                </a:cubicBezTo>
                <a:lnTo>
                  <a:pt x="2536409" y="1543421"/>
                </a:lnTo>
                <a:cubicBezTo>
                  <a:pt x="2540251" y="1543421"/>
                  <a:pt x="2542920" y="1542780"/>
                  <a:pt x="2544201" y="1541713"/>
                </a:cubicBezTo>
                <a:cubicBezTo>
                  <a:pt x="2545482" y="1540645"/>
                  <a:pt x="2546122" y="1538190"/>
                  <a:pt x="2546122" y="1534561"/>
                </a:cubicBezTo>
                <a:lnTo>
                  <a:pt x="2546122" y="1392911"/>
                </a:lnTo>
                <a:cubicBezTo>
                  <a:pt x="2546122" y="1389282"/>
                  <a:pt x="2545482" y="1386827"/>
                  <a:pt x="2544201" y="1385760"/>
                </a:cubicBezTo>
                <a:cubicBezTo>
                  <a:pt x="2542813" y="1384585"/>
                  <a:pt x="2540251" y="1384052"/>
                  <a:pt x="2536409" y="1384052"/>
                </a:cubicBezTo>
                <a:close/>
                <a:moveTo>
                  <a:pt x="3716572" y="1379888"/>
                </a:moveTo>
                <a:cubicBezTo>
                  <a:pt x="3694689" y="1379888"/>
                  <a:pt x="3677717" y="1385972"/>
                  <a:pt x="3665548" y="1398141"/>
                </a:cubicBezTo>
                <a:cubicBezTo>
                  <a:pt x="3653379" y="1410310"/>
                  <a:pt x="3647295" y="1427282"/>
                  <a:pt x="3647295" y="1448951"/>
                </a:cubicBezTo>
                <a:lnTo>
                  <a:pt x="3647295" y="1474143"/>
                </a:lnTo>
                <a:cubicBezTo>
                  <a:pt x="3647295" y="1495812"/>
                  <a:pt x="3652632" y="1512464"/>
                  <a:pt x="3663413" y="1524099"/>
                </a:cubicBezTo>
                <a:cubicBezTo>
                  <a:pt x="3674195" y="1535734"/>
                  <a:pt x="3689672" y="1541605"/>
                  <a:pt x="3709954" y="1541605"/>
                </a:cubicBezTo>
                <a:cubicBezTo>
                  <a:pt x="3727033" y="1541605"/>
                  <a:pt x="3739949" y="1537015"/>
                  <a:pt x="3748915" y="1527942"/>
                </a:cubicBezTo>
                <a:lnTo>
                  <a:pt x="3748915" y="1543100"/>
                </a:lnTo>
                <a:cubicBezTo>
                  <a:pt x="3748915" y="1552600"/>
                  <a:pt x="3746247" y="1559965"/>
                  <a:pt x="3741016" y="1564982"/>
                </a:cubicBezTo>
                <a:cubicBezTo>
                  <a:pt x="3738348" y="1567438"/>
                  <a:pt x="3734825" y="1569466"/>
                  <a:pt x="3730342" y="1570960"/>
                </a:cubicBezTo>
                <a:cubicBezTo>
                  <a:pt x="3725966" y="1572454"/>
                  <a:pt x="3720842" y="1573202"/>
                  <a:pt x="3715184" y="1573202"/>
                </a:cubicBezTo>
                <a:cubicBezTo>
                  <a:pt x="3708673" y="1573202"/>
                  <a:pt x="3703656" y="1572454"/>
                  <a:pt x="3700240" y="1571067"/>
                </a:cubicBezTo>
                <a:cubicBezTo>
                  <a:pt x="3696824" y="1569679"/>
                  <a:pt x="3693729" y="1567011"/>
                  <a:pt x="3690847" y="1563168"/>
                </a:cubicBezTo>
                <a:lnTo>
                  <a:pt x="3690740" y="1563168"/>
                </a:lnTo>
                <a:cubicBezTo>
                  <a:pt x="3689139" y="1560713"/>
                  <a:pt x="3687644" y="1559218"/>
                  <a:pt x="3686470" y="1558471"/>
                </a:cubicBezTo>
                <a:cubicBezTo>
                  <a:pt x="3685296" y="1557724"/>
                  <a:pt x="3683588" y="1557404"/>
                  <a:pt x="3681346" y="1557404"/>
                </a:cubicBezTo>
                <a:lnTo>
                  <a:pt x="3661278" y="1557404"/>
                </a:lnTo>
                <a:cubicBezTo>
                  <a:pt x="3655835" y="1557404"/>
                  <a:pt x="3653059" y="1559325"/>
                  <a:pt x="3653059" y="1563168"/>
                </a:cubicBezTo>
                <a:cubicBezTo>
                  <a:pt x="3653059" y="1574269"/>
                  <a:pt x="3658610" y="1583129"/>
                  <a:pt x="3669498" y="1589747"/>
                </a:cubicBezTo>
                <a:cubicBezTo>
                  <a:pt x="3680386" y="1596365"/>
                  <a:pt x="3695330" y="1599674"/>
                  <a:pt x="3714437" y="1599674"/>
                </a:cubicBezTo>
                <a:cubicBezTo>
                  <a:pt x="3738988" y="1599674"/>
                  <a:pt x="3756921" y="1594977"/>
                  <a:pt x="3768129" y="1585584"/>
                </a:cubicBezTo>
                <a:cubicBezTo>
                  <a:pt x="3779338" y="1576191"/>
                  <a:pt x="3784995" y="1561140"/>
                  <a:pt x="3784995" y="1540431"/>
                </a:cubicBezTo>
                <a:lnTo>
                  <a:pt x="3784995" y="1442547"/>
                </a:lnTo>
                <a:cubicBezTo>
                  <a:pt x="3784995" y="1422692"/>
                  <a:pt x="3779017" y="1407321"/>
                  <a:pt x="3767062" y="1396327"/>
                </a:cubicBezTo>
                <a:cubicBezTo>
                  <a:pt x="3755107" y="1385332"/>
                  <a:pt x="3738455" y="1379888"/>
                  <a:pt x="3716572" y="1379888"/>
                </a:cubicBezTo>
                <a:close/>
                <a:moveTo>
                  <a:pt x="3564782" y="1379888"/>
                </a:moveTo>
                <a:cubicBezTo>
                  <a:pt x="3555388" y="1379888"/>
                  <a:pt x="3546955" y="1381596"/>
                  <a:pt x="3539377" y="1385012"/>
                </a:cubicBezTo>
                <a:cubicBezTo>
                  <a:pt x="3531798" y="1388428"/>
                  <a:pt x="3525713" y="1393231"/>
                  <a:pt x="3521017" y="1399315"/>
                </a:cubicBezTo>
                <a:lnTo>
                  <a:pt x="3521017" y="1392911"/>
                </a:lnTo>
                <a:cubicBezTo>
                  <a:pt x="3521017" y="1389281"/>
                  <a:pt x="3520269" y="1386826"/>
                  <a:pt x="3518988" y="1385759"/>
                </a:cubicBezTo>
                <a:cubicBezTo>
                  <a:pt x="3517601" y="1384585"/>
                  <a:pt x="3515039" y="1384051"/>
                  <a:pt x="3511196" y="1384051"/>
                </a:cubicBezTo>
                <a:lnTo>
                  <a:pt x="3495078" y="1384051"/>
                </a:lnTo>
                <a:cubicBezTo>
                  <a:pt x="3491235" y="1384051"/>
                  <a:pt x="3488566" y="1384585"/>
                  <a:pt x="3487285" y="1385759"/>
                </a:cubicBezTo>
                <a:cubicBezTo>
                  <a:pt x="3486005" y="1386933"/>
                  <a:pt x="3485364" y="1389281"/>
                  <a:pt x="3485364" y="1392911"/>
                </a:cubicBezTo>
                <a:lnTo>
                  <a:pt x="3485364" y="1534454"/>
                </a:lnTo>
                <a:cubicBezTo>
                  <a:pt x="3485364" y="1538083"/>
                  <a:pt x="3485898" y="1540431"/>
                  <a:pt x="3487285" y="1541605"/>
                </a:cubicBezTo>
                <a:cubicBezTo>
                  <a:pt x="3488673" y="1542780"/>
                  <a:pt x="3491235" y="1543313"/>
                  <a:pt x="3495078" y="1543313"/>
                </a:cubicBezTo>
                <a:lnTo>
                  <a:pt x="3511837" y="1543313"/>
                </a:lnTo>
                <a:cubicBezTo>
                  <a:pt x="3515679" y="1543313"/>
                  <a:pt x="3518348" y="1542673"/>
                  <a:pt x="3519629" y="1541605"/>
                </a:cubicBezTo>
                <a:cubicBezTo>
                  <a:pt x="3521017" y="1540538"/>
                  <a:pt x="3521657" y="1538083"/>
                  <a:pt x="3521657" y="1534454"/>
                </a:cubicBezTo>
                <a:lnTo>
                  <a:pt x="3521657" y="1445429"/>
                </a:lnTo>
                <a:cubicBezTo>
                  <a:pt x="3521657" y="1434648"/>
                  <a:pt x="3524432" y="1426322"/>
                  <a:pt x="3529983" y="1420344"/>
                </a:cubicBezTo>
                <a:cubicBezTo>
                  <a:pt x="3535534" y="1414366"/>
                  <a:pt x="3543006" y="1411378"/>
                  <a:pt x="3552933" y="1411378"/>
                </a:cubicBezTo>
                <a:cubicBezTo>
                  <a:pt x="3562860" y="1411378"/>
                  <a:pt x="3569692" y="1413833"/>
                  <a:pt x="3573428" y="1418850"/>
                </a:cubicBezTo>
                <a:cubicBezTo>
                  <a:pt x="3577164" y="1423867"/>
                  <a:pt x="3579085" y="1431018"/>
                  <a:pt x="3579085" y="1440305"/>
                </a:cubicBezTo>
                <a:lnTo>
                  <a:pt x="3579085" y="1534560"/>
                </a:lnTo>
                <a:cubicBezTo>
                  <a:pt x="3579085" y="1538190"/>
                  <a:pt x="3579833" y="1540645"/>
                  <a:pt x="3581114" y="1541712"/>
                </a:cubicBezTo>
                <a:cubicBezTo>
                  <a:pt x="3582501" y="1542886"/>
                  <a:pt x="3585063" y="1543420"/>
                  <a:pt x="3588906" y="1543420"/>
                </a:cubicBezTo>
                <a:lnTo>
                  <a:pt x="3605665" y="1543420"/>
                </a:lnTo>
                <a:cubicBezTo>
                  <a:pt x="3609507" y="1543420"/>
                  <a:pt x="3612176" y="1542780"/>
                  <a:pt x="3613457" y="1541712"/>
                </a:cubicBezTo>
                <a:cubicBezTo>
                  <a:pt x="3614845" y="1540645"/>
                  <a:pt x="3615485" y="1538190"/>
                  <a:pt x="3615485" y="1534560"/>
                </a:cubicBezTo>
                <a:lnTo>
                  <a:pt x="3615485" y="1434861"/>
                </a:lnTo>
                <a:cubicBezTo>
                  <a:pt x="3615485" y="1417889"/>
                  <a:pt x="3611322" y="1404439"/>
                  <a:pt x="3602996" y="1394619"/>
                </a:cubicBezTo>
                <a:cubicBezTo>
                  <a:pt x="3594670" y="1384798"/>
                  <a:pt x="3581967" y="1379888"/>
                  <a:pt x="3564995" y="1379888"/>
                </a:cubicBezTo>
                <a:close/>
                <a:moveTo>
                  <a:pt x="3321405" y="1379888"/>
                </a:moveTo>
                <a:cubicBezTo>
                  <a:pt x="3312011" y="1379888"/>
                  <a:pt x="3303578" y="1381596"/>
                  <a:pt x="3296000" y="1385012"/>
                </a:cubicBezTo>
                <a:cubicBezTo>
                  <a:pt x="3288421" y="1388428"/>
                  <a:pt x="3282336" y="1393231"/>
                  <a:pt x="3277640" y="1399315"/>
                </a:cubicBezTo>
                <a:lnTo>
                  <a:pt x="3277640" y="1392911"/>
                </a:lnTo>
                <a:cubicBezTo>
                  <a:pt x="3277640" y="1389281"/>
                  <a:pt x="3276999" y="1386826"/>
                  <a:pt x="3275718" y="1385759"/>
                </a:cubicBezTo>
                <a:cubicBezTo>
                  <a:pt x="3274330" y="1384585"/>
                  <a:pt x="3271769" y="1384051"/>
                  <a:pt x="3267926" y="1384051"/>
                </a:cubicBezTo>
                <a:lnTo>
                  <a:pt x="3251807" y="1384051"/>
                </a:lnTo>
                <a:cubicBezTo>
                  <a:pt x="3247965" y="1384051"/>
                  <a:pt x="3245296" y="1384691"/>
                  <a:pt x="3244015" y="1385759"/>
                </a:cubicBezTo>
                <a:cubicBezTo>
                  <a:pt x="3242627" y="1386933"/>
                  <a:pt x="3241987" y="1389281"/>
                  <a:pt x="3241987" y="1392911"/>
                </a:cubicBezTo>
                <a:lnTo>
                  <a:pt x="3241987" y="1534454"/>
                </a:lnTo>
                <a:cubicBezTo>
                  <a:pt x="3241987" y="1538083"/>
                  <a:pt x="3242734" y="1540538"/>
                  <a:pt x="3244015" y="1541605"/>
                </a:cubicBezTo>
                <a:cubicBezTo>
                  <a:pt x="3245403" y="1542780"/>
                  <a:pt x="3247965" y="1543313"/>
                  <a:pt x="3251807" y="1543313"/>
                </a:cubicBezTo>
                <a:lnTo>
                  <a:pt x="3268566" y="1543313"/>
                </a:lnTo>
                <a:cubicBezTo>
                  <a:pt x="3272409" y="1543313"/>
                  <a:pt x="3275078" y="1542673"/>
                  <a:pt x="3276359" y="1541605"/>
                </a:cubicBezTo>
                <a:cubicBezTo>
                  <a:pt x="3277640" y="1540538"/>
                  <a:pt x="3278280" y="1538083"/>
                  <a:pt x="3278280" y="1534454"/>
                </a:cubicBezTo>
                <a:lnTo>
                  <a:pt x="3278280" y="1445429"/>
                </a:lnTo>
                <a:cubicBezTo>
                  <a:pt x="3278280" y="1434648"/>
                  <a:pt x="3281055" y="1426322"/>
                  <a:pt x="3286606" y="1420344"/>
                </a:cubicBezTo>
                <a:cubicBezTo>
                  <a:pt x="3292157" y="1414366"/>
                  <a:pt x="3299629" y="1411378"/>
                  <a:pt x="3309556" y="1411378"/>
                </a:cubicBezTo>
                <a:cubicBezTo>
                  <a:pt x="3319483" y="1411378"/>
                  <a:pt x="3326315" y="1413833"/>
                  <a:pt x="3330051" y="1418850"/>
                </a:cubicBezTo>
                <a:cubicBezTo>
                  <a:pt x="3333787" y="1423867"/>
                  <a:pt x="3335708" y="1431018"/>
                  <a:pt x="3335708" y="1440305"/>
                </a:cubicBezTo>
                <a:lnTo>
                  <a:pt x="3335708" y="1534560"/>
                </a:lnTo>
                <a:cubicBezTo>
                  <a:pt x="3335708" y="1538190"/>
                  <a:pt x="3336349" y="1540645"/>
                  <a:pt x="3337630" y="1541712"/>
                </a:cubicBezTo>
                <a:cubicBezTo>
                  <a:pt x="3339017" y="1542886"/>
                  <a:pt x="3341579" y="1543420"/>
                  <a:pt x="3345422" y="1543420"/>
                </a:cubicBezTo>
                <a:lnTo>
                  <a:pt x="3362181" y="1543420"/>
                </a:lnTo>
                <a:cubicBezTo>
                  <a:pt x="3366024" y="1543420"/>
                  <a:pt x="3368692" y="1542780"/>
                  <a:pt x="3369973" y="1541712"/>
                </a:cubicBezTo>
                <a:cubicBezTo>
                  <a:pt x="3371361" y="1540645"/>
                  <a:pt x="3372001" y="1538190"/>
                  <a:pt x="3372001" y="1534560"/>
                </a:cubicBezTo>
                <a:lnTo>
                  <a:pt x="3372001" y="1434861"/>
                </a:lnTo>
                <a:cubicBezTo>
                  <a:pt x="3372001" y="1417889"/>
                  <a:pt x="3367838" y="1404439"/>
                  <a:pt x="3359512" y="1394619"/>
                </a:cubicBezTo>
                <a:cubicBezTo>
                  <a:pt x="3351186" y="1384798"/>
                  <a:pt x="3338484" y="1379888"/>
                  <a:pt x="3321511" y="1379888"/>
                </a:cubicBezTo>
                <a:close/>
                <a:moveTo>
                  <a:pt x="3061483" y="1379888"/>
                </a:moveTo>
                <a:cubicBezTo>
                  <a:pt x="3039600" y="1379888"/>
                  <a:pt x="3022628" y="1385972"/>
                  <a:pt x="3010459" y="1398141"/>
                </a:cubicBezTo>
                <a:cubicBezTo>
                  <a:pt x="2998290" y="1410310"/>
                  <a:pt x="2992206" y="1427282"/>
                  <a:pt x="2992206" y="1448951"/>
                </a:cubicBezTo>
                <a:lnTo>
                  <a:pt x="2992206" y="1474143"/>
                </a:lnTo>
                <a:cubicBezTo>
                  <a:pt x="2992206" y="1495812"/>
                  <a:pt x="2997543" y="1512464"/>
                  <a:pt x="3008324" y="1524099"/>
                </a:cubicBezTo>
                <a:cubicBezTo>
                  <a:pt x="3019105" y="1535734"/>
                  <a:pt x="3034583" y="1541605"/>
                  <a:pt x="3054865" y="1541605"/>
                </a:cubicBezTo>
                <a:cubicBezTo>
                  <a:pt x="3071837" y="1541605"/>
                  <a:pt x="3084860" y="1537015"/>
                  <a:pt x="3093720" y="1527942"/>
                </a:cubicBezTo>
                <a:lnTo>
                  <a:pt x="3093720" y="1543100"/>
                </a:lnTo>
                <a:cubicBezTo>
                  <a:pt x="3093720" y="1552600"/>
                  <a:pt x="3091051" y="1559965"/>
                  <a:pt x="3085821" y="1564982"/>
                </a:cubicBezTo>
                <a:cubicBezTo>
                  <a:pt x="3083152" y="1567438"/>
                  <a:pt x="3079629" y="1569466"/>
                  <a:pt x="3075146" y="1570960"/>
                </a:cubicBezTo>
                <a:cubicBezTo>
                  <a:pt x="3070770" y="1572454"/>
                  <a:pt x="3065646" y="1573202"/>
                  <a:pt x="3059989" y="1573202"/>
                </a:cubicBezTo>
                <a:cubicBezTo>
                  <a:pt x="3053584" y="1573202"/>
                  <a:pt x="3048567" y="1572454"/>
                  <a:pt x="3045151" y="1571067"/>
                </a:cubicBezTo>
                <a:cubicBezTo>
                  <a:pt x="3041735" y="1569679"/>
                  <a:pt x="3038640" y="1567011"/>
                  <a:pt x="3035758" y="1563168"/>
                </a:cubicBezTo>
                <a:lnTo>
                  <a:pt x="3035651" y="1563168"/>
                </a:lnTo>
                <a:cubicBezTo>
                  <a:pt x="3034050" y="1560713"/>
                  <a:pt x="3032555" y="1559218"/>
                  <a:pt x="3031381" y="1558471"/>
                </a:cubicBezTo>
                <a:cubicBezTo>
                  <a:pt x="3030207" y="1557724"/>
                  <a:pt x="3028499" y="1557404"/>
                  <a:pt x="3026257" y="1557404"/>
                </a:cubicBezTo>
                <a:lnTo>
                  <a:pt x="3006189" y="1557404"/>
                </a:lnTo>
                <a:cubicBezTo>
                  <a:pt x="3000745" y="1557404"/>
                  <a:pt x="2997970" y="1559325"/>
                  <a:pt x="2997970" y="1563168"/>
                </a:cubicBezTo>
                <a:cubicBezTo>
                  <a:pt x="2997970" y="1574269"/>
                  <a:pt x="3003521" y="1583129"/>
                  <a:pt x="3014409" y="1589747"/>
                </a:cubicBezTo>
                <a:cubicBezTo>
                  <a:pt x="3025297" y="1596365"/>
                  <a:pt x="3040348" y="1599674"/>
                  <a:pt x="3059348" y="1599674"/>
                </a:cubicBezTo>
                <a:cubicBezTo>
                  <a:pt x="3083899" y="1599674"/>
                  <a:pt x="3101832" y="1594977"/>
                  <a:pt x="3113040" y="1585584"/>
                </a:cubicBezTo>
                <a:cubicBezTo>
                  <a:pt x="3124248" y="1576191"/>
                  <a:pt x="3129906" y="1561140"/>
                  <a:pt x="3129906" y="1540431"/>
                </a:cubicBezTo>
                <a:lnTo>
                  <a:pt x="3129906" y="1442547"/>
                </a:lnTo>
                <a:cubicBezTo>
                  <a:pt x="3129906" y="1422692"/>
                  <a:pt x="3123928" y="1407321"/>
                  <a:pt x="3111973" y="1396327"/>
                </a:cubicBezTo>
                <a:cubicBezTo>
                  <a:pt x="3100018" y="1385332"/>
                  <a:pt x="3083366" y="1379888"/>
                  <a:pt x="3061483" y="1379888"/>
                </a:cubicBezTo>
                <a:close/>
                <a:moveTo>
                  <a:pt x="2662900" y="1379888"/>
                </a:moveTo>
                <a:cubicBezTo>
                  <a:pt x="2644433" y="1379888"/>
                  <a:pt x="2630450" y="1386186"/>
                  <a:pt x="2620950" y="1398995"/>
                </a:cubicBezTo>
                <a:lnTo>
                  <a:pt x="2620950" y="1392911"/>
                </a:lnTo>
                <a:cubicBezTo>
                  <a:pt x="2620950" y="1389281"/>
                  <a:pt x="2620309" y="1386826"/>
                  <a:pt x="2619028" y="1385759"/>
                </a:cubicBezTo>
                <a:cubicBezTo>
                  <a:pt x="2617641" y="1384585"/>
                  <a:pt x="2615079" y="1384051"/>
                  <a:pt x="2611236" y="1384051"/>
                </a:cubicBezTo>
                <a:lnTo>
                  <a:pt x="2595117" y="1384051"/>
                </a:lnTo>
                <a:cubicBezTo>
                  <a:pt x="2591275" y="1384051"/>
                  <a:pt x="2588606" y="1384691"/>
                  <a:pt x="2587325" y="1385759"/>
                </a:cubicBezTo>
                <a:cubicBezTo>
                  <a:pt x="2585937" y="1386933"/>
                  <a:pt x="2585297" y="1389281"/>
                  <a:pt x="2585297" y="1392911"/>
                </a:cubicBezTo>
                <a:lnTo>
                  <a:pt x="2585297" y="1534347"/>
                </a:lnTo>
                <a:cubicBezTo>
                  <a:pt x="2585297" y="1537976"/>
                  <a:pt x="2586044" y="1540431"/>
                  <a:pt x="2587325" y="1541499"/>
                </a:cubicBezTo>
                <a:cubicBezTo>
                  <a:pt x="2588713" y="1542673"/>
                  <a:pt x="2591275" y="1543207"/>
                  <a:pt x="2595117" y="1543207"/>
                </a:cubicBezTo>
                <a:lnTo>
                  <a:pt x="2611876" y="1543207"/>
                </a:lnTo>
                <a:cubicBezTo>
                  <a:pt x="2615719" y="1543207"/>
                  <a:pt x="2618388" y="1542566"/>
                  <a:pt x="2619669" y="1541499"/>
                </a:cubicBezTo>
                <a:cubicBezTo>
                  <a:pt x="2620950" y="1540431"/>
                  <a:pt x="2621590" y="1537976"/>
                  <a:pt x="2621590" y="1534347"/>
                </a:cubicBezTo>
                <a:lnTo>
                  <a:pt x="2621590" y="1445322"/>
                </a:lnTo>
                <a:cubicBezTo>
                  <a:pt x="2621590" y="1434541"/>
                  <a:pt x="2624259" y="1426215"/>
                  <a:pt x="2629489" y="1420237"/>
                </a:cubicBezTo>
                <a:cubicBezTo>
                  <a:pt x="2634720" y="1414260"/>
                  <a:pt x="2641444" y="1411271"/>
                  <a:pt x="2650731" y="1411271"/>
                </a:cubicBezTo>
                <a:cubicBezTo>
                  <a:pt x="2660018" y="1411271"/>
                  <a:pt x="2666529" y="1413726"/>
                  <a:pt x="2670052" y="1418743"/>
                </a:cubicBezTo>
                <a:cubicBezTo>
                  <a:pt x="2673574" y="1423760"/>
                  <a:pt x="2675389" y="1430912"/>
                  <a:pt x="2675389" y="1440198"/>
                </a:cubicBezTo>
                <a:lnTo>
                  <a:pt x="2675389" y="1534454"/>
                </a:lnTo>
                <a:cubicBezTo>
                  <a:pt x="2675389" y="1538083"/>
                  <a:pt x="2676030" y="1540538"/>
                  <a:pt x="2677310" y="1541605"/>
                </a:cubicBezTo>
                <a:cubicBezTo>
                  <a:pt x="2678698" y="1542780"/>
                  <a:pt x="2681260" y="1543313"/>
                  <a:pt x="2685103" y="1543313"/>
                </a:cubicBezTo>
                <a:lnTo>
                  <a:pt x="2701862" y="1543313"/>
                </a:lnTo>
                <a:cubicBezTo>
                  <a:pt x="2705704" y="1543313"/>
                  <a:pt x="2708373" y="1542673"/>
                  <a:pt x="2709654" y="1541605"/>
                </a:cubicBezTo>
                <a:cubicBezTo>
                  <a:pt x="2710935" y="1540538"/>
                  <a:pt x="2711575" y="1538083"/>
                  <a:pt x="2711575" y="1534454"/>
                </a:cubicBezTo>
                <a:lnTo>
                  <a:pt x="2711575" y="1445429"/>
                </a:lnTo>
                <a:cubicBezTo>
                  <a:pt x="2711575" y="1434648"/>
                  <a:pt x="2714244" y="1426322"/>
                  <a:pt x="2719474" y="1420344"/>
                </a:cubicBezTo>
                <a:cubicBezTo>
                  <a:pt x="2724705" y="1414366"/>
                  <a:pt x="2731323" y="1411378"/>
                  <a:pt x="2740716" y="1411378"/>
                </a:cubicBezTo>
                <a:cubicBezTo>
                  <a:pt x="2750110" y="1411378"/>
                  <a:pt x="2756515" y="1413833"/>
                  <a:pt x="2760037" y="1418850"/>
                </a:cubicBezTo>
                <a:cubicBezTo>
                  <a:pt x="2763560" y="1423867"/>
                  <a:pt x="2765374" y="1431018"/>
                  <a:pt x="2765374" y="1440305"/>
                </a:cubicBezTo>
                <a:lnTo>
                  <a:pt x="2765374" y="1534560"/>
                </a:lnTo>
                <a:cubicBezTo>
                  <a:pt x="2765374" y="1538190"/>
                  <a:pt x="2765908" y="1540538"/>
                  <a:pt x="2767296" y="1541712"/>
                </a:cubicBezTo>
                <a:cubicBezTo>
                  <a:pt x="2768683" y="1542886"/>
                  <a:pt x="2771245" y="1543420"/>
                  <a:pt x="2775088" y="1543420"/>
                </a:cubicBezTo>
                <a:lnTo>
                  <a:pt x="2791847" y="1543420"/>
                </a:lnTo>
                <a:cubicBezTo>
                  <a:pt x="2795690" y="1543420"/>
                  <a:pt x="2798252" y="1542780"/>
                  <a:pt x="2799639" y="1541712"/>
                </a:cubicBezTo>
                <a:cubicBezTo>
                  <a:pt x="2801027" y="1540645"/>
                  <a:pt x="2801667" y="1538190"/>
                  <a:pt x="2801667" y="1534560"/>
                </a:cubicBezTo>
                <a:lnTo>
                  <a:pt x="2801667" y="1434861"/>
                </a:lnTo>
                <a:cubicBezTo>
                  <a:pt x="2801667" y="1417889"/>
                  <a:pt x="2797718" y="1404439"/>
                  <a:pt x="2789712" y="1394619"/>
                </a:cubicBezTo>
                <a:cubicBezTo>
                  <a:pt x="2781706" y="1384798"/>
                  <a:pt x="2769537" y="1379888"/>
                  <a:pt x="2753099" y="1379888"/>
                </a:cubicBezTo>
                <a:lnTo>
                  <a:pt x="2752885" y="1379888"/>
                </a:lnTo>
                <a:cubicBezTo>
                  <a:pt x="2742104" y="1379888"/>
                  <a:pt x="2732604" y="1381809"/>
                  <a:pt x="2724278" y="1385652"/>
                </a:cubicBezTo>
                <a:cubicBezTo>
                  <a:pt x="2715952" y="1389495"/>
                  <a:pt x="2709440" y="1395046"/>
                  <a:pt x="2704530" y="1402091"/>
                </a:cubicBezTo>
                <a:cubicBezTo>
                  <a:pt x="2700687" y="1394939"/>
                  <a:pt x="2695350" y="1389495"/>
                  <a:pt x="2688412" y="1385652"/>
                </a:cubicBezTo>
                <a:cubicBezTo>
                  <a:pt x="2681580" y="1381809"/>
                  <a:pt x="2673041" y="1379888"/>
                  <a:pt x="2662900" y="1379888"/>
                </a:cubicBezTo>
                <a:close/>
                <a:moveTo>
                  <a:pt x="2410878" y="1379888"/>
                </a:moveTo>
                <a:cubicBezTo>
                  <a:pt x="2389208" y="1379888"/>
                  <a:pt x="2372450" y="1386293"/>
                  <a:pt x="2360708" y="1399209"/>
                </a:cubicBezTo>
                <a:cubicBezTo>
                  <a:pt x="2348966" y="1412018"/>
                  <a:pt x="2343095" y="1430271"/>
                  <a:pt x="2343095" y="1453755"/>
                </a:cubicBezTo>
                <a:lnTo>
                  <a:pt x="2343095" y="1477452"/>
                </a:lnTo>
                <a:cubicBezTo>
                  <a:pt x="2343095" y="1499975"/>
                  <a:pt x="2348966" y="1517268"/>
                  <a:pt x="2360708" y="1529437"/>
                </a:cubicBezTo>
                <a:cubicBezTo>
                  <a:pt x="2372450" y="1541605"/>
                  <a:pt x="2389102" y="1547690"/>
                  <a:pt x="2410557" y="1547690"/>
                </a:cubicBezTo>
                <a:cubicBezTo>
                  <a:pt x="2421338" y="1547690"/>
                  <a:pt x="2431266" y="1546195"/>
                  <a:pt x="2440232" y="1542993"/>
                </a:cubicBezTo>
                <a:cubicBezTo>
                  <a:pt x="2449199" y="1539791"/>
                  <a:pt x="2456564" y="1535308"/>
                  <a:pt x="2462221" y="1529437"/>
                </a:cubicBezTo>
                <a:cubicBezTo>
                  <a:pt x="2465637" y="1526021"/>
                  <a:pt x="2468626" y="1521751"/>
                  <a:pt x="2471188" y="1516521"/>
                </a:cubicBezTo>
                <a:cubicBezTo>
                  <a:pt x="2473750" y="1511290"/>
                  <a:pt x="2475031" y="1506807"/>
                  <a:pt x="2475031" y="1502964"/>
                </a:cubicBezTo>
                <a:cubicBezTo>
                  <a:pt x="2475031" y="1500402"/>
                  <a:pt x="2474284" y="1498481"/>
                  <a:pt x="2472896" y="1497520"/>
                </a:cubicBezTo>
                <a:cubicBezTo>
                  <a:pt x="2471508" y="1496559"/>
                  <a:pt x="2469053" y="1496026"/>
                  <a:pt x="2465637" y="1496026"/>
                </a:cubicBezTo>
                <a:lnTo>
                  <a:pt x="2446744" y="1496026"/>
                </a:lnTo>
                <a:cubicBezTo>
                  <a:pt x="2442474" y="1496026"/>
                  <a:pt x="2439698" y="1497734"/>
                  <a:pt x="2438524" y="1501149"/>
                </a:cubicBezTo>
                <a:cubicBezTo>
                  <a:pt x="2435215" y="1511717"/>
                  <a:pt x="2426249" y="1516948"/>
                  <a:pt x="2411411" y="1516948"/>
                </a:cubicBezTo>
                <a:cubicBezTo>
                  <a:pt x="2399883" y="1516948"/>
                  <a:pt x="2391557" y="1513745"/>
                  <a:pt x="2386647" y="1507341"/>
                </a:cubicBezTo>
                <a:cubicBezTo>
                  <a:pt x="2381630" y="1500936"/>
                  <a:pt x="2379175" y="1490155"/>
                  <a:pt x="2379175" y="1474997"/>
                </a:cubicBezTo>
                <a:lnTo>
                  <a:pt x="2379175" y="1473503"/>
                </a:lnTo>
                <a:lnTo>
                  <a:pt x="2467345" y="1473503"/>
                </a:lnTo>
                <a:lnTo>
                  <a:pt x="2467452" y="1473609"/>
                </a:lnTo>
                <a:cubicBezTo>
                  <a:pt x="2471508" y="1473609"/>
                  <a:pt x="2474177" y="1473076"/>
                  <a:pt x="2475351" y="1471795"/>
                </a:cubicBezTo>
                <a:cubicBezTo>
                  <a:pt x="2476525" y="1470514"/>
                  <a:pt x="2477166" y="1468165"/>
                  <a:pt x="2477166" y="1464750"/>
                </a:cubicBezTo>
                <a:lnTo>
                  <a:pt x="2477166" y="1450446"/>
                </a:lnTo>
                <a:cubicBezTo>
                  <a:pt x="2477166" y="1427282"/>
                  <a:pt x="2471615" y="1409776"/>
                  <a:pt x="2460300" y="1397821"/>
                </a:cubicBezTo>
                <a:cubicBezTo>
                  <a:pt x="2448985" y="1385866"/>
                  <a:pt x="2432547" y="1379888"/>
                  <a:pt x="2410878" y="1379888"/>
                </a:cubicBezTo>
                <a:close/>
                <a:moveTo>
                  <a:pt x="2900193" y="1379781"/>
                </a:moveTo>
                <a:cubicBezTo>
                  <a:pt x="2886743" y="1379781"/>
                  <a:pt x="2875962" y="1381275"/>
                  <a:pt x="2867636" y="1384371"/>
                </a:cubicBezTo>
                <a:cubicBezTo>
                  <a:pt x="2859309" y="1387467"/>
                  <a:pt x="2852585" y="1391736"/>
                  <a:pt x="2847568" y="1397180"/>
                </a:cubicBezTo>
                <a:cubicBezTo>
                  <a:pt x="2841270" y="1404119"/>
                  <a:pt x="2838174" y="1411484"/>
                  <a:pt x="2838174" y="1419383"/>
                </a:cubicBezTo>
                <a:cubicBezTo>
                  <a:pt x="2838174" y="1421625"/>
                  <a:pt x="2838815" y="1423333"/>
                  <a:pt x="2839989" y="1424400"/>
                </a:cubicBezTo>
                <a:cubicBezTo>
                  <a:pt x="2841270" y="1425574"/>
                  <a:pt x="2843511" y="1426108"/>
                  <a:pt x="2846714" y="1426108"/>
                </a:cubicBezTo>
                <a:lnTo>
                  <a:pt x="2866461" y="1426108"/>
                </a:lnTo>
                <a:cubicBezTo>
                  <a:pt x="2869770" y="1426108"/>
                  <a:pt x="2872012" y="1425788"/>
                  <a:pt x="2873186" y="1425041"/>
                </a:cubicBezTo>
                <a:cubicBezTo>
                  <a:pt x="2874467" y="1424400"/>
                  <a:pt x="2875428" y="1422799"/>
                  <a:pt x="2876282" y="1420344"/>
                </a:cubicBezTo>
                <a:cubicBezTo>
                  <a:pt x="2877883" y="1415647"/>
                  <a:pt x="2880765" y="1412338"/>
                  <a:pt x="2884821" y="1410417"/>
                </a:cubicBezTo>
                <a:cubicBezTo>
                  <a:pt x="2888878" y="1408495"/>
                  <a:pt x="2894001" y="1407534"/>
                  <a:pt x="2900299" y="1407534"/>
                </a:cubicBezTo>
                <a:cubicBezTo>
                  <a:pt x="2909373" y="1407534"/>
                  <a:pt x="2916097" y="1409669"/>
                  <a:pt x="2920474" y="1414046"/>
                </a:cubicBezTo>
                <a:cubicBezTo>
                  <a:pt x="2924850" y="1418422"/>
                  <a:pt x="2926985" y="1426321"/>
                  <a:pt x="2926985" y="1437636"/>
                </a:cubicBezTo>
                <a:lnTo>
                  <a:pt x="2926985" y="1445535"/>
                </a:lnTo>
                <a:cubicBezTo>
                  <a:pt x="2921755" y="1444895"/>
                  <a:pt x="2916097" y="1444468"/>
                  <a:pt x="2910120" y="1444148"/>
                </a:cubicBezTo>
                <a:cubicBezTo>
                  <a:pt x="2904035" y="1443827"/>
                  <a:pt x="2898805" y="1443721"/>
                  <a:pt x="2894108" y="1443721"/>
                </a:cubicBezTo>
                <a:lnTo>
                  <a:pt x="2894001" y="1443614"/>
                </a:lnTo>
                <a:cubicBezTo>
                  <a:pt x="2882686" y="1443614"/>
                  <a:pt x="2872226" y="1445215"/>
                  <a:pt x="2862832" y="1448311"/>
                </a:cubicBezTo>
                <a:cubicBezTo>
                  <a:pt x="2853332" y="1451513"/>
                  <a:pt x="2845860" y="1456850"/>
                  <a:pt x="2840309" y="1464322"/>
                </a:cubicBezTo>
                <a:cubicBezTo>
                  <a:pt x="2834758" y="1471794"/>
                  <a:pt x="2831983" y="1482255"/>
                  <a:pt x="2831983" y="1495598"/>
                </a:cubicBezTo>
                <a:cubicBezTo>
                  <a:pt x="2831983" y="1513425"/>
                  <a:pt x="2837107" y="1526447"/>
                  <a:pt x="2847354" y="1534347"/>
                </a:cubicBezTo>
                <a:cubicBezTo>
                  <a:pt x="2857602" y="1542246"/>
                  <a:pt x="2873506" y="1546302"/>
                  <a:pt x="2894962" y="1546302"/>
                </a:cubicBezTo>
                <a:lnTo>
                  <a:pt x="2903502" y="1546302"/>
                </a:lnTo>
                <a:cubicBezTo>
                  <a:pt x="2918766" y="1546302"/>
                  <a:pt x="2930508" y="1543954"/>
                  <a:pt x="2938941" y="1539043"/>
                </a:cubicBezTo>
                <a:cubicBezTo>
                  <a:pt x="2947373" y="1534133"/>
                  <a:pt x="2953351" y="1527728"/>
                  <a:pt x="2956767" y="1519723"/>
                </a:cubicBezTo>
                <a:cubicBezTo>
                  <a:pt x="2960183" y="1511717"/>
                  <a:pt x="2961891" y="1503284"/>
                  <a:pt x="2961891" y="1494317"/>
                </a:cubicBezTo>
                <a:lnTo>
                  <a:pt x="2961891" y="1435074"/>
                </a:lnTo>
                <a:cubicBezTo>
                  <a:pt x="2961891" y="1423119"/>
                  <a:pt x="2960183" y="1413085"/>
                  <a:pt x="2956447" y="1404866"/>
                </a:cubicBezTo>
                <a:cubicBezTo>
                  <a:pt x="2952711" y="1396647"/>
                  <a:pt x="2946413" y="1390455"/>
                  <a:pt x="2937553" y="1386186"/>
                </a:cubicBezTo>
                <a:cubicBezTo>
                  <a:pt x="2928693" y="1381916"/>
                  <a:pt x="2916204" y="1379781"/>
                  <a:pt x="2900193" y="1379781"/>
                </a:cubicBezTo>
                <a:close/>
                <a:moveTo>
                  <a:pt x="2204434" y="1358539"/>
                </a:moveTo>
                <a:lnTo>
                  <a:pt x="2242328" y="1358539"/>
                </a:lnTo>
                <a:cubicBezTo>
                  <a:pt x="2254284" y="1358539"/>
                  <a:pt x="2262610" y="1361101"/>
                  <a:pt x="2267413" y="1366011"/>
                </a:cubicBezTo>
                <a:cubicBezTo>
                  <a:pt x="2272217" y="1371028"/>
                  <a:pt x="2274565" y="1379461"/>
                  <a:pt x="2274565" y="1391416"/>
                </a:cubicBezTo>
                <a:lnTo>
                  <a:pt x="2274565" y="1395686"/>
                </a:lnTo>
                <a:cubicBezTo>
                  <a:pt x="2274565" y="1407108"/>
                  <a:pt x="2272217" y="1415114"/>
                  <a:pt x="2267307" y="1420024"/>
                </a:cubicBezTo>
                <a:cubicBezTo>
                  <a:pt x="2262503" y="1424827"/>
                  <a:pt x="2254177" y="1427283"/>
                  <a:pt x="2242435" y="1427283"/>
                </a:cubicBezTo>
                <a:lnTo>
                  <a:pt x="2204434" y="1427283"/>
                </a:lnTo>
                <a:close/>
                <a:moveTo>
                  <a:pt x="2177641" y="1326943"/>
                </a:moveTo>
                <a:cubicBezTo>
                  <a:pt x="2173799" y="1326943"/>
                  <a:pt x="2171130" y="1327583"/>
                  <a:pt x="2169849" y="1328758"/>
                </a:cubicBezTo>
                <a:cubicBezTo>
                  <a:pt x="2168461" y="1330039"/>
                  <a:pt x="2167821" y="1332387"/>
                  <a:pt x="2167821" y="1335803"/>
                </a:cubicBezTo>
                <a:lnTo>
                  <a:pt x="2167821" y="1534560"/>
                </a:lnTo>
                <a:cubicBezTo>
                  <a:pt x="2167821" y="1538083"/>
                  <a:pt x="2168568" y="1540431"/>
                  <a:pt x="2169849" y="1541606"/>
                </a:cubicBezTo>
                <a:cubicBezTo>
                  <a:pt x="2171237" y="1542780"/>
                  <a:pt x="2173799" y="1543420"/>
                  <a:pt x="2177641" y="1543420"/>
                </a:cubicBezTo>
                <a:lnTo>
                  <a:pt x="2194721" y="1543420"/>
                </a:lnTo>
                <a:cubicBezTo>
                  <a:pt x="2198777" y="1543420"/>
                  <a:pt x="2201445" y="1542780"/>
                  <a:pt x="2202620" y="1541606"/>
                </a:cubicBezTo>
                <a:cubicBezTo>
                  <a:pt x="2203794" y="1540325"/>
                  <a:pt x="2204434" y="1537976"/>
                  <a:pt x="2204434" y="1534560"/>
                </a:cubicBezTo>
                <a:lnTo>
                  <a:pt x="2204434" y="1458879"/>
                </a:lnTo>
                <a:lnTo>
                  <a:pt x="2237525" y="1458879"/>
                </a:lnTo>
                <a:lnTo>
                  <a:pt x="2278515" y="1534560"/>
                </a:lnTo>
                <a:cubicBezTo>
                  <a:pt x="2280543" y="1538190"/>
                  <a:pt x="2282357" y="1540645"/>
                  <a:pt x="2283959" y="1541712"/>
                </a:cubicBezTo>
                <a:cubicBezTo>
                  <a:pt x="2285560" y="1542886"/>
                  <a:pt x="2288015" y="1543420"/>
                  <a:pt x="2291217" y="1543420"/>
                </a:cubicBezTo>
                <a:lnTo>
                  <a:pt x="2314060" y="1543420"/>
                </a:lnTo>
                <a:cubicBezTo>
                  <a:pt x="2319291" y="1543420"/>
                  <a:pt x="2321960" y="1541712"/>
                  <a:pt x="2321960" y="1538510"/>
                </a:cubicBezTo>
                <a:cubicBezTo>
                  <a:pt x="2321960" y="1537549"/>
                  <a:pt x="2321639" y="1536162"/>
                  <a:pt x="2320785" y="1534560"/>
                </a:cubicBezTo>
                <a:lnTo>
                  <a:pt x="2275526" y="1454289"/>
                </a:lnTo>
                <a:cubicBezTo>
                  <a:pt x="2300077" y="1446176"/>
                  <a:pt x="2312353" y="1426749"/>
                  <a:pt x="2312353" y="1395900"/>
                </a:cubicBezTo>
                <a:lnTo>
                  <a:pt x="2312353" y="1390136"/>
                </a:lnTo>
                <a:cubicBezTo>
                  <a:pt x="2312353" y="1368253"/>
                  <a:pt x="2306695" y="1352241"/>
                  <a:pt x="2295594" y="1342101"/>
                </a:cubicBezTo>
                <a:cubicBezTo>
                  <a:pt x="2284386" y="1331960"/>
                  <a:pt x="2266773" y="1326943"/>
                  <a:pt x="2242649" y="1326943"/>
                </a:cubicBezTo>
                <a:close/>
                <a:moveTo>
                  <a:pt x="3428255" y="1322994"/>
                </a:moveTo>
                <a:cubicBezTo>
                  <a:pt x="3421958" y="1322994"/>
                  <a:pt x="3416941" y="1324595"/>
                  <a:pt x="3413205" y="1327691"/>
                </a:cubicBezTo>
                <a:cubicBezTo>
                  <a:pt x="3409362" y="1330893"/>
                  <a:pt x="3407547" y="1335376"/>
                  <a:pt x="3407547" y="1341247"/>
                </a:cubicBezTo>
                <a:lnTo>
                  <a:pt x="3407547" y="1347652"/>
                </a:lnTo>
                <a:cubicBezTo>
                  <a:pt x="3407547" y="1353309"/>
                  <a:pt x="3409468" y="1357793"/>
                  <a:pt x="3413205" y="1360995"/>
                </a:cubicBezTo>
                <a:cubicBezTo>
                  <a:pt x="3416941" y="1364304"/>
                  <a:pt x="3421958" y="1365905"/>
                  <a:pt x="3428255" y="1365905"/>
                </a:cubicBezTo>
                <a:cubicBezTo>
                  <a:pt x="3434767" y="1365905"/>
                  <a:pt x="3439891" y="1364197"/>
                  <a:pt x="3443627" y="1360995"/>
                </a:cubicBezTo>
                <a:cubicBezTo>
                  <a:pt x="3447363" y="1357793"/>
                  <a:pt x="3449284" y="1353309"/>
                  <a:pt x="3449284" y="1347652"/>
                </a:cubicBezTo>
                <a:lnTo>
                  <a:pt x="3449284" y="1341247"/>
                </a:lnTo>
                <a:cubicBezTo>
                  <a:pt x="3449284" y="1335376"/>
                  <a:pt x="3447363" y="1330786"/>
                  <a:pt x="3443627" y="1327691"/>
                </a:cubicBezTo>
                <a:cubicBezTo>
                  <a:pt x="3439891" y="1324595"/>
                  <a:pt x="3434553" y="1322994"/>
                  <a:pt x="3428255" y="1322994"/>
                </a:cubicBezTo>
                <a:close/>
                <a:moveTo>
                  <a:pt x="3184772" y="1322994"/>
                </a:moveTo>
                <a:cubicBezTo>
                  <a:pt x="3178474" y="1322994"/>
                  <a:pt x="3173457" y="1324595"/>
                  <a:pt x="3169721" y="1327691"/>
                </a:cubicBezTo>
                <a:cubicBezTo>
                  <a:pt x="3165985" y="1330893"/>
                  <a:pt x="3164064" y="1335376"/>
                  <a:pt x="3164064" y="1341247"/>
                </a:cubicBezTo>
                <a:lnTo>
                  <a:pt x="3164064" y="1347652"/>
                </a:lnTo>
                <a:cubicBezTo>
                  <a:pt x="3164064" y="1353309"/>
                  <a:pt x="3165985" y="1357793"/>
                  <a:pt x="3169721" y="1360995"/>
                </a:cubicBezTo>
                <a:cubicBezTo>
                  <a:pt x="3173457" y="1364304"/>
                  <a:pt x="3178474" y="1365905"/>
                  <a:pt x="3184772" y="1365905"/>
                </a:cubicBezTo>
                <a:cubicBezTo>
                  <a:pt x="3191284" y="1365905"/>
                  <a:pt x="3196407" y="1364197"/>
                  <a:pt x="3200143" y="1360995"/>
                </a:cubicBezTo>
                <a:cubicBezTo>
                  <a:pt x="3203880" y="1357793"/>
                  <a:pt x="3205801" y="1353309"/>
                  <a:pt x="3205801" y="1347652"/>
                </a:cubicBezTo>
                <a:lnTo>
                  <a:pt x="3205801" y="1341247"/>
                </a:lnTo>
                <a:cubicBezTo>
                  <a:pt x="3205801" y="1335376"/>
                  <a:pt x="3203880" y="1330786"/>
                  <a:pt x="3200143" y="1327691"/>
                </a:cubicBezTo>
                <a:cubicBezTo>
                  <a:pt x="3196407" y="1324595"/>
                  <a:pt x="3191070" y="1322994"/>
                  <a:pt x="3184772" y="1322994"/>
                </a:cubicBezTo>
                <a:close/>
                <a:moveTo>
                  <a:pt x="2528189" y="1322994"/>
                </a:moveTo>
                <a:cubicBezTo>
                  <a:pt x="2521891" y="1322994"/>
                  <a:pt x="2516874" y="1324595"/>
                  <a:pt x="2513138" y="1327691"/>
                </a:cubicBezTo>
                <a:cubicBezTo>
                  <a:pt x="2509296" y="1330893"/>
                  <a:pt x="2507481" y="1335376"/>
                  <a:pt x="2507481" y="1341247"/>
                </a:cubicBezTo>
                <a:lnTo>
                  <a:pt x="2507481" y="1347652"/>
                </a:lnTo>
                <a:cubicBezTo>
                  <a:pt x="2507481" y="1353309"/>
                  <a:pt x="2509402" y="1357793"/>
                  <a:pt x="2513138" y="1360995"/>
                </a:cubicBezTo>
                <a:cubicBezTo>
                  <a:pt x="2516874" y="1364304"/>
                  <a:pt x="2521891" y="1365905"/>
                  <a:pt x="2528189" y="1365905"/>
                </a:cubicBezTo>
                <a:cubicBezTo>
                  <a:pt x="2534701" y="1365905"/>
                  <a:pt x="2539824" y="1364197"/>
                  <a:pt x="2543561" y="1360995"/>
                </a:cubicBezTo>
                <a:cubicBezTo>
                  <a:pt x="2547297" y="1357793"/>
                  <a:pt x="2549218" y="1353309"/>
                  <a:pt x="2549218" y="1347652"/>
                </a:cubicBezTo>
                <a:lnTo>
                  <a:pt x="2549218" y="1341247"/>
                </a:lnTo>
                <a:cubicBezTo>
                  <a:pt x="2549218" y="1335376"/>
                  <a:pt x="2547297" y="1330786"/>
                  <a:pt x="2543561" y="1327691"/>
                </a:cubicBezTo>
                <a:cubicBezTo>
                  <a:pt x="2539824" y="1324595"/>
                  <a:pt x="2534487" y="1322994"/>
                  <a:pt x="2528189" y="1322994"/>
                </a:cubicBezTo>
                <a:close/>
                <a:moveTo>
                  <a:pt x="2156792" y="1078400"/>
                </a:moveTo>
                <a:cubicBezTo>
                  <a:pt x="2026944" y="1078400"/>
                  <a:pt x="1920587" y="1183609"/>
                  <a:pt x="1919733" y="1313422"/>
                </a:cubicBezTo>
                <a:lnTo>
                  <a:pt x="1919733" y="1649305"/>
                </a:lnTo>
                <a:lnTo>
                  <a:pt x="2051931" y="1649305"/>
                </a:lnTo>
                <a:lnTo>
                  <a:pt x="2051931" y="1313953"/>
                </a:lnTo>
                <a:cubicBezTo>
                  <a:pt x="2052251" y="1256470"/>
                  <a:pt x="2099343" y="1209699"/>
                  <a:pt x="2156792" y="1209699"/>
                </a:cubicBezTo>
                <a:lnTo>
                  <a:pt x="2479599" y="1209699"/>
                </a:lnTo>
                <a:lnTo>
                  <a:pt x="2479599" y="1078400"/>
                </a:lnTo>
                <a:close/>
                <a:moveTo>
                  <a:pt x="1567930" y="809980"/>
                </a:moveTo>
                <a:cubicBezTo>
                  <a:pt x="1578108" y="809980"/>
                  <a:pt x="1585501" y="813009"/>
                  <a:pt x="1590215" y="819067"/>
                </a:cubicBezTo>
                <a:cubicBezTo>
                  <a:pt x="1594822" y="825124"/>
                  <a:pt x="1597179" y="834535"/>
                  <a:pt x="1597179" y="847515"/>
                </a:cubicBezTo>
                <a:lnTo>
                  <a:pt x="1535895" y="847515"/>
                </a:lnTo>
                <a:cubicBezTo>
                  <a:pt x="1536217" y="834210"/>
                  <a:pt x="1538895" y="824583"/>
                  <a:pt x="1543931" y="818742"/>
                </a:cubicBezTo>
                <a:cubicBezTo>
                  <a:pt x="1548966" y="812901"/>
                  <a:pt x="1556895" y="809980"/>
                  <a:pt x="1567930" y="809980"/>
                </a:cubicBezTo>
                <a:close/>
                <a:moveTo>
                  <a:pt x="1439363" y="784669"/>
                </a:moveTo>
                <a:cubicBezTo>
                  <a:pt x="1435506" y="784669"/>
                  <a:pt x="1432934" y="785210"/>
                  <a:pt x="1431542" y="786400"/>
                </a:cubicBezTo>
                <a:cubicBezTo>
                  <a:pt x="1430149" y="787590"/>
                  <a:pt x="1429506" y="789970"/>
                  <a:pt x="1429506" y="793647"/>
                </a:cubicBezTo>
                <a:lnTo>
                  <a:pt x="1429506" y="937189"/>
                </a:lnTo>
                <a:cubicBezTo>
                  <a:pt x="1429506" y="940866"/>
                  <a:pt x="1430149" y="943246"/>
                  <a:pt x="1431542" y="944436"/>
                </a:cubicBezTo>
                <a:cubicBezTo>
                  <a:pt x="1432934" y="945626"/>
                  <a:pt x="1435506" y="946167"/>
                  <a:pt x="1439363" y="946167"/>
                </a:cubicBezTo>
                <a:lnTo>
                  <a:pt x="1456184" y="946167"/>
                </a:lnTo>
                <a:cubicBezTo>
                  <a:pt x="1460041" y="946167"/>
                  <a:pt x="1462612" y="945518"/>
                  <a:pt x="1464005" y="944436"/>
                </a:cubicBezTo>
                <a:cubicBezTo>
                  <a:pt x="1465398" y="943354"/>
                  <a:pt x="1466041" y="940866"/>
                  <a:pt x="1466041" y="937189"/>
                </a:cubicBezTo>
                <a:lnTo>
                  <a:pt x="1466041" y="793647"/>
                </a:lnTo>
                <a:cubicBezTo>
                  <a:pt x="1466041" y="789970"/>
                  <a:pt x="1465398" y="787590"/>
                  <a:pt x="1464005" y="786400"/>
                </a:cubicBezTo>
                <a:cubicBezTo>
                  <a:pt x="1462612" y="785210"/>
                  <a:pt x="1460041" y="784669"/>
                  <a:pt x="1456184" y="784669"/>
                </a:cubicBezTo>
                <a:close/>
                <a:moveTo>
                  <a:pt x="1252941" y="784669"/>
                </a:moveTo>
                <a:cubicBezTo>
                  <a:pt x="1249084" y="784669"/>
                  <a:pt x="1246405" y="785210"/>
                  <a:pt x="1245120" y="786400"/>
                </a:cubicBezTo>
                <a:cubicBezTo>
                  <a:pt x="1243834" y="787590"/>
                  <a:pt x="1243191" y="789970"/>
                  <a:pt x="1243191" y="793647"/>
                </a:cubicBezTo>
                <a:lnTo>
                  <a:pt x="1243191" y="937189"/>
                </a:lnTo>
                <a:cubicBezTo>
                  <a:pt x="1243191" y="940866"/>
                  <a:pt x="1243727" y="943246"/>
                  <a:pt x="1245120" y="944436"/>
                </a:cubicBezTo>
                <a:cubicBezTo>
                  <a:pt x="1246512" y="945626"/>
                  <a:pt x="1249084" y="946167"/>
                  <a:pt x="1252941" y="946167"/>
                </a:cubicBezTo>
                <a:lnTo>
                  <a:pt x="1269762" y="946167"/>
                </a:lnTo>
                <a:cubicBezTo>
                  <a:pt x="1273619" y="946167"/>
                  <a:pt x="1276297" y="945518"/>
                  <a:pt x="1277583" y="944436"/>
                </a:cubicBezTo>
                <a:cubicBezTo>
                  <a:pt x="1278976" y="943354"/>
                  <a:pt x="1279619" y="940866"/>
                  <a:pt x="1279619" y="937189"/>
                </a:cubicBezTo>
                <a:lnTo>
                  <a:pt x="1279619" y="793647"/>
                </a:lnTo>
                <a:cubicBezTo>
                  <a:pt x="1279619" y="789970"/>
                  <a:pt x="1278869" y="787482"/>
                  <a:pt x="1277583" y="786400"/>
                </a:cubicBezTo>
                <a:cubicBezTo>
                  <a:pt x="1276190" y="785210"/>
                  <a:pt x="1273619" y="784669"/>
                  <a:pt x="1269762" y="784669"/>
                </a:cubicBezTo>
                <a:close/>
                <a:moveTo>
                  <a:pt x="1567609" y="780450"/>
                </a:moveTo>
                <a:cubicBezTo>
                  <a:pt x="1545859" y="780450"/>
                  <a:pt x="1529038" y="786940"/>
                  <a:pt x="1517253" y="800029"/>
                </a:cubicBezTo>
                <a:cubicBezTo>
                  <a:pt x="1505468" y="813009"/>
                  <a:pt x="1499575" y="831506"/>
                  <a:pt x="1499575" y="855304"/>
                </a:cubicBezTo>
                <a:lnTo>
                  <a:pt x="1499575" y="879317"/>
                </a:lnTo>
                <a:cubicBezTo>
                  <a:pt x="1499575" y="902141"/>
                  <a:pt x="1505468" y="919665"/>
                  <a:pt x="1517253" y="931996"/>
                </a:cubicBezTo>
                <a:cubicBezTo>
                  <a:pt x="1529038" y="944327"/>
                  <a:pt x="1545752" y="950493"/>
                  <a:pt x="1567287" y="950493"/>
                </a:cubicBezTo>
                <a:cubicBezTo>
                  <a:pt x="1578108" y="950493"/>
                  <a:pt x="1587965" y="948870"/>
                  <a:pt x="1597072" y="945733"/>
                </a:cubicBezTo>
                <a:cubicBezTo>
                  <a:pt x="1606072" y="942488"/>
                  <a:pt x="1613464" y="937945"/>
                  <a:pt x="1619143" y="931996"/>
                </a:cubicBezTo>
                <a:cubicBezTo>
                  <a:pt x="1622571" y="928534"/>
                  <a:pt x="1625571" y="924208"/>
                  <a:pt x="1628142" y="918907"/>
                </a:cubicBezTo>
                <a:cubicBezTo>
                  <a:pt x="1630714" y="913607"/>
                  <a:pt x="1631999" y="909064"/>
                  <a:pt x="1631999" y="905170"/>
                </a:cubicBezTo>
                <a:cubicBezTo>
                  <a:pt x="1631999" y="902574"/>
                  <a:pt x="1631249" y="900627"/>
                  <a:pt x="1629857" y="899653"/>
                </a:cubicBezTo>
                <a:cubicBezTo>
                  <a:pt x="1628464" y="898680"/>
                  <a:pt x="1626000" y="898139"/>
                  <a:pt x="1622571" y="898139"/>
                </a:cubicBezTo>
                <a:lnTo>
                  <a:pt x="1603608" y="898139"/>
                </a:lnTo>
                <a:cubicBezTo>
                  <a:pt x="1599322" y="898139"/>
                  <a:pt x="1596536" y="899869"/>
                  <a:pt x="1595358" y="903331"/>
                </a:cubicBezTo>
                <a:cubicBezTo>
                  <a:pt x="1592144" y="914040"/>
                  <a:pt x="1583144" y="919340"/>
                  <a:pt x="1568251" y="919340"/>
                </a:cubicBezTo>
                <a:cubicBezTo>
                  <a:pt x="1556680" y="919340"/>
                  <a:pt x="1548324" y="916095"/>
                  <a:pt x="1543395" y="909605"/>
                </a:cubicBezTo>
                <a:cubicBezTo>
                  <a:pt x="1538360" y="903115"/>
                  <a:pt x="1535895" y="892189"/>
                  <a:pt x="1535895" y="876829"/>
                </a:cubicBezTo>
                <a:lnTo>
                  <a:pt x="1535895" y="875315"/>
                </a:lnTo>
                <a:lnTo>
                  <a:pt x="1624393" y="875315"/>
                </a:lnTo>
                <a:lnTo>
                  <a:pt x="1624393" y="875423"/>
                </a:lnTo>
                <a:cubicBezTo>
                  <a:pt x="1628464" y="875423"/>
                  <a:pt x="1631142" y="874774"/>
                  <a:pt x="1632321" y="873584"/>
                </a:cubicBezTo>
                <a:cubicBezTo>
                  <a:pt x="1633499" y="872286"/>
                  <a:pt x="1634142" y="869906"/>
                  <a:pt x="1634142" y="866445"/>
                </a:cubicBezTo>
                <a:lnTo>
                  <a:pt x="1634142" y="851950"/>
                </a:lnTo>
                <a:cubicBezTo>
                  <a:pt x="1634142" y="828477"/>
                  <a:pt x="1628464" y="810738"/>
                  <a:pt x="1617214" y="798623"/>
                </a:cubicBezTo>
                <a:cubicBezTo>
                  <a:pt x="1605857" y="786508"/>
                  <a:pt x="1589358" y="780450"/>
                  <a:pt x="1567609" y="780450"/>
                </a:cubicBezTo>
                <a:close/>
                <a:moveTo>
                  <a:pt x="1720711" y="780342"/>
                </a:moveTo>
                <a:cubicBezTo>
                  <a:pt x="1701640" y="780342"/>
                  <a:pt x="1686748" y="784561"/>
                  <a:pt x="1676034" y="792998"/>
                </a:cubicBezTo>
                <a:cubicBezTo>
                  <a:pt x="1665320" y="801327"/>
                  <a:pt x="1659963" y="813226"/>
                  <a:pt x="1659963" y="828369"/>
                </a:cubicBezTo>
                <a:lnTo>
                  <a:pt x="1659963" y="832696"/>
                </a:lnTo>
                <a:cubicBezTo>
                  <a:pt x="1659963" y="854006"/>
                  <a:pt x="1673141" y="868176"/>
                  <a:pt x="1699605" y="875207"/>
                </a:cubicBezTo>
                <a:lnTo>
                  <a:pt x="1719747" y="880399"/>
                </a:lnTo>
                <a:cubicBezTo>
                  <a:pt x="1727461" y="882346"/>
                  <a:pt x="1733354" y="884401"/>
                  <a:pt x="1737425" y="886348"/>
                </a:cubicBezTo>
                <a:cubicBezTo>
                  <a:pt x="1741496" y="888295"/>
                  <a:pt x="1744282" y="890567"/>
                  <a:pt x="1745782" y="893271"/>
                </a:cubicBezTo>
                <a:cubicBezTo>
                  <a:pt x="1747282" y="895975"/>
                  <a:pt x="1748032" y="899437"/>
                  <a:pt x="1748032" y="903764"/>
                </a:cubicBezTo>
                <a:cubicBezTo>
                  <a:pt x="1748032" y="910146"/>
                  <a:pt x="1745996" y="914689"/>
                  <a:pt x="1741925" y="917609"/>
                </a:cubicBezTo>
                <a:cubicBezTo>
                  <a:pt x="1737854" y="920530"/>
                  <a:pt x="1730997" y="921936"/>
                  <a:pt x="1721461" y="921936"/>
                </a:cubicBezTo>
                <a:cubicBezTo>
                  <a:pt x="1712461" y="921936"/>
                  <a:pt x="1705819" y="920638"/>
                  <a:pt x="1701319" y="917826"/>
                </a:cubicBezTo>
                <a:cubicBezTo>
                  <a:pt x="1696819" y="915013"/>
                  <a:pt x="1694033" y="910578"/>
                  <a:pt x="1693069" y="904413"/>
                </a:cubicBezTo>
                <a:cubicBezTo>
                  <a:pt x="1692426" y="900519"/>
                  <a:pt x="1689748" y="898572"/>
                  <a:pt x="1684819" y="898572"/>
                </a:cubicBezTo>
                <a:lnTo>
                  <a:pt x="1665856" y="898572"/>
                </a:lnTo>
                <a:cubicBezTo>
                  <a:pt x="1660392" y="898572"/>
                  <a:pt x="1657606" y="900843"/>
                  <a:pt x="1657606" y="905386"/>
                </a:cubicBezTo>
                <a:cubicBezTo>
                  <a:pt x="1657606" y="916960"/>
                  <a:pt x="1661570" y="926588"/>
                  <a:pt x="1669498" y="934376"/>
                </a:cubicBezTo>
                <a:cubicBezTo>
                  <a:pt x="1680748" y="945085"/>
                  <a:pt x="1698319" y="950385"/>
                  <a:pt x="1722318" y="950385"/>
                </a:cubicBezTo>
                <a:lnTo>
                  <a:pt x="1722425" y="950169"/>
                </a:lnTo>
                <a:cubicBezTo>
                  <a:pt x="1741711" y="950169"/>
                  <a:pt x="1756710" y="946058"/>
                  <a:pt x="1767531" y="937729"/>
                </a:cubicBezTo>
                <a:cubicBezTo>
                  <a:pt x="1778352" y="929400"/>
                  <a:pt x="1783709" y="917826"/>
                  <a:pt x="1783709" y="902790"/>
                </a:cubicBezTo>
                <a:lnTo>
                  <a:pt x="1783709" y="896625"/>
                </a:lnTo>
                <a:cubicBezTo>
                  <a:pt x="1783709" y="874233"/>
                  <a:pt x="1771067" y="859739"/>
                  <a:pt x="1745889" y="852924"/>
                </a:cubicBezTo>
                <a:lnTo>
                  <a:pt x="1719961" y="846109"/>
                </a:lnTo>
                <a:cubicBezTo>
                  <a:pt x="1710212" y="843405"/>
                  <a:pt x="1703462" y="840701"/>
                  <a:pt x="1699819" y="837780"/>
                </a:cubicBezTo>
                <a:cubicBezTo>
                  <a:pt x="1696176" y="834860"/>
                  <a:pt x="1694355" y="830857"/>
                  <a:pt x="1694355" y="825773"/>
                </a:cubicBezTo>
                <a:cubicBezTo>
                  <a:pt x="1694355" y="820040"/>
                  <a:pt x="1696498" y="815714"/>
                  <a:pt x="1700783" y="812577"/>
                </a:cubicBezTo>
                <a:cubicBezTo>
                  <a:pt x="1705069" y="809440"/>
                  <a:pt x="1710962" y="807925"/>
                  <a:pt x="1718461" y="807925"/>
                </a:cubicBezTo>
                <a:cubicBezTo>
                  <a:pt x="1736246" y="807925"/>
                  <a:pt x="1745889" y="813442"/>
                  <a:pt x="1747496" y="824583"/>
                </a:cubicBezTo>
                <a:cubicBezTo>
                  <a:pt x="1747925" y="827071"/>
                  <a:pt x="1748782" y="828694"/>
                  <a:pt x="1749960" y="829559"/>
                </a:cubicBezTo>
                <a:cubicBezTo>
                  <a:pt x="1751139" y="830316"/>
                  <a:pt x="1753496" y="830749"/>
                  <a:pt x="1756924" y="830749"/>
                </a:cubicBezTo>
                <a:lnTo>
                  <a:pt x="1772781" y="830749"/>
                </a:lnTo>
                <a:cubicBezTo>
                  <a:pt x="1776638" y="830749"/>
                  <a:pt x="1779317" y="830208"/>
                  <a:pt x="1780602" y="829235"/>
                </a:cubicBezTo>
                <a:cubicBezTo>
                  <a:pt x="1781995" y="828261"/>
                  <a:pt x="1782638" y="826314"/>
                  <a:pt x="1782638" y="823394"/>
                </a:cubicBezTo>
                <a:cubicBezTo>
                  <a:pt x="1782638" y="812360"/>
                  <a:pt x="1778888" y="803058"/>
                  <a:pt x="1771388" y="795702"/>
                </a:cubicBezTo>
                <a:cubicBezTo>
                  <a:pt x="1760567" y="785426"/>
                  <a:pt x="1743746" y="780342"/>
                  <a:pt x="1720711" y="780342"/>
                </a:cubicBezTo>
                <a:close/>
                <a:moveTo>
                  <a:pt x="1338116" y="739346"/>
                </a:moveTo>
                <a:cubicBezTo>
                  <a:pt x="1334259" y="739346"/>
                  <a:pt x="1331580" y="739995"/>
                  <a:pt x="1330295" y="741077"/>
                </a:cubicBezTo>
                <a:cubicBezTo>
                  <a:pt x="1328902" y="742158"/>
                  <a:pt x="1328259" y="744646"/>
                  <a:pt x="1328259" y="748324"/>
                </a:cubicBezTo>
                <a:lnTo>
                  <a:pt x="1328259" y="784669"/>
                </a:lnTo>
                <a:lnTo>
                  <a:pt x="1312081" y="784669"/>
                </a:lnTo>
                <a:cubicBezTo>
                  <a:pt x="1308974" y="784669"/>
                  <a:pt x="1306938" y="785318"/>
                  <a:pt x="1305974" y="786400"/>
                </a:cubicBezTo>
                <a:cubicBezTo>
                  <a:pt x="1305010" y="787482"/>
                  <a:pt x="1304474" y="789861"/>
                  <a:pt x="1304474" y="793323"/>
                </a:cubicBezTo>
                <a:lnTo>
                  <a:pt x="1304474" y="806303"/>
                </a:lnTo>
                <a:cubicBezTo>
                  <a:pt x="1304474" y="809765"/>
                  <a:pt x="1304903" y="812144"/>
                  <a:pt x="1305974" y="813226"/>
                </a:cubicBezTo>
                <a:cubicBezTo>
                  <a:pt x="1307045" y="814416"/>
                  <a:pt x="1309081" y="814957"/>
                  <a:pt x="1312081" y="814957"/>
                </a:cubicBezTo>
                <a:lnTo>
                  <a:pt x="1328259" y="814957"/>
                </a:lnTo>
                <a:lnTo>
                  <a:pt x="1328259" y="897815"/>
                </a:lnTo>
                <a:cubicBezTo>
                  <a:pt x="1328259" y="912634"/>
                  <a:pt x="1331580" y="924316"/>
                  <a:pt x="1338330" y="933078"/>
                </a:cubicBezTo>
                <a:cubicBezTo>
                  <a:pt x="1345080" y="941840"/>
                  <a:pt x="1357401" y="946167"/>
                  <a:pt x="1375293" y="946167"/>
                </a:cubicBezTo>
                <a:lnTo>
                  <a:pt x="1392436" y="946167"/>
                </a:lnTo>
                <a:lnTo>
                  <a:pt x="1392650" y="946275"/>
                </a:lnTo>
                <a:cubicBezTo>
                  <a:pt x="1395864" y="946275"/>
                  <a:pt x="1398007" y="945626"/>
                  <a:pt x="1398864" y="944544"/>
                </a:cubicBezTo>
                <a:cubicBezTo>
                  <a:pt x="1399828" y="943462"/>
                  <a:pt x="1400257" y="941083"/>
                  <a:pt x="1400257" y="937621"/>
                </a:cubicBezTo>
                <a:lnTo>
                  <a:pt x="1400257" y="923126"/>
                </a:lnTo>
                <a:cubicBezTo>
                  <a:pt x="1400257" y="919665"/>
                  <a:pt x="1399828" y="917393"/>
                  <a:pt x="1398757" y="916204"/>
                </a:cubicBezTo>
                <a:cubicBezTo>
                  <a:pt x="1397685" y="915014"/>
                  <a:pt x="1395650" y="914473"/>
                  <a:pt x="1392650" y="914473"/>
                </a:cubicBezTo>
                <a:lnTo>
                  <a:pt x="1381614" y="914473"/>
                </a:lnTo>
                <a:cubicBezTo>
                  <a:pt x="1375508" y="914473"/>
                  <a:pt x="1371222" y="912634"/>
                  <a:pt x="1368651" y="909064"/>
                </a:cubicBezTo>
                <a:cubicBezTo>
                  <a:pt x="1366079" y="905495"/>
                  <a:pt x="1364794" y="899870"/>
                  <a:pt x="1364794" y="892298"/>
                </a:cubicBezTo>
                <a:lnTo>
                  <a:pt x="1364794" y="814957"/>
                </a:lnTo>
                <a:lnTo>
                  <a:pt x="1392543" y="814957"/>
                </a:lnTo>
                <a:cubicBezTo>
                  <a:pt x="1395650" y="814957"/>
                  <a:pt x="1397685" y="814308"/>
                  <a:pt x="1398650" y="813226"/>
                </a:cubicBezTo>
                <a:cubicBezTo>
                  <a:pt x="1399614" y="812144"/>
                  <a:pt x="1400150" y="809765"/>
                  <a:pt x="1400150" y="806303"/>
                </a:cubicBezTo>
                <a:lnTo>
                  <a:pt x="1400150" y="793323"/>
                </a:lnTo>
                <a:cubicBezTo>
                  <a:pt x="1400150" y="789861"/>
                  <a:pt x="1399721" y="787590"/>
                  <a:pt x="1398650" y="786400"/>
                </a:cubicBezTo>
                <a:cubicBezTo>
                  <a:pt x="1397578" y="785210"/>
                  <a:pt x="1395543" y="784669"/>
                  <a:pt x="1392543" y="784669"/>
                </a:cubicBezTo>
                <a:lnTo>
                  <a:pt x="1364794" y="784669"/>
                </a:lnTo>
                <a:lnTo>
                  <a:pt x="1364794" y="748324"/>
                </a:lnTo>
                <a:cubicBezTo>
                  <a:pt x="1364794" y="744646"/>
                  <a:pt x="1364044" y="742158"/>
                  <a:pt x="1362758" y="741077"/>
                </a:cubicBezTo>
                <a:cubicBezTo>
                  <a:pt x="1361365" y="739887"/>
                  <a:pt x="1358794" y="739346"/>
                  <a:pt x="1354937" y="739346"/>
                </a:cubicBezTo>
                <a:close/>
                <a:moveTo>
                  <a:pt x="1448041" y="722688"/>
                </a:moveTo>
                <a:cubicBezTo>
                  <a:pt x="1441720" y="722688"/>
                  <a:pt x="1436684" y="724311"/>
                  <a:pt x="1432934" y="727447"/>
                </a:cubicBezTo>
                <a:cubicBezTo>
                  <a:pt x="1429077" y="730693"/>
                  <a:pt x="1427256" y="735236"/>
                  <a:pt x="1427256" y="741185"/>
                </a:cubicBezTo>
                <a:lnTo>
                  <a:pt x="1427256" y="747675"/>
                </a:lnTo>
                <a:cubicBezTo>
                  <a:pt x="1427256" y="753408"/>
                  <a:pt x="1429185" y="757951"/>
                  <a:pt x="1432934" y="761196"/>
                </a:cubicBezTo>
                <a:cubicBezTo>
                  <a:pt x="1436684" y="764550"/>
                  <a:pt x="1441720" y="766172"/>
                  <a:pt x="1448041" y="766172"/>
                </a:cubicBezTo>
                <a:cubicBezTo>
                  <a:pt x="1454577" y="766172"/>
                  <a:pt x="1459719" y="764442"/>
                  <a:pt x="1463469" y="761196"/>
                </a:cubicBezTo>
                <a:cubicBezTo>
                  <a:pt x="1467219" y="757951"/>
                  <a:pt x="1469148" y="753408"/>
                  <a:pt x="1469148" y="747675"/>
                </a:cubicBezTo>
                <a:lnTo>
                  <a:pt x="1469148" y="741185"/>
                </a:lnTo>
                <a:cubicBezTo>
                  <a:pt x="1469148" y="735236"/>
                  <a:pt x="1467219" y="730584"/>
                  <a:pt x="1463469" y="727447"/>
                </a:cubicBezTo>
                <a:cubicBezTo>
                  <a:pt x="1459719" y="724311"/>
                  <a:pt x="1454362" y="722688"/>
                  <a:pt x="1448041" y="722688"/>
                </a:cubicBezTo>
                <a:close/>
                <a:moveTo>
                  <a:pt x="1261619" y="722688"/>
                </a:moveTo>
                <a:cubicBezTo>
                  <a:pt x="1255298" y="722688"/>
                  <a:pt x="1250262" y="724311"/>
                  <a:pt x="1246512" y="727447"/>
                </a:cubicBezTo>
                <a:cubicBezTo>
                  <a:pt x="1242763" y="730693"/>
                  <a:pt x="1240834" y="735236"/>
                  <a:pt x="1240834" y="741185"/>
                </a:cubicBezTo>
                <a:lnTo>
                  <a:pt x="1240834" y="747675"/>
                </a:lnTo>
                <a:cubicBezTo>
                  <a:pt x="1240834" y="753408"/>
                  <a:pt x="1242763" y="757951"/>
                  <a:pt x="1246512" y="761196"/>
                </a:cubicBezTo>
                <a:cubicBezTo>
                  <a:pt x="1250262" y="764550"/>
                  <a:pt x="1255298" y="766172"/>
                  <a:pt x="1261619" y="766172"/>
                </a:cubicBezTo>
                <a:cubicBezTo>
                  <a:pt x="1268155" y="766172"/>
                  <a:pt x="1273297" y="764442"/>
                  <a:pt x="1277047" y="761196"/>
                </a:cubicBezTo>
                <a:cubicBezTo>
                  <a:pt x="1280797" y="757951"/>
                  <a:pt x="1282726" y="753408"/>
                  <a:pt x="1282726" y="747675"/>
                </a:cubicBezTo>
                <a:lnTo>
                  <a:pt x="1282726" y="741185"/>
                </a:lnTo>
                <a:cubicBezTo>
                  <a:pt x="1282726" y="735236"/>
                  <a:pt x="1280797" y="730584"/>
                  <a:pt x="1277047" y="727447"/>
                </a:cubicBezTo>
                <a:cubicBezTo>
                  <a:pt x="1273297" y="724311"/>
                  <a:pt x="1267940" y="722688"/>
                  <a:pt x="1261619" y="722688"/>
                </a:cubicBezTo>
                <a:close/>
                <a:moveTo>
                  <a:pt x="1138837" y="721930"/>
                </a:moveTo>
                <a:cubicBezTo>
                  <a:pt x="1120516" y="721930"/>
                  <a:pt x="1104981" y="725824"/>
                  <a:pt x="1092445" y="733504"/>
                </a:cubicBezTo>
                <a:cubicBezTo>
                  <a:pt x="1079910" y="741184"/>
                  <a:pt x="1070803" y="752326"/>
                  <a:pt x="1065339" y="766929"/>
                </a:cubicBezTo>
                <a:cubicBezTo>
                  <a:pt x="1062875" y="773311"/>
                  <a:pt x="1061054" y="780342"/>
                  <a:pt x="1059982" y="787914"/>
                </a:cubicBezTo>
                <a:cubicBezTo>
                  <a:pt x="1058804" y="795485"/>
                  <a:pt x="1058268" y="804680"/>
                  <a:pt x="1058268" y="815605"/>
                </a:cubicBezTo>
                <a:lnTo>
                  <a:pt x="1058268" y="860604"/>
                </a:lnTo>
                <a:cubicBezTo>
                  <a:pt x="1058268" y="872502"/>
                  <a:pt x="1058697" y="882129"/>
                  <a:pt x="1059768" y="889377"/>
                </a:cubicBezTo>
                <a:cubicBezTo>
                  <a:pt x="1060732" y="896732"/>
                  <a:pt x="1062554" y="903331"/>
                  <a:pt x="1065232" y="909280"/>
                </a:cubicBezTo>
                <a:cubicBezTo>
                  <a:pt x="1077553" y="937188"/>
                  <a:pt x="1100802" y="951142"/>
                  <a:pt x="1134766" y="951142"/>
                </a:cubicBezTo>
                <a:cubicBezTo>
                  <a:pt x="1162086" y="951142"/>
                  <a:pt x="1182443" y="944111"/>
                  <a:pt x="1195835" y="930157"/>
                </a:cubicBezTo>
                <a:cubicBezTo>
                  <a:pt x="1201835" y="923775"/>
                  <a:pt x="1206228" y="916852"/>
                  <a:pt x="1208906" y="909496"/>
                </a:cubicBezTo>
                <a:cubicBezTo>
                  <a:pt x="1211585" y="902033"/>
                  <a:pt x="1212870" y="892946"/>
                  <a:pt x="1212870" y="882021"/>
                </a:cubicBezTo>
                <a:cubicBezTo>
                  <a:pt x="1212870" y="878776"/>
                  <a:pt x="1212120" y="876505"/>
                  <a:pt x="1210835" y="875423"/>
                </a:cubicBezTo>
                <a:cubicBezTo>
                  <a:pt x="1209442" y="874233"/>
                  <a:pt x="1206871" y="873692"/>
                  <a:pt x="1203013" y="873692"/>
                </a:cubicBezTo>
                <a:lnTo>
                  <a:pt x="1184693" y="873692"/>
                </a:lnTo>
                <a:cubicBezTo>
                  <a:pt x="1181050" y="873692"/>
                  <a:pt x="1178479" y="874233"/>
                  <a:pt x="1177193" y="875207"/>
                </a:cubicBezTo>
                <a:cubicBezTo>
                  <a:pt x="1175907" y="876288"/>
                  <a:pt x="1175157" y="878344"/>
                  <a:pt x="1174943" y="881372"/>
                </a:cubicBezTo>
                <a:lnTo>
                  <a:pt x="1175157" y="881480"/>
                </a:lnTo>
                <a:cubicBezTo>
                  <a:pt x="1174729" y="893920"/>
                  <a:pt x="1171407" y="903114"/>
                  <a:pt x="1165193" y="909172"/>
                </a:cubicBezTo>
                <a:cubicBezTo>
                  <a:pt x="1158979" y="915229"/>
                  <a:pt x="1149551" y="918150"/>
                  <a:pt x="1136694" y="918150"/>
                </a:cubicBezTo>
                <a:cubicBezTo>
                  <a:pt x="1122445" y="918150"/>
                  <a:pt x="1112159" y="913823"/>
                  <a:pt x="1105838" y="905061"/>
                </a:cubicBezTo>
                <a:cubicBezTo>
                  <a:pt x="1099517" y="896408"/>
                  <a:pt x="1096410" y="882129"/>
                  <a:pt x="1096410" y="862443"/>
                </a:cubicBezTo>
                <a:lnTo>
                  <a:pt x="1096410" y="810737"/>
                </a:lnTo>
                <a:cubicBezTo>
                  <a:pt x="1096410" y="790401"/>
                  <a:pt x="1099410" y="776015"/>
                  <a:pt x="1105517" y="767469"/>
                </a:cubicBezTo>
                <a:cubicBezTo>
                  <a:pt x="1111623" y="758924"/>
                  <a:pt x="1122016" y="754705"/>
                  <a:pt x="1136908" y="754705"/>
                </a:cubicBezTo>
                <a:cubicBezTo>
                  <a:pt x="1150087" y="754705"/>
                  <a:pt x="1159622" y="757518"/>
                  <a:pt x="1165408" y="763143"/>
                </a:cubicBezTo>
                <a:cubicBezTo>
                  <a:pt x="1171193" y="768768"/>
                  <a:pt x="1174193" y="777962"/>
                  <a:pt x="1174407" y="790726"/>
                </a:cubicBezTo>
                <a:cubicBezTo>
                  <a:pt x="1174621" y="793755"/>
                  <a:pt x="1175371" y="795918"/>
                  <a:pt x="1176657" y="796892"/>
                </a:cubicBezTo>
                <a:cubicBezTo>
                  <a:pt x="1178050" y="797865"/>
                  <a:pt x="1180514" y="798406"/>
                  <a:pt x="1184157" y="798406"/>
                </a:cubicBezTo>
                <a:lnTo>
                  <a:pt x="1203121" y="798406"/>
                </a:lnTo>
                <a:cubicBezTo>
                  <a:pt x="1206978" y="798406"/>
                  <a:pt x="1209656" y="797757"/>
                  <a:pt x="1210942" y="796675"/>
                </a:cubicBezTo>
                <a:cubicBezTo>
                  <a:pt x="1212335" y="795594"/>
                  <a:pt x="1212977" y="793322"/>
                  <a:pt x="1212977" y="790077"/>
                </a:cubicBezTo>
                <a:cubicBezTo>
                  <a:pt x="1212977" y="779585"/>
                  <a:pt x="1211799" y="770715"/>
                  <a:pt x="1209335" y="763251"/>
                </a:cubicBezTo>
                <a:cubicBezTo>
                  <a:pt x="1206871" y="755787"/>
                  <a:pt x="1202692" y="748972"/>
                  <a:pt x="1196799" y="742590"/>
                </a:cubicBezTo>
                <a:cubicBezTo>
                  <a:pt x="1184157" y="728853"/>
                  <a:pt x="1164872" y="721930"/>
                  <a:pt x="1138837" y="721930"/>
                </a:cubicBezTo>
                <a:close/>
                <a:moveTo>
                  <a:pt x="1880864" y="607613"/>
                </a:moveTo>
                <a:lnTo>
                  <a:pt x="1880864" y="942965"/>
                </a:lnTo>
                <a:cubicBezTo>
                  <a:pt x="1880544" y="1000448"/>
                  <a:pt x="1833452" y="1047219"/>
                  <a:pt x="1776003" y="1047219"/>
                </a:cubicBezTo>
                <a:lnTo>
                  <a:pt x="1453196" y="1047219"/>
                </a:lnTo>
                <a:lnTo>
                  <a:pt x="1453196" y="1178518"/>
                </a:lnTo>
                <a:lnTo>
                  <a:pt x="1776003" y="1178518"/>
                </a:lnTo>
                <a:cubicBezTo>
                  <a:pt x="1905851" y="1178518"/>
                  <a:pt x="2012208" y="1073309"/>
                  <a:pt x="2013062" y="943496"/>
                </a:cubicBezTo>
                <a:lnTo>
                  <a:pt x="2013062" y="607613"/>
                </a:lnTo>
                <a:close/>
                <a:moveTo>
                  <a:pt x="1437327" y="514244"/>
                </a:moveTo>
                <a:cubicBezTo>
                  <a:pt x="1447505" y="514244"/>
                  <a:pt x="1454898" y="517273"/>
                  <a:pt x="1459612" y="523331"/>
                </a:cubicBezTo>
                <a:cubicBezTo>
                  <a:pt x="1464219" y="529388"/>
                  <a:pt x="1466576" y="538799"/>
                  <a:pt x="1466576" y="551779"/>
                </a:cubicBezTo>
                <a:lnTo>
                  <a:pt x="1405292" y="551779"/>
                </a:lnTo>
                <a:cubicBezTo>
                  <a:pt x="1405614" y="538474"/>
                  <a:pt x="1408292" y="528847"/>
                  <a:pt x="1413328" y="523006"/>
                </a:cubicBezTo>
                <a:cubicBezTo>
                  <a:pt x="1418363" y="517165"/>
                  <a:pt x="1426292" y="514244"/>
                  <a:pt x="1437327" y="514244"/>
                </a:cubicBezTo>
                <a:close/>
                <a:moveTo>
                  <a:pt x="899701" y="514244"/>
                </a:moveTo>
                <a:cubicBezTo>
                  <a:pt x="909880" y="514244"/>
                  <a:pt x="917272" y="517273"/>
                  <a:pt x="921986" y="523331"/>
                </a:cubicBezTo>
                <a:cubicBezTo>
                  <a:pt x="926594" y="529388"/>
                  <a:pt x="928950" y="538799"/>
                  <a:pt x="928950" y="551779"/>
                </a:cubicBezTo>
                <a:lnTo>
                  <a:pt x="867666" y="551779"/>
                </a:lnTo>
                <a:cubicBezTo>
                  <a:pt x="867988" y="538474"/>
                  <a:pt x="870667" y="528847"/>
                  <a:pt x="875703" y="523006"/>
                </a:cubicBezTo>
                <a:cubicBezTo>
                  <a:pt x="880737" y="517165"/>
                  <a:pt x="888666" y="514244"/>
                  <a:pt x="899701" y="514244"/>
                </a:cubicBezTo>
                <a:close/>
                <a:moveTo>
                  <a:pt x="1308760" y="488933"/>
                </a:moveTo>
                <a:cubicBezTo>
                  <a:pt x="1304903" y="488933"/>
                  <a:pt x="1302224" y="489582"/>
                  <a:pt x="1300939" y="490664"/>
                </a:cubicBezTo>
                <a:cubicBezTo>
                  <a:pt x="1299546" y="491854"/>
                  <a:pt x="1298903" y="494233"/>
                  <a:pt x="1298903" y="497911"/>
                </a:cubicBezTo>
                <a:lnTo>
                  <a:pt x="1298903" y="641453"/>
                </a:lnTo>
                <a:cubicBezTo>
                  <a:pt x="1298903" y="645130"/>
                  <a:pt x="1299653" y="647618"/>
                  <a:pt x="1300939" y="648700"/>
                </a:cubicBezTo>
                <a:cubicBezTo>
                  <a:pt x="1302331" y="649890"/>
                  <a:pt x="1304903" y="650431"/>
                  <a:pt x="1308760" y="650431"/>
                </a:cubicBezTo>
                <a:lnTo>
                  <a:pt x="1325581" y="650431"/>
                </a:lnTo>
                <a:cubicBezTo>
                  <a:pt x="1329438" y="650431"/>
                  <a:pt x="1332116" y="649782"/>
                  <a:pt x="1333402" y="648700"/>
                </a:cubicBezTo>
                <a:cubicBezTo>
                  <a:pt x="1334795" y="647618"/>
                  <a:pt x="1335437" y="645130"/>
                  <a:pt x="1335437" y="641453"/>
                </a:cubicBezTo>
                <a:lnTo>
                  <a:pt x="1335437" y="497911"/>
                </a:lnTo>
                <a:cubicBezTo>
                  <a:pt x="1335437" y="494233"/>
                  <a:pt x="1334688" y="491746"/>
                  <a:pt x="1333402" y="490664"/>
                </a:cubicBezTo>
                <a:cubicBezTo>
                  <a:pt x="1332009" y="489474"/>
                  <a:pt x="1329438" y="488933"/>
                  <a:pt x="1325581" y="488933"/>
                </a:cubicBezTo>
                <a:close/>
                <a:moveTo>
                  <a:pt x="1156836" y="488933"/>
                </a:moveTo>
                <a:cubicBezTo>
                  <a:pt x="1152979" y="488933"/>
                  <a:pt x="1150300" y="489582"/>
                  <a:pt x="1149015" y="490664"/>
                </a:cubicBezTo>
                <a:cubicBezTo>
                  <a:pt x="1147622" y="491854"/>
                  <a:pt x="1146979" y="494233"/>
                  <a:pt x="1146979" y="497911"/>
                </a:cubicBezTo>
                <a:lnTo>
                  <a:pt x="1146979" y="641453"/>
                </a:lnTo>
                <a:cubicBezTo>
                  <a:pt x="1146979" y="645130"/>
                  <a:pt x="1147729" y="647618"/>
                  <a:pt x="1149015" y="648700"/>
                </a:cubicBezTo>
                <a:cubicBezTo>
                  <a:pt x="1150407" y="649890"/>
                  <a:pt x="1152979" y="650431"/>
                  <a:pt x="1156836" y="650431"/>
                </a:cubicBezTo>
                <a:lnTo>
                  <a:pt x="1173657" y="650431"/>
                </a:lnTo>
                <a:cubicBezTo>
                  <a:pt x="1177514" y="650431"/>
                  <a:pt x="1180192" y="649782"/>
                  <a:pt x="1181478" y="648700"/>
                </a:cubicBezTo>
                <a:cubicBezTo>
                  <a:pt x="1182871" y="647618"/>
                  <a:pt x="1183513" y="645130"/>
                  <a:pt x="1183513" y="641453"/>
                </a:cubicBezTo>
                <a:lnTo>
                  <a:pt x="1183513" y="497911"/>
                </a:lnTo>
                <a:cubicBezTo>
                  <a:pt x="1183513" y="494233"/>
                  <a:pt x="1182764" y="491746"/>
                  <a:pt x="1181478" y="490664"/>
                </a:cubicBezTo>
                <a:cubicBezTo>
                  <a:pt x="1180085" y="489474"/>
                  <a:pt x="1177514" y="488933"/>
                  <a:pt x="1173657" y="488933"/>
                </a:cubicBezTo>
                <a:close/>
                <a:moveTo>
                  <a:pt x="1615929" y="484714"/>
                </a:moveTo>
                <a:cubicBezTo>
                  <a:pt x="1606501" y="484714"/>
                  <a:pt x="1598037" y="486445"/>
                  <a:pt x="1590430" y="489906"/>
                </a:cubicBezTo>
                <a:cubicBezTo>
                  <a:pt x="1582823" y="493368"/>
                  <a:pt x="1576716" y="498235"/>
                  <a:pt x="1572002" y="504401"/>
                </a:cubicBezTo>
                <a:lnTo>
                  <a:pt x="1572002" y="497911"/>
                </a:lnTo>
                <a:cubicBezTo>
                  <a:pt x="1572002" y="494233"/>
                  <a:pt x="1571359" y="491853"/>
                  <a:pt x="1569966" y="490663"/>
                </a:cubicBezTo>
                <a:cubicBezTo>
                  <a:pt x="1568573" y="489473"/>
                  <a:pt x="1566002" y="488933"/>
                  <a:pt x="1562145" y="488933"/>
                </a:cubicBezTo>
                <a:lnTo>
                  <a:pt x="1545967" y="488933"/>
                </a:lnTo>
                <a:cubicBezTo>
                  <a:pt x="1542110" y="488933"/>
                  <a:pt x="1539431" y="489582"/>
                  <a:pt x="1538146" y="490663"/>
                </a:cubicBezTo>
                <a:cubicBezTo>
                  <a:pt x="1536753" y="491853"/>
                  <a:pt x="1536110" y="494233"/>
                  <a:pt x="1536110" y="497911"/>
                </a:cubicBezTo>
                <a:lnTo>
                  <a:pt x="1536110" y="641344"/>
                </a:lnTo>
                <a:cubicBezTo>
                  <a:pt x="1536110" y="645022"/>
                  <a:pt x="1536860" y="647510"/>
                  <a:pt x="1538146" y="648591"/>
                </a:cubicBezTo>
                <a:cubicBezTo>
                  <a:pt x="1539538" y="649781"/>
                  <a:pt x="1542110" y="650322"/>
                  <a:pt x="1545967" y="650322"/>
                </a:cubicBezTo>
                <a:lnTo>
                  <a:pt x="1562788" y="650322"/>
                </a:lnTo>
                <a:cubicBezTo>
                  <a:pt x="1566645" y="650322"/>
                  <a:pt x="1569323" y="649673"/>
                  <a:pt x="1570609" y="648591"/>
                </a:cubicBezTo>
                <a:cubicBezTo>
                  <a:pt x="1572002" y="647510"/>
                  <a:pt x="1572645" y="645022"/>
                  <a:pt x="1572645" y="641344"/>
                </a:cubicBezTo>
                <a:lnTo>
                  <a:pt x="1572645" y="551130"/>
                </a:lnTo>
                <a:cubicBezTo>
                  <a:pt x="1572645" y="540205"/>
                  <a:pt x="1575430" y="531768"/>
                  <a:pt x="1581001" y="525710"/>
                </a:cubicBezTo>
                <a:cubicBezTo>
                  <a:pt x="1586573" y="519653"/>
                  <a:pt x="1594072" y="516624"/>
                  <a:pt x="1604036" y="516624"/>
                </a:cubicBezTo>
                <a:cubicBezTo>
                  <a:pt x="1614000" y="516624"/>
                  <a:pt x="1620857" y="519112"/>
                  <a:pt x="1624607" y="524196"/>
                </a:cubicBezTo>
                <a:cubicBezTo>
                  <a:pt x="1628357" y="529280"/>
                  <a:pt x="1630286" y="536527"/>
                  <a:pt x="1630286" y="545938"/>
                </a:cubicBezTo>
                <a:lnTo>
                  <a:pt x="1630286" y="641452"/>
                </a:lnTo>
                <a:cubicBezTo>
                  <a:pt x="1630286" y="645130"/>
                  <a:pt x="1631036" y="647618"/>
                  <a:pt x="1632321" y="648699"/>
                </a:cubicBezTo>
                <a:cubicBezTo>
                  <a:pt x="1633714" y="649889"/>
                  <a:pt x="1636285" y="650430"/>
                  <a:pt x="1640142" y="650430"/>
                </a:cubicBezTo>
                <a:lnTo>
                  <a:pt x="1656963" y="650430"/>
                </a:lnTo>
                <a:cubicBezTo>
                  <a:pt x="1660820" y="650430"/>
                  <a:pt x="1663392" y="649781"/>
                  <a:pt x="1664785" y="648699"/>
                </a:cubicBezTo>
                <a:cubicBezTo>
                  <a:pt x="1666177" y="647618"/>
                  <a:pt x="1666820" y="645130"/>
                  <a:pt x="1666820" y="641452"/>
                </a:cubicBezTo>
                <a:lnTo>
                  <a:pt x="1666820" y="540421"/>
                </a:lnTo>
                <a:cubicBezTo>
                  <a:pt x="1666820" y="523222"/>
                  <a:pt x="1662642" y="509593"/>
                  <a:pt x="1654285" y="499641"/>
                </a:cubicBezTo>
                <a:cubicBezTo>
                  <a:pt x="1645928" y="489690"/>
                  <a:pt x="1633178" y="484714"/>
                  <a:pt x="1616143" y="484714"/>
                </a:cubicBezTo>
                <a:close/>
                <a:moveTo>
                  <a:pt x="1437006" y="484714"/>
                </a:moveTo>
                <a:cubicBezTo>
                  <a:pt x="1415256" y="484714"/>
                  <a:pt x="1398435" y="491204"/>
                  <a:pt x="1386650" y="504293"/>
                </a:cubicBezTo>
                <a:cubicBezTo>
                  <a:pt x="1374865" y="517273"/>
                  <a:pt x="1368972" y="535770"/>
                  <a:pt x="1368972" y="559568"/>
                </a:cubicBezTo>
                <a:lnTo>
                  <a:pt x="1368972" y="583581"/>
                </a:lnTo>
                <a:cubicBezTo>
                  <a:pt x="1368972" y="606405"/>
                  <a:pt x="1374865" y="623929"/>
                  <a:pt x="1386650" y="636260"/>
                </a:cubicBezTo>
                <a:cubicBezTo>
                  <a:pt x="1398435" y="648591"/>
                  <a:pt x="1415149" y="654757"/>
                  <a:pt x="1436684" y="654757"/>
                </a:cubicBezTo>
                <a:cubicBezTo>
                  <a:pt x="1447505" y="654757"/>
                  <a:pt x="1457469" y="653243"/>
                  <a:pt x="1466469" y="649997"/>
                </a:cubicBezTo>
                <a:cubicBezTo>
                  <a:pt x="1475469" y="646752"/>
                  <a:pt x="1482861" y="642209"/>
                  <a:pt x="1488540" y="636260"/>
                </a:cubicBezTo>
                <a:cubicBezTo>
                  <a:pt x="1491968" y="632798"/>
                  <a:pt x="1494968" y="628363"/>
                  <a:pt x="1497539" y="623171"/>
                </a:cubicBezTo>
                <a:cubicBezTo>
                  <a:pt x="1500111" y="617871"/>
                  <a:pt x="1501396" y="613328"/>
                  <a:pt x="1501396" y="609434"/>
                </a:cubicBezTo>
                <a:cubicBezTo>
                  <a:pt x="1501396" y="606838"/>
                  <a:pt x="1500646" y="604891"/>
                  <a:pt x="1499254" y="603917"/>
                </a:cubicBezTo>
                <a:cubicBezTo>
                  <a:pt x="1497861" y="602944"/>
                  <a:pt x="1495397" y="602403"/>
                  <a:pt x="1491968" y="602403"/>
                </a:cubicBezTo>
                <a:lnTo>
                  <a:pt x="1473004" y="602403"/>
                </a:lnTo>
                <a:cubicBezTo>
                  <a:pt x="1468719" y="602403"/>
                  <a:pt x="1465933" y="604133"/>
                  <a:pt x="1464755" y="607595"/>
                </a:cubicBezTo>
                <a:cubicBezTo>
                  <a:pt x="1461541" y="618304"/>
                  <a:pt x="1452541" y="623604"/>
                  <a:pt x="1437648" y="623604"/>
                </a:cubicBezTo>
                <a:cubicBezTo>
                  <a:pt x="1426077" y="623604"/>
                  <a:pt x="1417720" y="620359"/>
                  <a:pt x="1412792" y="613869"/>
                </a:cubicBezTo>
                <a:cubicBezTo>
                  <a:pt x="1407756" y="607379"/>
                  <a:pt x="1405292" y="596453"/>
                  <a:pt x="1405292" y="581093"/>
                </a:cubicBezTo>
                <a:lnTo>
                  <a:pt x="1405292" y="579579"/>
                </a:lnTo>
                <a:lnTo>
                  <a:pt x="1493790" y="579579"/>
                </a:lnTo>
                <a:lnTo>
                  <a:pt x="1493790" y="579687"/>
                </a:lnTo>
                <a:cubicBezTo>
                  <a:pt x="1497861" y="579687"/>
                  <a:pt x="1500539" y="579038"/>
                  <a:pt x="1501718" y="577848"/>
                </a:cubicBezTo>
                <a:cubicBezTo>
                  <a:pt x="1502896" y="576550"/>
                  <a:pt x="1503539" y="574170"/>
                  <a:pt x="1503539" y="570709"/>
                </a:cubicBezTo>
                <a:lnTo>
                  <a:pt x="1503539" y="556214"/>
                </a:lnTo>
                <a:cubicBezTo>
                  <a:pt x="1503539" y="532741"/>
                  <a:pt x="1497861" y="515002"/>
                  <a:pt x="1486611" y="502887"/>
                </a:cubicBezTo>
                <a:cubicBezTo>
                  <a:pt x="1475254" y="490772"/>
                  <a:pt x="1458755" y="484714"/>
                  <a:pt x="1437006" y="484714"/>
                </a:cubicBezTo>
                <a:close/>
                <a:moveTo>
                  <a:pt x="899381" y="484714"/>
                </a:moveTo>
                <a:cubicBezTo>
                  <a:pt x="877630" y="484714"/>
                  <a:pt x="860809" y="491204"/>
                  <a:pt x="849025" y="504293"/>
                </a:cubicBezTo>
                <a:cubicBezTo>
                  <a:pt x="837239" y="517273"/>
                  <a:pt x="831346" y="535770"/>
                  <a:pt x="831346" y="559568"/>
                </a:cubicBezTo>
                <a:lnTo>
                  <a:pt x="831346" y="583581"/>
                </a:lnTo>
                <a:cubicBezTo>
                  <a:pt x="831346" y="606405"/>
                  <a:pt x="837239" y="623929"/>
                  <a:pt x="849025" y="636260"/>
                </a:cubicBezTo>
                <a:cubicBezTo>
                  <a:pt x="860809" y="648591"/>
                  <a:pt x="877523" y="654757"/>
                  <a:pt x="899059" y="654757"/>
                </a:cubicBezTo>
                <a:cubicBezTo>
                  <a:pt x="909880" y="654757"/>
                  <a:pt x="919844" y="653243"/>
                  <a:pt x="928844" y="649997"/>
                </a:cubicBezTo>
                <a:cubicBezTo>
                  <a:pt x="937843" y="646752"/>
                  <a:pt x="945236" y="642209"/>
                  <a:pt x="950914" y="636260"/>
                </a:cubicBezTo>
                <a:cubicBezTo>
                  <a:pt x="954343" y="632798"/>
                  <a:pt x="957342" y="628363"/>
                  <a:pt x="959913" y="623171"/>
                </a:cubicBezTo>
                <a:cubicBezTo>
                  <a:pt x="962485" y="617871"/>
                  <a:pt x="963770" y="613328"/>
                  <a:pt x="963770" y="609434"/>
                </a:cubicBezTo>
                <a:cubicBezTo>
                  <a:pt x="963770" y="606838"/>
                  <a:pt x="963021" y="604891"/>
                  <a:pt x="961629" y="603917"/>
                </a:cubicBezTo>
                <a:cubicBezTo>
                  <a:pt x="960236" y="602944"/>
                  <a:pt x="957771" y="602403"/>
                  <a:pt x="954343" y="602403"/>
                </a:cubicBezTo>
                <a:lnTo>
                  <a:pt x="935378" y="602403"/>
                </a:lnTo>
                <a:cubicBezTo>
                  <a:pt x="931093" y="602403"/>
                  <a:pt x="928308" y="604133"/>
                  <a:pt x="927130" y="607595"/>
                </a:cubicBezTo>
                <a:cubicBezTo>
                  <a:pt x="923916" y="618304"/>
                  <a:pt x="914916" y="623604"/>
                  <a:pt x="900022" y="623604"/>
                </a:cubicBezTo>
                <a:cubicBezTo>
                  <a:pt x="888452" y="623604"/>
                  <a:pt x="880094" y="620359"/>
                  <a:pt x="875166" y="613869"/>
                </a:cubicBezTo>
                <a:cubicBezTo>
                  <a:pt x="870132" y="607379"/>
                  <a:pt x="867666" y="596453"/>
                  <a:pt x="867666" y="581093"/>
                </a:cubicBezTo>
                <a:lnTo>
                  <a:pt x="867666" y="579579"/>
                </a:lnTo>
                <a:lnTo>
                  <a:pt x="956165" y="579579"/>
                </a:lnTo>
                <a:lnTo>
                  <a:pt x="956165" y="579687"/>
                </a:lnTo>
                <a:cubicBezTo>
                  <a:pt x="960236" y="579687"/>
                  <a:pt x="962913" y="579038"/>
                  <a:pt x="964092" y="577848"/>
                </a:cubicBezTo>
                <a:cubicBezTo>
                  <a:pt x="965270" y="576550"/>
                  <a:pt x="965913" y="574170"/>
                  <a:pt x="965913" y="570709"/>
                </a:cubicBezTo>
                <a:lnTo>
                  <a:pt x="965913" y="556214"/>
                </a:lnTo>
                <a:cubicBezTo>
                  <a:pt x="965913" y="532741"/>
                  <a:pt x="960236" y="515002"/>
                  <a:pt x="948985" y="502887"/>
                </a:cubicBezTo>
                <a:cubicBezTo>
                  <a:pt x="937629" y="490772"/>
                  <a:pt x="921129" y="484714"/>
                  <a:pt x="899381" y="484714"/>
                </a:cubicBezTo>
                <a:close/>
                <a:moveTo>
                  <a:pt x="1052482" y="484606"/>
                </a:moveTo>
                <a:cubicBezTo>
                  <a:pt x="1033411" y="484606"/>
                  <a:pt x="1018519" y="488825"/>
                  <a:pt x="1007805" y="497262"/>
                </a:cubicBezTo>
                <a:cubicBezTo>
                  <a:pt x="997092" y="505591"/>
                  <a:pt x="991735" y="517490"/>
                  <a:pt x="991735" y="532633"/>
                </a:cubicBezTo>
                <a:lnTo>
                  <a:pt x="991735" y="536960"/>
                </a:lnTo>
                <a:cubicBezTo>
                  <a:pt x="991735" y="558270"/>
                  <a:pt x="1004913" y="572440"/>
                  <a:pt x="1031376" y="579471"/>
                </a:cubicBezTo>
                <a:lnTo>
                  <a:pt x="1051518" y="584663"/>
                </a:lnTo>
                <a:cubicBezTo>
                  <a:pt x="1059232" y="586610"/>
                  <a:pt x="1065125" y="588665"/>
                  <a:pt x="1069196" y="590612"/>
                </a:cubicBezTo>
                <a:cubicBezTo>
                  <a:pt x="1073267" y="592559"/>
                  <a:pt x="1076053" y="594831"/>
                  <a:pt x="1077553" y="597535"/>
                </a:cubicBezTo>
                <a:cubicBezTo>
                  <a:pt x="1079053" y="600240"/>
                  <a:pt x="1079803" y="603701"/>
                  <a:pt x="1079803" y="608028"/>
                </a:cubicBezTo>
                <a:cubicBezTo>
                  <a:pt x="1079803" y="614410"/>
                  <a:pt x="1077767" y="618953"/>
                  <a:pt x="1073696" y="621873"/>
                </a:cubicBezTo>
                <a:cubicBezTo>
                  <a:pt x="1069625" y="624794"/>
                  <a:pt x="1062768" y="626200"/>
                  <a:pt x="1053232" y="626200"/>
                </a:cubicBezTo>
                <a:cubicBezTo>
                  <a:pt x="1044232" y="626200"/>
                  <a:pt x="1037590" y="624902"/>
                  <a:pt x="1033090" y="622090"/>
                </a:cubicBezTo>
                <a:cubicBezTo>
                  <a:pt x="1028591" y="619277"/>
                  <a:pt x="1025804" y="614842"/>
                  <a:pt x="1024841" y="608677"/>
                </a:cubicBezTo>
                <a:cubicBezTo>
                  <a:pt x="1024198" y="604783"/>
                  <a:pt x="1021519" y="602836"/>
                  <a:pt x="1016591" y="602836"/>
                </a:cubicBezTo>
                <a:lnTo>
                  <a:pt x="997628" y="602836"/>
                </a:lnTo>
                <a:cubicBezTo>
                  <a:pt x="992164" y="602836"/>
                  <a:pt x="989377" y="605107"/>
                  <a:pt x="989377" y="609650"/>
                </a:cubicBezTo>
                <a:cubicBezTo>
                  <a:pt x="989377" y="621224"/>
                  <a:pt x="993341" y="630852"/>
                  <a:pt x="1001269" y="638640"/>
                </a:cubicBezTo>
                <a:cubicBezTo>
                  <a:pt x="1012520" y="649349"/>
                  <a:pt x="1030091" y="654649"/>
                  <a:pt x="1054089" y="654649"/>
                </a:cubicBezTo>
                <a:lnTo>
                  <a:pt x="1054196" y="654433"/>
                </a:lnTo>
                <a:cubicBezTo>
                  <a:pt x="1073482" y="654433"/>
                  <a:pt x="1088481" y="650322"/>
                  <a:pt x="1099302" y="641993"/>
                </a:cubicBezTo>
                <a:cubicBezTo>
                  <a:pt x="1110123" y="633664"/>
                  <a:pt x="1115480" y="622090"/>
                  <a:pt x="1115480" y="607054"/>
                </a:cubicBezTo>
                <a:lnTo>
                  <a:pt x="1115480" y="600889"/>
                </a:lnTo>
                <a:cubicBezTo>
                  <a:pt x="1115480" y="578497"/>
                  <a:pt x="1102838" y="564003"/>
                  <a:pt x="1077660" y="557188"/>
                </a:cubicBezTo>
                <a:lnTo>
                  <a:pt x="1051732" y="550373"/>
                </a:lnTo>
                <a:cubicBezTo>
                  <a:pt x="1041983" y="547669"/>
                  <a:pt x="1035233" y="544965"/>
                  <a:pt x="1031591" y="542044"/>
                </a:cubicBezTo>
                <a:cubicBezTo>
                  <a:pt x="1027947" y="539124"/>
                  <a:pt x="1026126" y="535121"/>
                  <a:pt x="1026126" y="530037"/>
                </a:cubicBezTo>
                <a:cubicBezTo>
                  <a:pt x="1026126" y="524304"/>
                  <a:pt x="1028269" y="519978"/>
                  <a:pt x="1032554" y="516841"/>
                </a:cubicBezTo>
                <a:cubicBezTo>
                  <a:pt x="1036841" y="513704"/>
                  <a:pt x="1042734" y="512189"/>
                  <a:pt x="1050232" y="512189"/>
                </a:cubicBezTo>
                <a:cubicBezTo>
                  <a:pt x="1068017" y="512189"/>
                  <a:pt x="1077660" y="517706"/>
                  <a:pt x="1079267" y="528847"/>
                </a:cubicBezTo>
                <a:cubicBezTo>
                  <a:pt x="1079696" y="531335"/>
                  <a:pt x="1080553" y="532958"/>
                  <a:pt x="1081731" y="533823"/>
                </a:cubicBezTo>
                <a:cubicBezTo>
                  <a:pt x="1082910" y="534580"/>
                  <a:pt x="1085267" y="535013"/>
                  <a:pt x="1088695" y="535013"/>
                </a:cubicBezTo>
                <a:lnTo>
                  <a:pt x="1104552" y="535013"/>
                </a:lnTo>
                <a:cubicBezTo>
                  <a:pt x="1108409" y="535013"/>
                  <a:pt x="1110980" y="534472"/>
                  <a:pt x="1112373" y="533499"/>
                </a:cubicBezTo>
                <a:cubicBezTo>
                  <a:pt x="1113766" y="532525"/>
                  <a:pt x="1114409" y="530578"/>
                  <a:pt x="1114409" y="527658"/>
                </a:cubicBezTo>
                <a:cubicBezTo>
                  <a:pt x="1114409" y="516624"/>
                  <a:pt x="1110659" y="507322"/>
                  <a:pt x="1103159" y="499966"/>
                </a:cubicBezTo>
                <a:cubicBezTo>
                  <a:pt x="1092338" y="489690"/>
                  <a:pt x="1075517" y="484606"/>
                  <a:pt x="1052482" y="484606"/>
                </a:cubicBezTo>
                <a:close/>
                <a:moveTo>
                  <a:pt x="692280" y="463080"/>
                </a:moveTo>
                <a:lnTo>
                  <a:pt x="730314" y="463080"/>
                </a:lnTo>
                <a:cubicBezTo>
                  <a:pt x="742314" y="463080"/>
                  <a:pt x="750670" y="465676"/>
                  <a:pt x="755492" y="470652"/>
                </a:cubicBezTo>
                <a:cubicBezTo>
                  <a:pt x="760312" y="475736"/>
                  <a:pt x="762670" y="484282"/>
                  <a:pt x="762670" y="496397"/>
                </a:cubicBezTo>
                <a:lnTo>
                  <a:pt x="762670" y="500723"/>
                </a:lnTo>
                <a:cubicBezTo>
                  <a:pt x="762670" y="512298"/>
                  <a:pt x="760312" y="520410"/>
                  <a:pt x="755384" y="525386"/>
                </a:cubicBezTo>
                <a:cubicBezTo>
                  <a:pt x="750564" y="530254"/>
                  <a:pt x="742206" y="532742"/>
                  <a:pt x="730422" y="532742"/>
                </a:cubicBezTo>
                <a:lnTo>
                  <a:pt x="692280" y="532742"/>
                </a:lnTo>
                <a:close/>
                <a:moveTo>
                  <a:pt x="1723819" y="443609"/>
                </a:moveTo>
                <a:cubicBezTo>
                  <a:pt x="1719962" y="443609"/>
                  <a:pt x="1717283" y="444258"/>
                  <a:pt x="1715998" y="445340"/>
                </a:cubicBezTo>
                <a:cubicBezTo>
                  <a:pt x="1714605" y="446421"/>
                  <a:pt x="1713962" y="448909"/>
                  <a:pt x="1713962" y="452587"/>
                </a:cubicBezTo>
                <a:lnTo>
                  <a:pt x="1713962" y="488932"/>
                </a:lnTo>
                <a:lnTo>
                  <a:pt x="1697784" y="488932"/>
                </a:lnTo>
                <a:cubicBezTo>
                  <a:pt x="1694677" y="488932"/>
                  <a:pt x="1692641" y="489581"/>
                  <a:pt x="1691677" y="490663"/>
                </a:cubicBezTo>
                <a:cubicBezTo>
                  <a:pt x="1690713" y="491745"/>
                  <a:pt x="1690177" y="494124"/>
                  <a:pt x="1690177" y="497586"/>
                </a:cubicBezTo>
                <a:lnTo>
                  <a:pt x="1690177" y="510566"/>
                </a:lnTo>
                <a:cubicBezTo>
                  <a:pt x="1690177" y="514028"/>
                  <a:pt x="1690606" y="516407"/>
                  <a:pt x="1691677" y="517489"/>
                </a:cubicBezTo>
                <a:cubicBezTo>
                  <a:pt x="1692748" y="518679"/>
                  <a:pt x="1694784" y="519220"/>
                  <a:pt x="1697784" y="519220"/>
                </a:cubicBezTo>
                <a:lnTo>
                  <a:pt x="1713962" y="519220"/>
                </a:lnTo>
                <a:lnTo>
                  <a:pt x="1713962" y="602078"/>
                </a:lnTo>
                <a:cubicBezTo>
                  <a:pt x="1713962" y="616897"/>
                  <a:pt x="1717283" y="628579"/>
                  <a:pt x="1724033" y="637341"/>
                </a:cubicBezTo>
                <a:cubicBezTo>
                  <a:pt x="1730783" y="646103"/>
                  <a:pt x="1743104" y="650430"/>
                  <a:pt x="1760996" y="650430"/>
                </a:cubicBezTo>
                <a:lnTo>
                  <a:pt x="1778139" y="650430"/>
                </a:lnTo>
                <a:lnTo>
                  <a:pt x="1778353" y="650538"/>
                </a:lnTo>
                <a:cubicBezTo>
                  <a:pt x="1781567" y="650538"/>
                  <a:pt x="1783710" y="649889"/>
                  <a:pt x="1784567" y="648807"/>
                </a:cubicBezTo>
                <a:cubicBezTo>
                  <a:pt x="1785531" y="647725"/>
                  <a:pt x="1785960" y="645346"/>
                  <a:pt x="1785960" y="641884"/>
                </a:cubicBezTo>
                <a:lnTo>
                  <a:pt x="1785960" y="627389"/>
                </a:lnTo>
                <a:cubicBezTo>
                  <a:pt x="1785960" y="623928"/>
                  <a:pt x="1785531" y="621656"/>
                  <a:pt x="1784460" y="620467"/>
                </a:cubicBezTo>
                <a:cubicBezTo>
                  <a:pt x="1783388" y="619277"/>
                  <a:pt x="1781353" y="618736"/>
                  <a:pt x="1778353" y="618736"/>
                </a:cubicBezTo>
                <a:lnTo>
                  <a:pt x="1767318" y="618736"/>
                </a:lnTo>
                <a:cubicBezTo>
                  <a:pt x="1761211" y="618736"/>
                  <a:pt x="1756925" y="616897"/>
                  <a:pt x="1754354" y="613327"/>
                </a:cubicBezTo>
                <a:cubicBezTo>
                  <a:pt x="1751782" y="609758"/>
                  <a:pt x="1750497" y="604133"/>
                  <a:pt x="1750497" y="596561"/>
                </a:cubicBezTo>
                <a:lnTo>
                  <a:pt x="1750497" y="519220"/>
                </a:lnTo>
                <a:lnTo>
                  <a:pt x="1778246" y="519220"/>
                </a:lnTo>
                <a:cubicBezTo>
                  <a:pt x="1781353" y="519220"/>
                  <a:pt x="1783388" y="518571"/>
                  <a:pt x="1784353" y="517489"/>
                </a:cubicBezTo>
                <a:cubicBezTo>
                  <a:pt x="1785317" y="516407"/>
                  <a:pt x="1785853" y="514028"/>
                  <a:pt x="1785853" y="510566"/>
                </a:cubicBezTo>
                <a:lnTo>
                  <a:pt x="1785853" y="497586"/>
                </a:lnTo>
                <a:cubicBezTo>
                  <a:pt x="1785853" y="494124"/>
                  <a:pt x="1785424" y="491853"/>
                  <a:pt x="1784353" y="490663"/>
                </a:cubicBezTo>
                <a:cubicBezTo>
                  <a:pt x="1783281" y="489473"/>
                  <a:pt x="1781246" y="488932"/>
                  <a:pt x="1778246" y="488932"/>
                </a:cubicBezTo>
                <a:lnTo>
                  <a:pt x="1750497" y="488932"/>
                </a:lnTo>
                <a:lnTo>
                  <a:pt x="1750497" y="452587"/>
                </a:lnTo>
                <a:cubicBezTo>
                  <a:pt x="1750497" y="448909"/>
                  <a:pt x="1749747" y="446421"/>
                  <a:pt x="1748461" y="445340"/>
                </a:cubicBezTo>
                <a:cubicBezTo>
                  <a:pt x="1747068" y="444150"/>
                  <a:pt x="1744497" y="443609"/>
                  <a:pt x="1740640" y="443609"/>
                </a:cubicBezTo>
                <a:close/>
                <a:moveTo>
                  <a:pt x="1232798" y="431062"/>
                </a:moveTo>
                <a:cubicBezTo>
                  <a:pt x="1228941" y="431062"/>
                  <a:pt x="1226262" y="431711"/>
                  <a:pt x="1224977" y="432793"/>
                </a:cubicBezTo>
                <a:cubicBezTo>
                  <a:pt x="1223584" y="433983"/>
                  <a:pt x="1222941" y="436362"/>
                  <a:pt x="1222941" y="440040"/>
                </a:cubicBezTo>
                <a:lnTo>
                  <a:pt x="1222941" y="641452"/>
                </a:lnTo>
                <a:cubicBezTo>
                  <a:pt x="1222941" y="645130"/>
                  <a:pt x="1223691" y="647618"/>
                  <a:pt x="1224977" y="648700"/>
                </a:cubicBezTo>
                <a:cubicBezTo>
                  <a:pt x="1226369" y="649890"/>
                  <a:pt x="1228941" y="650430"/>
                  <a:pt x="1232798" y="650430"/>
                </a:cubicBezTo>
                <a:lnTo>
                  <a:pt x="1249619" y="650430"/>
                </a:lnTo>
                <a:cubicBezTo>
                  <a:pt x="1253476" y="650430"/>
                  <a:pt x="1256154" y="649781"/>
                  <a:pt x="1257440" y="648700"/>
                </a:cubicBezTo>
                <a:cubicBezTo>
                  <a:pt x="1258833" y="647618"/>
                  <a:pt x="1259476" y="645130"/>
                  <a:pt x="1259476" y="641452"/>
                </a:cubicBezTo>
                <a:lnTo>
                  <a:pt x="1259476" y="440040"/>
                </a:lnTo>
                <a:cubicBezTo>
                  <a:pt x="1259476" y="436362"/>
                  <a:pt x="1258726" y="433874"/>
                  <a:pt x="1257440" y="432793"/>
                </a:cubicBezTo>
                <a:cubicBezTo>
                  <a:pt x="1256047" y="431603"/>
                  <a:pt x="1253476" y="431062"/>
                  <a:pt x="1249619" y="431062"/>
                </a:cubicBezTo>
                <a:close/>
                <a:moveTo>
                  <a:pt x="665388" y="431062"/>
                </a:moveTo>
                <a:cubicBezTo>
                  <a:pt x="661530" y="431062"/>
                  <a:pt x="658851" y="431711"/>
                  <a:pt x="657567" y="432901"/>
                </a:cubicBezTo>
                <a:cubicBezTo>
                  <a:pt x="656173" y="434199"/>
                  <a:pt x="655530" y="436579"/>
                  <a:pt x="655530" y="440040"/>
                </a:cubicBezTo>
                <a:lnTo>
                  <a:pt x="655530" y="641452"/>
                </a:lnTo>
                <a:cubicBezTo>
                  <a:pt x="655530" y="645022"/>
                  <a:pt x="656280" y="647402"/>
                  <a:pt x="657567" y="648591"/>
                </a:cubicBezTo>
                <a:cubicBezTo>
                  <a:pt x="658959" y="649781"/>
                  <a:pt x="661530" y="650430"/>
                  <a:pt x="665388" y="650430"/>
                </a:cubicBezTo>
                <a:lnTo>
                  <a:pt x="682529" y="650430"/>
                </a:lnTo>
                <a:cubicBezTo>
                  <a:pt x="686600" y="650430"/>
                  <a:pt x="689279" y="649781"/>
                  <a:pt x="690458" y="648591"/>
                </a:cubicBezTo>
                <a:cubicBezTo>
                  <a:pt x="691636" y="647293"/>
                  <a:pt x="692280" y="644914"/>
                  <a:pt x="692280" y="641452"/>
                </a:cubicBezTo>
                <a:lnTo>
                  <a:pt x="692280" y="564760"/>
                </a:lnTo>
                <a:lnTo>
                  <a:pt x="725492" y="564760"/>
                </a:lnTo>
                <a:lnTo>
                  <a:pt x="766635" y="641452"/>
                </a:lnTo>
                <a:cubicBezTo>
                  <a:pt x="768669" y="645130"/>
                  <a:pt x="770491" y="647618"/>
                  <a:pt x="772098" y="648700"/>
                </a:cubicBezTo>
                <a:cubicBezTo>
                  <a:pt x="773705" y="649890"/>
                  <a:pt x="776169" y="650430"/>
                  <a:pt x="779384" y="650430"/>
                </a:cubicBezTo>
                <a:lnTo>
                  <a:pt x="802311" y="650430"/>
                </a:lnTo>
                <a:cubicBezTo>
                  <a:pt x="807562" y="650430"/>
                  <a:pt x="810239" y="648700"/>
                  <a:pt x="810239" y="645455"/>
                </a:cubicBezTo>
                <a:cubicBezTo>
                  <a:pt x="810239" y="644481"/>
                  <a:pt x="809918" y="643075"/>
                  <a:pt x="809061" y="641452"/>
                </a:cubicBezTo>
                <a:lnTo>
                  <a:pt x="763635" y="560109"/>
                </a:lnTo>
                <a:cubicBezTo>
                  <a:pt x="788277" y="551888"/>
                  <a:pt x="800597" y="532201"/>
                  <a:pt x="800597" y="500940"/>
                </a:cubicBezTo>
                <a:lnTo>
                  <a:pt x="800597" y="495099"/>
                </a:lnTo>
                <a:cubicBezTo>
                  <a:pt x="800597" y="472924"/>
                  <a:pt x="794919" y="456698"/>
                  <a:pt x="783776" y="446422"/>
                </a:cubicBezTo>
                <a:cubicBezTo>
                  <a:pt x="772526" y="436146"/>
                  <a:pt x="754849" y="431062"/>
                  <a:pt x="730636" y="431062"/>
                </a:cubicBezTo>
                <a:close/>
                <a:moveTo>
                  <a:pt x="1317438" y="427060"/>
                </a:moveTo>
                <a:cubicBezTo>
                  <a:pt x="1311117" y="427060"/>
                  <a:pt x="1306081" y="428683"/>
                  <a:pt x="1302331" y="431819"/>
                </a:cubicBezTo>
                <a:cubicBezTo>
                  <a:pt x="1298581" y="435065"/>
                  <a:pt x="1296653" y="439608"/>
                  <a:pt x="1296653" y="445557"/>
                </a:cubicBezTo>
                <a:lnTo>
                  <a:pt x="1296653" y="452047"/>
                </a:lnTo>
                <a:cubicBezTo>
                  <a:pt x="1296653" y="457780"/>
                  <a:pt x="1298581" y="462323"/>
                  <a:pt x="1302331" y="465568"/>
                </a:cubicBezTo>
                <a:cubicBezTo>
                  <a:pt x="1306081" y="468922"/>
                  <a:pt x="1311117" y="470544"/>
                  <a:pt x="1317438" y="470544"/>
                </a:cubicBezTo>
                <a:cubicBezTo>
                  <a:pt x="1323974" y="470544"/>
                  <a:pt x="1329116" y="468814"/>
                  <a:pt x="1332866" y="465568"/>
                </a:cubicBezTo>
                <a:cubicBezTo>
                  <a:pt x="1336616" y="462323"/>
                  <a:pt x="1338545" y="457780"/>
                  <a:pt x="1338545" y="452047"/>
                </a:cubicBezTo>
                <a:lnTo>
                  <a:pt x="1338545" y="445557"/>
                </a:lnTo>
                <a:cubicBezTo>
                  <a:pt x="1338545" y="439608"/>
                  <a:pt x="1336616" y="434956"/>
                  <a:pt x="1332866" y="431819"/>
                </a:cubicBezTo>
                <a:cubicBezTo>
                  <a:pt x="1329116" y="428683"/>
                  <a:pt x="1323759" y="427060"/>
                  <a:pt x="1317438" y="427060"/>
                </a:cubicBezTo>
                <a:close/>
                <a:moveTo>
                  <a:pt x="1165514" y="427060"/>
                </a:moveTo>
                <a:cubicBezTo>
                  <a:pt x="1159193" y="427060"/>
                  <a:pt x="1154157" y="428683"/>
                  <a:pt x="1150407" y="431819"/>
                </a:cubicBezTo>
                <a:cubicBezTo>
                  <a:pt x="1146658" y="435065"/>
                  <a:pt x="1144729" y="439608"/>
                  <a:pt x="1144729" y="445557"/>
                </a:cubicBezTo>
                <a:lnTo>
                  <a:pt x="1144729" y="452047"/>
                </a:lnTo>
                <a:cubicBezTo>
                  <a:pt x="1144729" y="457780"/>
                  <a:pt x="1146658" y="462323"/>
                  <a:pt x="1150407" y="465568"/>
                </a:cubicBezTo>
                <a:cubicBezTo>
                  <a:pt x="1154157" y="468922"/>
                  <a:pt x="1159193" y="470544"/>
                  <a:pt x="1165514" y="470544"/>
                </a:cubicBezTo>
                <a:cubicBezTo>
                  <a:pt x="1172050" y="470544"/>
                  <a:pt x="1177192" y="468814"/>
                  <a:pt x="1180942" y="465568"/>
                </a:cubicBezTo>
                <a:cubicBezTo>
                  <a:pt x="1184692" y="462323"/>
                  <a:pt x="1186621" y="457780"/>
                  <a:pt x="1186621" y="452047"/>
                </a:cubicBezTo>
                <a:lnTo>
                  <a:pt x="1186621" y="445557"/>
                </a:lnTo>
                <a:cubicBezTo>
                  <a:pt x="1186621" y="439608"/>
                  <a:pt x="1184692" y="434956"/>
                  <a:pt x="1180942" y="431819"/>
                </a:cubicBezTo>
                <a:cubicBezTo>
                  <a:pt x="1177192" y="428683"/>
                  <a:pt x="1171835" y="427060"/>
                  <a:pt x="1165514" y="42706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5E8F0"/>
          </a:solidFill>
        </p:spPr>
        <p:txBody>
          <a:bodyPr wrap="square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lang="en-GB"/>
              <a:t>Click on frame and insert dark picture using the Insert tab, Pictures</a:t>
            </a: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CCCF95-6907-DF71-BE02-89B358435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46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CCCF95-6907-DF71-BE02-89B358435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03237" y="3355272"/>
            <a:ext cx="5465763" cy="756000"/>
          </a:xfrm>
        </p:spPr>
        <p:txBody>
          <a:bodyPr vert="horz" anchor="b"/>
          <a:lstStyle>
            <a:lvl1pPr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085A2B0-5BC7-9D39-928F-93A0A45E7D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03238" y="4364919"/>
            <a:ext cx="4513262" cy="1218913"/>
          </a:xfrm>
        </p:spPr>
        <p:txBody>
          <a:bodyPr lIns="0" tIns="0" rIns="0" bIns="0"/>
          <a:lstStyle>
            <a:lvl1pPr marL="0" indent="0" rtl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97796A-C0B2-B426-911A-A027A6F713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white">
          <a:xfrm>
            <a:off x="503239" y="5783578"/>
            <a:ext cx="701674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012630-914C-FFCF-DE05-41FDEBD5A5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1561306" y="5783578"/>
            <a:ext cx="2502693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name.surname@sustainable-markets.org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BBFD737-ABC1-FF82-2FC4-693121D735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503239" y="5993648"/>
            <a:ext cx="701674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Mobile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6B3F5AC-66D3-E137-14D1-9AAFFB0CAA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white">
          <a:xfrm>
            <a:off x="1561306" y="5993648"/>
            <a:ext cx="2502694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+44 1234 567 899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44B9D17-4F5C-0566-870D-AC825E9DB5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503239" y="6208313"/>
            <a:ext cx="703774" cy="14400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err="1"/>
              <a:t>Linkedin</a:t>
            </a:r>
            <a:endParaRPr lang="en-GB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486FE4C4-E194-88B3-41DB-169B3EBFD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white">
          <a:xfrm>
            <a:off x="1563406" y="6208313"/>
            <a:ext cx="2500593" cy="133350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  <a:ea typeface="Inter Italic" panose="02000503000000020004" pitchFamily="2" charset="0"/>
                <a:cs typeface="Oscine" panose="020B050604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www.linkedin.com/in/user-id/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6DE4AB9A-8CB9-FB29-362D-F38E0469EF91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D2B19E4-7922-9D7A-001F-639E3D737547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748A1A-4AFE-6038-D2DF-F0E891ADCCE6}"/>
              </a:ext>
            </a:extLst>
          </p:cNvPr>
          <p:cNvGrpSpPr/>
          <p:nvPr userDrawn="1"/>
        </p:nvGrpSpPr>
        <p:grpSpPr>
          <a:xfrm>
            <a:off x="655638" y="427060"/>
            <a:ext cx="3134801" cy="1408306"/>
            <a:chOff x="1753986" y="2707575"/>
            <a:chExt cx="6648078" cy="2986643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BC91DCD-C8E5-9E49-A68B-E69052770EB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1816140B-E4D2-370B-8CBB-4A13DC63A12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A5869580-C57C-0534-7897-BA4865599CA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sp>
        <p:nvSpPr>
          <p:cNvPr id="94" name="Slide Number Placeholder 10">
            <a:extLst>
              <a:ext uri="{FF2B5EF4-FFF2-40B4-BE49-F238E27FC236}">
                <a16:creationId xmlns:a16="http://schemas.microsoft.com/office/drawing/2014/main" id="{9B3A8BE0-93A2-4B13-F1AC-2B256D61E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5" name="Content Placeholder 7">
            <a:extLst>
              <a:ext uri="{FF2B5EF4-FFF2-40B4-BE49-F238E27FC236}">
                <a16:creationId xmlns:a16="http://schemas.microsoft.com/office/drawing/2014/main" id="{694D3E91-CF3D-BB15-4E92-E8C66C14B32E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bg1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8128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01B758-C20A-6DF1-8E6F-E37BAF38E44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545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01B758-C20A-6DF1-8E6F-E37BAF38E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2C86B6-10B4-79BD-6825-C60399B8591E}"/>
              </a:ext>
            </a:extLst>
          </p:cNvPr>
          <p:cNvGrpSpPr/>
          <p:nvPr userDrawn="1"/>
        </p:nvGrpSpPr>
        <p:grpSpPr>
          <a:xfrm>
            <a:off x="684542" y="260350"/>
            <a:ext cx="6012243" cy="2700994"/>
            <a:chOff x="1753986" y="2707575"/>
            <a:chExt cx="6648078" cy="2986643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3E1E9E57-8972-CBD5-493D-CF548954170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E6651F39-0C97-AA3F-6C3A-ACF60FC6A63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6C6C9409-33FB-760D-3F39-B7F0B5A7B7C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sp>
        <p:nvSpPr>
          <p:cNvPr id="8" name="Graphic 13">
            <a:extLst>
              <a:ext uri="{FF2B5EF4-FFF2-40B4-BE49-F238E27FC236}">
                <a16:creationId xmlns:a16="http://schemas.microsoft.com/office/drawing/2014/main" id="{8368172D-BAAC-7720-F364-1A6885E37BD6}"/>
              </a:ext>
            </a:extLst>
          </p:cNvPr>
          <p:cNvSpPr/>
          <p:nvPr userDrawn="1"/>
        </p:nvSpPr>
        <p:spPr>
          <a:xfrm rot="5400000" flipH="1">
            <a:off x="506662" y="3946850"/>
            <a:ext cx="2411269" cy="3424593"/>
          </a:xfrm>
          <a:custGeom>
            <a:avLst/>
            <a:gdLst>
              <a:gd name="connsiteX0" fmla="*/ 4519015 w 4519015"/>
              <a:gd name="connsiteY0" fmla="*/ 3424593 h 3424592"/>
              <a:gd name="connsiteX1" fmla="*/ 3592440 w 4519015"/>
              <a:gd name="connsiteY1" fmla="*/ 3424593 h 3424592"/>
              <a:gd name="connsiteX2" fmla="*/ 3592440 w 4519015"/>
              <a:gd name="connsiteY2" fmla="*/ 1660795 h 3424592"/>
              <a:gd name="connsiteX3" fmla="*/ 2856628 w 4519015"/>
              <a:gd name="connsiteY3" fmla="*/ 925835 h 3424592"/>
              <a:gd name="connsiteX4" fmla="*/ 0 w 4519015"/>
              <a:gd name="connsiteY4" fmla="*/ 925835 h 3424592"/>
              <a:gd name="connsiteX5" fmla="*/ 0 w 4519015"/>
              <a:gd name="connsiteY5" fmla="*/ 0 h 3424592"/>
              <a:gd name="connsiteX6" fmla="*/ 2859735 w 4519015"/>
              <a:gd name="connsiteY6" fmla="*/ 0 h 3424592"/>
              <a:gd name="connsiteX7" fmla="*/ 4518949 w 4519015"/>
              <a:gd name="connsiteY7" fmla="*/ 1660795 h 3424592"/>
              <a:gd name="connsiteX8" fmla="*/ 4518949 w 4519015"/>
              <a:gd name="connsiteY8" fmla="*/ 3424593 h 3424592"/>
              <a:gd name="connsiteX0" fmla="*/ 4519015 w 4519015"/>
              <a:gd name="connsiteY0" fmla="*/ 3424593 h 3424593"/>
              <a:gd name="connsiteX1" fmla="*/ 3592440 w 4519015"/>
              <a:gd name="connsiteY1" fmla="*/ 3424593 h 3424593"/>
              <a:gd name="connsiteX2" fmla="*/ 3592440 w 4519015"/>
              <a:gd name="connsiteY2" fmla="*/ 1660795 h 3424593"/>
              <a:gd name="connsiteX3" fmla="*/ 2856628 w 4519015"/>
              <a:gd name="connsiteY3" fmla="*/ 925835 h 3424593"/>
              <a:gd name="connsiteX4" fmla="*/ 0 w 4519015"/>
              <a:gd name="connsiteY4" fmla="*/ 925835 h 3424593"/>
              <a:gd name="connsiteX5" fmla="*/ 2090057 w 4519015"/>
              <a:gd name="connsiteY5" fmla="*/ 0 h 3424593"/>
              <a:gd name="connsiteX6" fmla="*/ 2859735 w 4519015"/>
              <a:gd name="connsiteY6" fmla="*/ 0 h 3424593"/>
              <a:gd name="connsiteX7" fmla="*/ 4518949 w 4519015"/>
              <a:gd name="connsiteY7" fmla="*/ 1660795 h 3424593"/>
              <a:gd name="connsiteX8" fmla="*/ 4518949 w 4519015"/>
              <a:gd name="connsiteY8" fmla="*/ 3424593 h 3424593"/>
              <a:gd name="connsiteX9" fmla="*/ 4519015 w 4519015"/>
              <a:gd name="connsiteY9" fmla="*/ 3424593 h 3424593"/>
              <a:gd name="connsiteX0" fmla="*/ 2428958 w 2428958"/>
              <a:gd name="connsiteY0" fmla="*/ 3424593 h 3424593"/>
              <a:gd name="connsiteX1" fmla="*/ 1502383 w 2428958"/>
              <a:gd name="connsiteY1" fmla="*/ 3424593 h 3424593"/>
              <a:gd name="connsiteX2" fmla="*/ 1502383 w 2428958"/>
              <a:gd name="connsiteY2" fmla="*/ 1660795 h 3424593"/>
              <a:gd name="connsiteX3" fmla="*/ 766571 w 2428958"/>
              <a:gd name="connsiteY3" fmla="*/ 925835 h 3424593"/>
              <a:gd name="connsiteX4" fmla="*/ 14514 w 2428958"/>
              <a:gd name="connsiteY4" fmla="*/ 918578 h 3424593"/>
              <a:gd name="connsiteX5" fmla="*/ 0 w 2428958"/>
              <a:gd name="connsiteY5" fmla="*/ 0 h 3424593"/>
              <a:gd name="connsiteX6" fmla="*/ 769678 w 2428958"/>
              <a:gd name="connsiteY6" fmla="*/ 0 h 3424593"/>
              <a:gd name="connsiteX7" fmla="*/ 2428892 w 2428958"/>
              <a:gd name="connsiteY7" fmla="*/ 1660795 h 3424593"/>
              <a:gd name="connsiteX8" fmla="*/ 2428892 w 2428958"/>
              <a:gd name="connsiteY8" fmla="*/ 3424593 h 3424593"/>
              <a:gd name="connsiteX9" fmla="*/ 2428958 w 2428958"/>
              <a:gd name="connsiteY9" fmla="*/ 3424593 h 3424593"/>
              <a:gd name="connsiteX0" fmla="*/ 2414444 w 2414444"/>
              <a:gd name="connsiteY0" fmla="*/ 3424593 h 3424593"/>
              <a:gd name="connsiteX1" fmla="*/ 1487869 w 2414444"/>
              <a:gd name="connsiteY1" fmla="*/ 3424593 h 3424593"/>
              <a:gd name="connsiteX2" fmla="*/ 1487869 w 2414444"/>
              <a:gd name="connsiteY2" fmla="*/ 1660795 h 3424593"/>
              <a:gd name="connsiteX3" fmla="*/ 752057 w 2414444"/>
              <a:gd name="connsiteY3" fmla="*/ 925835 h 3424593"/>
              <a:gd name="connsiteX4" fmla="*/ 0 w 2414444"/>
              <a:gd name="connsiteY4" fmla="*/ 918578 h 3424593"/>
              <a:gd name="connsiteX5" fmla="*/ 4536 w 2414444"/>
              <a:gd name="connsiteY5" fmla="*/ 0 h 3424593"/>
              <a:gd name="connsiteX6" fmla="*/ 755164 w 2414444"/>
              <a:gd name="connsiteY6" fmla="*/ 0 h 3424593"/>
              <a:gd name="connsiteX7" fmla="*/ 2414378 w 2414444"/>
              <a:gd name="connsiteY7" fmla="*/ 1660795 h 3424593"/>
              <a:gd name="connsiteX8" fmla="*/ 2414378 w 2414444"/>
              <a:gd name="connsiteY8" fmla="*/ 3424593 h 3424593"/>
              <a:gd name="connsiteX9" fmla="*/ 2414444 w 2414444"/>
              <a:gd name="connsiteY9" fmla="*/ 3424593 h 3424593"/>
              <a:gd name="connsiteX0" fmla="*/ 2411269 w 2411269"/>
              <a:gd name="connsiteY0" fmla="*/ 3424593 h 3424593"/>
              <a:gd name="connsiteX1" fmla="*/ 1484694 w 2411269"/>
              <a:gd name="connsiteY1" fmla="*/ 3424593 h 3424593"/>
              <a:gd name="connsiteX2" fmla="*/ 1484694 w 2411269"/>
              <a:gd name="connsiteY2" fmla="*/ 1660795 h 3424593"/>
              <a:gd name="connsiteX3" fmla="*/ 748882 w 2411269"/>
              <a:gd name="connsiteY3" fmla="*/ 925835 h 3424593"/>
              <a:gd name="connsiteX4" fmla="*/ 0 w 2411269"/>
              <a:gd name="connsiteY4" fmla="*/ 918578 h 3424593"/>
              <a:gd name="connsiteX5" fmla="*/ 1361 w 2411269"/>
              <a:gd name="connsiteY5" fmla="*/ 0 h 3424593"/>
              <a:gd name="connsiteX6" fmla="*/ 751989 w 2411269"/>
              <a:gd name="connsiteY6" fmla="*/ 0 h 3424593"/>
              <a:gd name="connsiteX7" fmla="*/ 2411203 w 2411269"/>
              <a:gd name="connsiteY7" fmla="*/ 1660795 h 3424593"/>
              <a:gd name="connsiteX8" fmla="*/ 2411203 w 2411269"/>
              <a:gd name="connsiteY8" fmla="*/ 3424593 h 3424593"/>
              <a:gd name="connsiteX9" fmla="*/ 2411269 w 2411269"/>
              <a:gd name="connsiteY9" fmla="*/ 3424593 h 342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11269" h="3424593">
                <a:moveTo>
                  <a:pt x="2411269" y="3424593"/>
                </a:moveTo>
                <a:lnTo>
                  <a:pt x="1484694" y="3424593"/>
                </a:lnTo>
                <a:lnTo>
                  <a:pt x="1484694" y="1660795"/>
                </a:lnTo>
                <a:cubicBezTo>
                  <a:pt x="1484694" y="1258232"/>
                  <a:pt x="1154610" y="928610"/>
                  <a:pt x="748882" y="925835"/>
                </a:cubicBezTo>
                <a:lnTo>
                  <a:pt x="0" y="918578"/>
                </a:lnTo>
                <a:cubicBezTo>
                  <a:pt x="454" y="612385"/>
                  <a:pt x="907" y="306193"/>
                  <a:pt x="1361" y="0"/>
                </a:cubicBezTo>
                <a:lnTo>
                  <a:pt x="751989" y="0"/>
                </a:lnTo>
                <a:cubicBezTo>
                  <a:pt x="1668316" y="6211"/>
                  <a:pt x="2411203" y="751213"/>
                  <a:pt x="2411203" y="1660795"/>
                </a:cubicBezTo>
                <a:lnTo>
                  <a:pt x="2411203" y="3424593"/>
                </a:lnTo>
                <a:lnTo>
                  <a:pt x="2411269" y="3424593"/>
                </a:lnTo>
                <a:close/>
              </a:path>
            </a:pathLst>
          </a:custGeom>
          <a:solidFill>
            <a:schemeClr val="accent3"/>
          </a:solidFill>
          <a:ln w="66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Graphic 12">
            <a:extLst>
              <a:ext uri="{FF2B5EF4-FFF2-40B4-BE49-F238E27FC236}">
                <a16:creationId xmlns:a16="http://schemas.microsoft.com/office/drawing/2014/main" id="{EFDAE510-DCC8-5B34-3B92-FD8A77DBC104}"/>
              </a:ext>
            </a:extLst>
          </p:cNvPr>
          <p:cNvSpPr/>
          <p:nvPr userDrawn="1"/>
        </p:nvSpPr>
        <p:spPr>
          <a:xfrm flipH="1">
            <a:off x="7311260" y="260350"/>
            <a:ext cx="4880740" cy="6604431"/>
          </a:xfrm>
          <a:custGeom>
            <a:avLst/>
            <a:gdLst>
              <a:gd name="connsiteX0" fmla="*/ 8005575 w 8005574"/>
              <a:gd name="connsiteY0" fmla="*/ 6066771 h 6066770"/>
              <a:gd name="connsiteX1" fmla="*/ 6364118 w 8005574"/>
              <a:gd name="connsiteY1" fmla="*/ 6066771 h 6066770"/>
              <a:gd name="connsiteX2" fmla="*/ 6364118 w 8005574"/>
              <a:gd name="connsiteY2" fmla="*/ 2942149 h 6066770"/>
              <a:gd name="connsiteX3" fmla="*/ 5060604 w 8005574"/>
              <a:gd name="connsiteY3" fmla="*/ 1640145 h 6066770"/>
              <a:gd name="connsiteX4" fmla="*/ 0 w 8005574"/>
              <a:gd name="connsiteY4" fmla="*/ 1640145 h 6066770"/>
              <a:gd name="connsiteX5" fmla="*/ 0 w 8005574"/>
              <a:gd name="connsiteY5" fmla="*/ 0 h 6066770"/>
              <a:gd name="connsiteX6" fmla="*/ 5066109 w 8005574"/>
              <a:gd name="connsiteY6" fmla="*/ 0 h 6066770"/>
              <a:gd name="connsiteX7" fmla="*/ 8005458 w 8005574"/>
              <a:gd name="connsiteY7" fmla="*/ 2942149 h 6066770"/>
              <a:gd name="connsiteX8" fmla="*/ 8005458 w 8005574"/>
              <a:gd name="connsiteY8" fmla="*/ 6066771 h 6066770"/>
              <a:gd name="connsiteX0" fmla="*/ 8005575 w 8005575"/>
              <a:gd name="connsiteY0" fmla="*/ 6066771 h 6066771"/>
              <a:gd name="connsiteX1" fmla="*/ 6364118 w 8005575"/>
              <a:gd name="connsiteY1" fmla="*/ 6066771 h 6066771"/>
              <a:gd name="connsiteX2" fmla="*/ 6364118 w 8005575"/>
              <a:gd name="connsiteY2" fmla="*/ 2942149 h 6066771"/>
              <a:gd name="connsiteX3" fmla="*/ 5060604 w 8005575"/>
              <a:gd name="connsiteY3" fmla="*/ 1640145 h 6066771"/>
              <a:gd name="connsiteX4" fmla="*/ 0 w 8005575"/>
              <a:gd name="connsiteY4" fmla="*/ 1640145 h 6066771"/>
              <a:gd name="connsiteX5" fmla="*/ 3108960 w 8005575"/>
              <a:gd name="connsiteY5" fmla="*/ 0 h 6066771"/>
              <a:gd name="connsiteX6" fmla="*/ 5066109 w 8005575"/>
              <a:gd name="connsiteY6" fmla="*/ 0 h 6066771"/>
              <a:gd name="connsiteX7" fmla="*/ 8005458 w 8005575"/>
              <a:gd name="connsiteY7" fmla="*/ 2942149 h 6066771"/>
              <a:gd name="connsiteX8" fmla="*/ 8005458 w 8005575"/>
              <a:gd name="connsiteY8" fmla="*/ 6066771 h 6066771"/>
              <a:gd name="connsiteX9" fmla="*/ 8005575 w 800557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677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042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1905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80740 w 4880740"/>
              <a:gd name="connsiteY0" fmla="*/ 6057246 h 6066771"/>
              <a:gd name="connsiteX1" fmla="*/ 3236108 w 4880740"/>
              <a:gd name="connsiteY1" fmla="*/ 6060421 h 6066771"/>
              <a:gd name="connsiteX2" fmla="*/ 3236108 w 4880740"/>
              <a:gd name="connsiteY2" fmla="*/ 2942149 h 6066771"/>
              <a:gd name="connsiteX3" fmla="*/ 1932594 w 4880740"/>
              <a:gd name="connsiteY3" fmla="*/ 1640145 h 6066771"/>
              <a:gd name="connsiteX4" fmla="*/ 0 w 4880740"/>
              <a:gd name="connsiteY4" fmla="*/ 1640145 h 6066771"/>
              <a:gd name="connsiteX5" fmla="*/ 0 w 4880740"/>
              <a:gd name="connsiteY5" fmla="*/ 0 h 6066771"/>
              <a:gd name="connsiteX6" fmla="*/ 1938099 w 4880740"/>
              <a:gd name="connsiteY6" fmla="*/ 0 h 6066771"/>
              <a:gd name="connsiteX7" fmla="*/ 4877448 w 4880740"/>
              <a:gd name="connsiteY7" fmla="*/ 2942149 h 6066771"/>
              <a:gd name="connsiteX8" fmla="*/ 4877448 w 4880740"/>
              <a:gd name="connsiteY8" fmla="*/ 6066771 h 6066771"/>
              <a:gd name="connsiteX9" fmla="*/ 4880740 w 4880740"/>
              <a:gd name="connsiteY9" fmla="*/ 6057246 h 6066771"/>
              <a:gd name="connsiteX0" fmla="*/ 4880740 w 4880740"/>
              <a:gd name="connsiteY0" fmla="*/ 605724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057246 h 6604431"/>
              <a:gd name="connsiteX0" fmla="*/ 4880740 w 4880740"/>
              <a:gd name="connsiteY0" fmla="*/ 660125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601256 h 66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80740" h="6604431">
                <a:moveTo>
                  <a:pt x="4880740" y="6601256"/>
                </a:moveTo>
                <a:lnTo>
                  <a:pt x="3236108" y="6604431"/>
                </a:lnTo>
                <a:lnTo>
                  <a:pt x="3236108" y="2942149"/>
                </a:lnTo>
                <a:cubicBezTo>
                  <a:pt x="3236108" y="2228997"/>
                  <a:pt x="2651354" y="1645061"/>
                  <a:pt x="1932594" y="1640145"/>
                </a:cubicBezTo>
                <a:lnTo>
                  <a:pt x="0" y="1640145"/>
                </a:lnTo>
                <a:lnTo>
                  <a:pt x="0" y="0"/>
                </a:lnTo>
                <a:lnTo>
                  <a:pt x="1938099" y="0"/>
                </a:lnTo>
                <a:cubicBezTo>
                  <a:pt x="3561401" y="11002"/>
                  <a:pt x="4877448" y="1330797"/>
                  <a:pt x="4877448" y="2942149"/>
                </a:cubicBezTo>
                <a:lnTo>
                  <a:pt x="4877448" y="6066771"/>
                </a:lnTo>
                <a:cubicBezTo>
                  <a:pt x="4878545" y="6244933"/>
                  <a:pt x="4879643" y="6423094"/>
                  <a:pt x="4880740" y="6601256"/>
                </a:cubicBezTo>
                <a:close/>
              </a:path>
            </a:pathLst>
          </a:custGeom>
          <a:solidFill>
            <a:srgbClr val="630BA8"/>
          </a:solidFill>
          <a:ln w="117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4968" y="3669773"/>
            <a:ext cx="8102206" cy="2700994"/>
          </a:xfrm>
        </p:spPr>
        <p:txBody>
          <a:bodyPr vert="horz" anchor="ctr"/>
          <a:lstStyle>
            <a:lvl1pPr algn="l" rt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50496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clus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01B758-C20A-6DF1-8E6F-E37BAF38E44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1074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01B758-C20A-6DF1-8E6F-E37BAF38E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raphic 12">
            <a:extLst>
              <a:ext uri="{FF2B5EF4-FFF2-40B4-BE49-F238E27FC236}">
                <a16:creationId xmlns:a16="http://schemas.microsoft.com/office/drawing/2014/main" id="{EFDAE510-DCC8-5B34-3B92-FD8A77DBC104}"/>
              </a:ext>
            </a:extLst>
          </p:cNvPr>
          <p:cNvSpPr/>
          <p:nvPr userDrawn="1"/>
        </p:nvSpPr>
        <p:spPr>
          <a:xfrm flipH="1">
            <a:off x="5928432" y="260350"/>
            <a:ext cx="6263568" cy="6604431"/>
          </a:xfrm>
          <a:custGeom>
            <a:avLst/>
            <a:gdLst>
              <a:gd name="connsiteX0" fmla="*/ 8005575 w 8005574"/>
              <a:gd name="connsiteY0" fmla="*/ 6066771 h 6066770"/>
              <a:gd name="connsiteX1" fmla="*/ 6364118 w 8005574"/>
              <a:gd name="connsiteY1" fmla="*/ 6066771 h 6066770"/>
              <a:gd name="connsiteX2" fmla="*/ 6364118 w 8005574"/>
              <a:gd name="connsiteY2" fmla="*/ 2942149 h 6066770"/>
              <a:gd name="connsiteX3" fmla="*/ 5060604 w 8005574"/>
              <a:gd name="connsiteY3" fmla="*/ 1640145 h 6066770"/>
              <a:gd name="connsiteX4" fmla="*/ 0 w 8005574"/>
              <a:gd name="connsiteY4" fmla="*/ 1640145 h 6066770"/>
              <a:gd name="connsiteX5" fmla="*/ 0 w 8005574"/>
              <a:gd name="connsiteY5" fmla="*/ 0 h 6066770"/>
              <a:gd name="connsiteX6" fmla="*/ 5066109 w 8005574"/>
              <a:gd name="connsiteY6" fmla="*/ 0 h 6066770"/>
              <a:gd name="connsiteX7" fmla="*/ 8005458 w 8005574"/>
              <a:gd name="connsiteY7" fmla="*/ 2942149 h 6066770"/>
              <a:gd name="connsiteX8" fmla="*/ 8005458 w 8005574"/>
              <a:gd name="connsiteY8" fmla="*/ 6066771 h 6066770"/>
              <a:gd name="connsiteX0" fmla="*/ 8005575 w 8005575"/>
              <a:gd name="connsiteY0" fmla="*/ 6066771 h 6066771"/>
              <a:gd name="connsiteX1" fmla="*/ 6364118 w 8005575"/>
              <a:gd name="connsiteY1" fmla="*/ 6066771 h 6066771"/>
              <a:gd name="connsiteX2" fmla="*/ 6364118 w 8005575"/>
              <a:gd name="connsiteY2" fmla="*/ 2942149 h 6066771"/>
              <a:gd name="connsiteX3" fmla="*/ 5060604 w 8005575"/>
              <a:gd name="connsiteY3" fmla="*/ 1640145 h 6066771"/>
              <a:gd name="connsiteX4" fmla="*/ 0 w 8005575"/>
              <a:gd name="connsiteY4" fmla="*/ 1640145 h 6066771"/>
              <a:gd name="connsiteX5" fmla="*/ 3108960 w 8005575"/>
              <a:gd name="connsiteY5" fmla="*/ 0 h 6066771"/>
              <a:gd name="connsiteX6" fmla="*/ 5066109 w 8005575"/>
              <a:gd name="connsiteY6" fmla="*/ 0 h 6066771"/>
              <a:gd name="connsiteX7" fmla="*/ 8005458 w 8005575"/>
              <a:gd name="connsiteY7" fmla="*/ 2942149 h 6066771"/>
              <a:gd name="connsiteX8" fmla="*/ 8005458 w 8005575"/>
              <a:gd name="connsiteY8" fmla="*/ 6066771 h 6066771"/>
              <a:gd name="connsiteX9" fmla="*/ 8005575 w 800557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677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042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1905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80740 w 4880740"/>
              <a:gd name="connsiteY0" fmla="*/ 6057246 h 6066771"/>
              <a:gd name="connsiteX1" fmla="*/ 3236108 w 4880740"/>
              <a:gd name="connsiteY1" fmla="*/ 6060421 h 6066771"/>
              <a:gd name="connsiteX2" fmla="*/ 3236108 w 4880740"/>
              <a:gd name="connsiteY2" fmla="*/ 2942149 h 6066771"/>
              <a:gd name="connsiteX3" fmla="*/ 1932594 w 4880740"/>
              <a:gd name="connsiteY3" fmla="*/ 1640145 h 6066771"/>
              <a:gd name="connsiteX4" fmla="*/ 0 w 4880740"/>
              <a:gd name="connsiteY4" fmla="*/ 1640145 h 6066771"/>
              <a:gd name="connsiteX5" fmla="*/ 0 w 4880740"/>
              <a:gd name="connsiteY5" fmla="*/ 0 h 6066771"/>
              <a:gd name="connsiteX6" fmla="*/ 1938099 w 4880740"/>
              <a:gd name="connsiteY6" fmla="*/ 0 h 6066771"/>
              <a:gd name="connsiteX7" fmla="*/ 4877448 w 4880740"/>
              <a:gd name="connsiteY7" fmla="*/ 2942149 h 6066771"/>
              <a:gd name="connsiteX8" fmla="*/ 4877448 w 4880740"/>
              <a:gd name="connsiteY8" fmla="*/ 6066771 h 6066771"/>
              <a:gd name="connsiteX9" fmla="*/ 4880740 w 4880740"/>
              <a:gd name="connsiteY9" fmla="*/ 6057246 h 6066771"/>
              <a:gd name="connsiteX0" fmla="*/ 4880740 w 4880740"/>
              <a:gd name="connsiteY0" fmla="*/ 605724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057246 h 6604431"/>
              <a:gd name="connsiteX0" fmla="*/ 4880740 w 4880740"/>
              <a:gd name="connsiteY0" fmla="*/ 660125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601256 h 66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80740" h="6604431">
                <a:moveTo>
                  <a:pt x="4880740" y="6601256"/>
                </a:moveTo>
                <a:lnTo>
                  <a:pt x="3236108" y="6604431"/>
                </a:lnTo>
                <a:lnTo>
                  <a:pt x="3236108" y="2942149"/>
                </a:lnTo>
                <a:cubicBezTo>
                  <a:pt x="3236108" y="2228997"/>
                  <a:pt x="2651354" y="1645061"/>
                  <a:pt x="1932594" y="1640145"/>
                </a:cubicBezTo>
                <a:lnTo>
                  <a:pt x="0" y="1640145"/>
                </a:lnTo>
                <a:lnTo>
                  <a:pt x="0" y="0"/>
                </a:lnTo>
                <a:lnTo>
                  <a:pt x="1938099" y="0"/>
                </a:lnTo>
                <a:cubicBezTo>
                  <a:pt x="3561401" y="11002"/>
                  <a:pt x="4877448" y="1330797"/>
                  <a:pt x="4877448" y="2942149"/>
                </a:cubicBezTo>
                <a:lnTo>
                  <a:pt x="4877448" y="6066771"/>
                </a:lnTo>
                <a:cubicBezTo>
                  <a:pt x="4878545" y="6244933"/>
                  <a:pt x="4879643" y="6423094"/>
                  <a:pt x="4880740" y="6601256"/>
                </a:cubicBezTo>
                <a:close/>
              </a:path>
            </a:pathLst>
          </a:custGeom>
          <a:solidFill>
            <a:srgbClr val="630BA8"/>
          </a:solidFill>
          <a:ln w="117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Graphic 13">
            <a:extLst>
              <a:ext uri="{FF2B5EF4-FFF2-40B4-BE49-F238E27FC236}">
                <a16:creationId xmlns:a16="http://schemas.microsoft.com/office/drawing/2014/main" id="{8368172D-BAAC-7720-F364-1A6885E37BD6}"/>
              </a:ext>
            </a:extLst>
          </p:cNvPr>
          <p:cNvSpPr/>
          <p:nvPr userDrawn="1"/>
        </p:nvSpPr>
        <p:spPr>
          <a:xfrm rot="5400000" flipH="1">
            <a:off x="398555" y="4728150"/>
            <a:ext cx="1738074" cy="2535185"/>
          </a:xfrm>
          <a:custGeom>
            <a:avLst/>
            <a:gdLst>
              <a:gd name="connsiteX0" fmla="*/ 4519015 w 4519015"/>
              <a:gd name="connsiteY0" fmla="*/ 3424593 h 3424592"/>
              <a:gd name="connsiteX1" fmla="*/ 3592440 w 4519015"/>
              <a:gd name="connsiteY1" fmla="*/ 3424593 h 3424592"/>
              <a:gd name="connsiteX2" fmla="*/ 3592440 w 4519015"/>
              <a:gd name="connsiteY2" fmla="*/ 1660795 h 3424592"/>
              <a:gd name="connsiteX3" fmla="*/ 2856628 w 4519015"/>
              <a:gd name="connsiteY3" fmla="*/ 925835 h 3424592"/>
              <a:gd name="connsiteX4" fmla="*/ 0 w 4519015"/>
              <a:gd name="connsiteY4" fmla="*/ 925835 h 3424592"/>
              <a:gd name="connsiteX5" fmla="*/ 0 w 4519015"/>
              <a:gd name="connsiteY5" fmla="*/ 0 h 3424592"/>
              <a:gd name="connsiteX6" fmla="*/ 2859735 w 4519015"/>
              <a:gd name="connsiteY6" fmla="*/ 0 h 3424592"/>
              <a:gd name="connsiteX7" fmla="*/ 4518949 w 4519015"/>
              <a:gd name="connsiteY7" fmla="*/ 1660795 h 3424592"/>
              <a:gd name="connsiteX8" fmla="*/ 4518949 w 4519015"/>
              <a:gd name="connsiteY8" fmla="*/ 3424593 h 3424592"/>
              <a:gd name="connsiteX0" fmla="*/ 4519015 w 4519015"/>
              <a:gd name="connsiteY0" fmla="*/ 3424593 h 3424593"/>
              <a:gd name="connsiteX1" fmla="*/ 3592440 w 4519015"/>
              <a:gd name="connsiteY1" fmla="*/ 3424593 h 3424593"/>
              <a:gd name="connsiteX2" fmla="*/ 3592440 w 4519015"/>
              <a:gd name="connsiteY2" fmla="*/ 1660795 h 3424593"/>
              <a:gd name="connsiteX3" fmla="*/ 2856628 w 4519015"/>
              <a:gd name="connsiteY3" fmla="*/ 925835 h 3424593"/>
              <a:gd name="connsiteX4" fmla="*/ 0 w 4519015"/>
              <a:gd name="connsiteY4" fmla="*/ 925835 h 3424593"/>
              <a:gd name="connsiteX5" fmla="*/ 2090057 w 4519015"/>
              <a:gd name="connsiteY5" fmla="*/ 0 h 3424593"/>
              <a:gd name="connsiteX6" fmla="*/ 2859735 w 4519015"/>
              <a:gd name="connsiteY6" fmla="*/ 0 h 3424593"/>
              <a:gd name="connsiteX7" fmla="*/ 4518949 w 4519015"/>
              <a:gd name="connsiteY7" fmla="*/ 1660795 h 3424593"/>
              <a:gd name="connsiteX8" fmla="*/ 4518949 w 4519015"/>
              <a:gd name="connsiteY8" fmla="*/ 3424593 h 3424593"/>
              <a:gd name="connsiteX9" fmla="*/ 4519015 w 4519015"/>
              <a:gd name="connsiteY9" fmla="*/ 3424593 h 3424593"/>
              <a:gd name="connsiteX0" fmla="*/ 2428958 w 2428958"/>
              <a:gd name="connsiteY0" fmla="*/ 3424593 h 3424593"/>
              <a:gd name="connsiteX1" fmla="*/ 1502383 w 2428958"/>
              <a:gd name="connsiteY1" fmla="*/ 3424593 h 3424593"/>
              <a:gd name="connsiteX2" fmla="*/ 1502383 w 2428958"/>
              <a:gd name="connsiteY2" fmla="*/ 1660795 h 3424593"/>
              <a:gd name="connsiteX3" fmla="*/ 766571 w 2428958"/>
              <a:gd name="connsiteY3" fmla="*/ 925835 h 3424593"/>
              <a:gd name="connsiteX4" fmla="*/ 14514 w 2428958"/>
              <a:gd name="connsiteY4" fmla="*/ 918578 h 3424593"/>
              <a:gd name="connsiteX5" fmla="*/ 0 w 2428958"/>
              <a:gd name="connsiteY5" fmla="*/ 0 h 3424593"/>
              <a:gd name="connsiteX6" fmla="*/ 769678 w 2428958"/>
              <a:gd name="connsiteY6" fmla="*/ 0 h 3424593"/>
              <a:gd name="connsiteX7" fmla="*/ 2428892 w 2428958"/>
              <a:gd name="connsiteY7" fmla="*/ 1660795 h 3424593"/>
              <a:gd name="connsiteX8" fmla="*/ 2428892 w 2428958"/>
              <a:gd name="connsiteY8" fmla="*/ 3424593 h 3424593"/>
              <a:gd name="connsiteX9" fmla="*/ 2428958 w 2428958"/>
              <a:gd name="connsiteY9" fmla="*/ 3424593 h 3424593"/>
              <a:gd name="connsiteX0" fmla="*/ 2414444 w 2414444"/>
              <a:gd name="connsiteY0" fmla="*/ 3424593 h 3424593"/>
              <a:gd name="connsiteX1" fmla="*/ 1487869 w 2414444"/>
              <a:gd name="connsiteY1" fmla="*/ 3424593 h 3424593"/>
              <a:gd name="connsiteX2" fmla="*/ 1487869 w 2414444"/>
              <a:gd name="connsiteY2" fmla="*/ 1660795 h 3424593"/>
              <a:gd name="connsiteX3" fmla="*/ 752057 w 2414444"/>
              <a:gd name="connsiteY3" fmla="*/ 925835 h 3424593"/>
              <a:gd name="connsiteX4" fmla="*/ 0 w 2414444"/>
              <a:gd name="connsiteY4" fmla="*/ 918578 h 3424593"/>
              <a:gd name="connsiteX5" fmla="*/ 4536 w 2414444"/>
              <a:gd name="connsiteY5" fmla="*/ 0 h 3424593"/>
              <a:gd name="connsiteX6" fmla="*/ 755164 w 2414444"/>
              <a:gd name="connsiteY6" fmla="*/ 0 h 3424593"/>
              <a:gd name="connsiteX7" fmla="*/ 2414378 w 2414444"/>
              <a:gd name="connsiteY7" fmla="*/ 1660795 h 3424593"/>
              <a:gd name="connsiteX8" fmla="*/ 2414378 w 2414444"/>
              <a:gd name="connsiteY8" fmla="*/ 3424593 h 3424593"/>
              <a:gd name="connsiteX9" fmla="*/ 2414444 w 2414444"/>
              <a:gd name="connsiteY9" fmla="*/ 3424593 h 3424593"/>
              <a:gd name="connsiteX0" fmla="*/ 2411269 w 2411269"/>
              <a:gd name="connsiteY0" fmla="*/ 3424593 h 3424593"/>
              <a:gd name="connsiteX1" fmla="*/ 1484694 w 2411269"/>
              <a:gd name="connsiteY1" fmla="*/ 3424593 h 3424593"/>
              <a:gd name="connsiteX2" fmla="*/ 1484694 w 2411269"/>
              <a:gd name="connsiteY2" fmla="*/ 1660795 h 3424593"/>
              <a:gd name="connsiteX3" fmla="*/ 748882 w 2411269"/>
              <a:gd name="connsiteY3" fmla="*/ 925835 h 3424593"/>
              <a:gd name="connsiteX4" fmla="*/ 0 w 2411269"/>
              <a:gd name="connsiteY4" fmla="*/ 918578 h 3424593"/>
              <a:gd name="connsiteX5" fmla="*/ 1361 w 2411269"/>
              <a:gd name="connsiteY5" fmla="*/ 0 h 3424593"/>
              <a:gd name="connsiteX6" fmla="*/ 751989 w 2411269"/>
              <a:gd name="connsiteY6" fmla="*/ 0 h 3424593"/>
              <a:gd name="connsiteX7" fmla="*/ 2411203 w 2411269"/>
              <a:gd name="connsiteY7" fmla="*/ 1660795 h 3424593"/>
              <a:gd name="connsiteX8" fmla="*/ 2411203 w 2411269"/>
              <a:gd name="connsiteY8" fmla="*/ 3424593 h 3424593"/>
              <a:gd name="connsiteX9" fmla="*/ 2411269 w 2411269"/>
              <a:gd name="connsiteY9" fmla="*/ 3424593 h 342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11269" h="3424593">
                <a:moveTo>
                  <a:pt x="2411269" y="3424593"/>
                </a:moveTo>
                <a:lnTo>
                  <a:pt x="1484694" y="3424593"/>
                </a:lnTo>
                <a:lnTo>
                  <a:pt x="1484694" y="1660795"/>
                </a:lnTo>
                <a:cubicBezTo>
                  <a:pt x="1484694" y="1258232"/>
                  <a:pt x="1154610" y="928610"/>
                  <a:pt x="748882" y="925835"/>
                </a:cubicBezTo>
                <a:lnTo>
                  <a:pt x="0" y="918578"/>
                </a:lnTo>
                <a:cubicBezTo>
                  <a:pt x="454" y="612385"/>
                  <a:pt x="907" y="306193"/>
                  <a:pt x="1361" y="0"/>
                </a:cubicBezTo>
                <a:lnTo>
                  <a:pt x="751989" y="0"/>
                </a:lnTo>
                <a:cubicBezTo>
                  <a:pt x="1668316" y="6211"/>
                  <a:pt x="2411203" y="751213"/>
                  <a:pt x="2411203" y="1660795"/>
                </a:cubicBezTo>
                <a:lnTo>
                  <a:pt x="2411203" y="3424593"/>
                </a:lnTo>
                <a:lnTo>
                  <a:pt x="2411269" y="3424593"/>
                </a:lnTo>
                <a:close/>
              </a:path>
            </a:pathLst>
          </a:custGeom>
          <a:solidFill>
            <a:schemeClr val="accent3"/>
          </a:solidFill>
          <a:ln w="66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2404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clusion 1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70CC89B8-723E-BB3E-EE2D-F8C1F75CC53D}"/>
              </a:ext>
            </a:extLst>
          </p:cNvPr>
          <p:cNvGrpSpPr/>
          <p:nvPr userDrawn="1"/>
        </p:nvGrpSpPr>
        <p:grpSpPr>
          <a:xfrm>
            <a:off x="684542" y="260349"/>
            <a:ext cx="6012241" cy="2700993"/>
            <a:chOff x="1753986" y="2707575"/>
            <a:chExt cx="6648078" cy="2986643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A135C65-64D0-DCA7-E95C-2225009331C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CE4C5F93-AE05-D28C-745C-316461C42EF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0AA3D2DB-4827-826F-882E-BF103413223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  <p:sp>
        <p:nvSpPr>
          <p:cNvPr id="9" name="Graphic 12">
            <a:extLst>
              <a:ext uri="{FF2B5EF4-FFF2-40B4-BE49-F238E27FC236}">
                <a16:creationId xmlns:a16="http://schemas.microsoft.com/office/drawing/2014/main" id="{EFDAE510-DCC8-5B34-3B92-FD8A77DBC104}"/>
              </a:ext>
            </a:extLst>
          </p:cNvPr>
          <p:cNvSpPr/>
          <p:nvPr userDrawn="1"/>
        </p:nvSpPr>
        <p:spPr>
          <a:xfrm flipH="1">
            <a:off x="7311260" y="260350"/>
            <a:ext cx="4880740" cy="6604431"/>
          </a:xfrm>
          <a:custGeom>
            <a:avLst/>
            <a:gdLst>
              <a:gd name="connsiteX0" fmla="*/ 8005575 w 8005574"/>
              <a:gd name="connsiteY0" fmla="*/ 6066771 h 6066770"/>
              <a:gd name="connsiteX1" fmla="*/ 6364118 w 8005574"/>
              <a:gd name="connsiteY1" fmla="*/ 6066771 h 6066770"/>
              <a:gd name="connsiteX2" fmla="*/ 6364118 w 8005574"/>
              <a:gd name="connsiteY2" fmla="*/ 2942149 h 6066770"/>
              <a:gd name="connsiteX3" fmla="*/ 5060604 w 8005574"/>
              <a:gd name="connsiteY3" fmla="*/ 1640145 h 6066770"/>
              <a:gd name="connsiteX4" fmla="*/ 0 w 8005574"/>
              <a:gd name="connsiteY4" fmla="*/ 1640145 h 6066770"/>
              <a:gd name="connsiteX5" fmla="*/ 0 w 8005574"/>
              <a:gd name="connsiteY5" fmla="*/ 0 h 6066770"/>
              <a:gd name="connsiteX6" fmla="*/ 5066109 w 8005574"/>
              <a:gd name="connsiteY6" fmla="*/ 0 h 6066770"/>
              <a:gd name="connsiteX7" fmla="*/ 8005458 w 8005574"/>
              <a:gd name="connsiteY7" fmla="*/ 2942149 h 6066770"/>
              <a:gd name="connsiteX8" fmla="*/ 8005458 w 8005574"/>
              <a:gd name="connsiteY8" fmla="*/ 6066771 h 6066770"/>
              <a:gd name="connsiteX0" fmla="*/ 8005575 w 8005575"/>
              <a:gd name="connsiteY0" fmla="*/ 6066771 h 6066771"/>
              <a:gd name="connsiteX1" fmla="*/ 6364118 w 8005575"/>
              <a:gd name="connsiteY1" fmla="*/ 6066771 h 6066771"/>
              <a:gd name="connsiteX2" fmla="*/ 6364118 w 8005575"/>
              <a:gd name="connsiteY2" fmla="*/ 2942149 h 6066771"/>
              <a:gd name="connsiteX3" fmla="*/ 5060604 w 8005575"/>
              <a:gd name="connsiteY3" fmla="*/ 1640145 h 6066771"/>
              <a:gd name="connsiteX4" fmla="*/ 0 w 8005575"/>
              <a:gd name="connsiteY4" fmla="*/ 1640145 h 6066771"/>
              <a:gd name="connsiteX5" fmla="*/ 3108960 w 8005575"/>
              <a:gd name="connsiteY5" fmla="*/ 0 h 6066771"/>
              <a:gd name="connsiteX6" fmla="*/ 5066109 w 8005575"/>
              <a:gd name="connsiteY6" fmla="*/ 0 h 6066771"/>
              <a:gd name="connsiteX7" fmla="*/ 8005458 w 8005575"/>
              <a:gd name="connsiteY7" fmla="*/ 2942149 h 6066771"/>
              <a:gd name="connsiteX8" fmla="*/ 8005458 w 8005575"/>
              <a:gd name="connsiteY8" fmla="*/ 6066771 h 6066771"/>
              <a:gd name="connsiteX9" fmla="*/ 8005575 w 800557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677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6615 w 4896615"/>
              <a:gd name="connsiteY0" fmla="*/ 6066771 h 6066771"/>
              <a:gd name="connsiteX1" fmla="*/ 3255158 w 4896615"/>
              <a:gd name="connsiteY1" fmla="*/ 6060421 h 6066771"/>
              <a:gd name="connsiteX2" fmla="*/ 3255158 w 4896615"/>
              <a:gd name="connsiteY2" fmla="*/ 2942149 h 6066771"/>
              <a:gd name="connsiteX3" fmla="*/ 1951644 w 4896615"/>
              <a:gd name="connsiteY3" fmla="*/ 1640145 h 6066771"/>
              <a:gd name="connsiteX4" fmla="*/ 0 w 4896615"/>
              <a:gd name="connsiteY4" fmla="*/ 1640145 h 6066771"/>
              <a:gd name="connsiteX5" fmla="*/ 0 w 4896615"/>
              <a:gd name="connsiteY5" fmla="*/ 0 h 6066771"/>
              <a:gd name="connsiteX6" fmla="*/ 1957149 w 4896615"/>
              <a:gd name="connsiteY6" fmla="*/ 0 h 6066771"/>
              <a:gd name="connsiteX7" fmla="*/ 4896498 w 4896615"/>
              <a:gd name="connsiteY7" fmla="*/ 2942149 h 6066771"/>
              <a:gd name="connsiteX8" fmla="*/ 4896498 w 4896615"/>
              <a:gd name="connsiteY8" fmla="*/ 6066771 h 6066771"/>
              <a:gd name="connsiteX9" fmla="*/ 4896615 w 4896615"/>
              <a:gd name="connsiteY9" fmla="*/ 6066771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99790 w 4899790"/>
              <a:gd name="connsiteY0" fmla="*/ 6057246 h 6066771"/>
              <a:gd name="connsiteX1" fmla="*/ 3255158 w 4899790"/>
              <a:gd name="connsiteY1" fmla="*/ 6060421 h 6066771"/>
              <a:gd name="connsiteX2" fmla="*/ 3255158 w 4899790"/>
              <a:gd name="connsiteY2" fmla="*/ 2942149 h 6066771"/>
              <a:gd name="connsiteX3" fmla="*/ 1951644 w 4899790"/>
              <a:gd name="connsiteY3" fmla="*/ 1640145 h 6066771"/>
              <a:gd name="connsiteX4" fmla="*/ 0 w 4899790"/>
              <a:gd name="connsiteY4" fmla="*/ 1640145 h 6066771"/>
              <a:gd name="connsiteX5" fmla="*/ 19050 w 4899790"/>
              <a:gd name="connsiteY5" fmla="*/ 0 h 6066771"/>
              <a:gd name="connsiteX6" fmla="*/ 1957149 w 4899790"/>
              <a:gd name="connsiteY6" fmla="*/ 0 h 6066771"/>
              <a:gd name="connsiteX7" fmla="*/ 4896498 w 4899790"/>
              <a:gd name="connsiteY7" fmla="*/ 2942149 h 6066771"/>
              <a:gd name="connsiteX8" fmla="*/ 4896498 w 4899790"/>
              <a:gd name="connsiteY8" fmla="*/ 6066771 h 6066771"/>
              <a:gd name="connsiteX9" fmla="*/ 4899790 w 4899790"/>
              <a:gd name="connsiteY9" fmla="*/ 6057246 h 6066771"/>
              <a:gd name="connsiteX0" fmla="*/ 4880740 w 4880740"/>
              <a:gd name="connsiteY0" fmla="*/ 6057246 h 6066771"/>
              <a:gd name="connsiteX1" fmla="*/ 3236108 w 4880740"/>
              <a:gd name="connsiteY1" fmla="*/ 6060421 h 6066771"/>
              <a:gd name="connsiteX2" fmla="*/ 3236108 w 4880740"/>
              <a:gd name="connsiteY2" fmla="*/ 2942149 h 6066771"/>
              <a:gd name="connsiteX3" fmla="*/ 1932594 w 4880740"/>
              <a:gd name="connsiteY3" fmla="*/ 1640145 h 6066771"/>
              <a:gd name="connsiteX4" fmla="*/ 0 w 4880740"/>
              <a:gd name="connsiteY4" fmla="*/ 1640145 h 6066771"/>
              <a:gd name="connsiteX5" fmla="*/ 0 w 4880740"/>
              <a:gd name="connsiteY5" fmla="*/ 0 h 6066771"/>
              <a:gd name="connsiteX6" fmla="*/ 1938099 w 4880740"/>
              <a:gd name="connsiteY6" fmla="*/ 0 h 6066771"/>
              <a:gd name="connsiteX7" fmla="*/ 4877448 w 4880740"/>
              <a:gd name="connsiteY7" fmla="*/ 2942149 h 6066771"/>
              <a:gd name="connsiteX8" fmla="*/ 4877448 w 4880740"/>
              <a:gd name="connsiteY8" fmla="*/ 6066771 h 6066771"/>
              <a:gd name="connsiteX9" fmla="*/ 4880740 w 4880740"/>
              <a:gd name="connsiteY9" fmla="*/ 6057246 h 6066771"/>
              <a:gd name="connsiteX0" fmla="*/ 4880740 w 4880740"/>
              <a:gd name="connsiteY0" fmla="*/ 605724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057246 h 6604431"/>
              <a:gd name="connsiteX0" fmla="*/ 4880740 w 4880740"/>
              <a:gd name="connsiteY0" fmla="*/ 6601256 h 6604431"/>
              <a:gd name="connsiteX1" fmla="*/ 3236108 w 4880740"/>
              <a:gd name="connsiteY1" fmla="*/ 6604431 h 6604431"/>
              <a:gd name="connsiteX2" fmla="*/ 3236108 w 4880740"/>
              <a:gd name="connsiteY2" fmla="*/ 2942149 h 6604431"/>
              <a:gd name="connsiteX3" fmla="*/ 1932594 w 4880740"/>
              <a:gd name="connsiteY3" fmla="*/ 1640145 h 6604431"/>
              <a:gd name="connsiteX4" fmla="*/ 0 w 4880740"/>
              <a:gd name="connsiteY4" fmla="*/ 1640145 h 6604431"/>
              <a:gd name="connsiteX5" fmla="*/ 0 w 4880740"/>
              <a:gd name="connsiteY5" fmla="*/ 0 h 6604431"/>
              <a:gd name="connsiteX6" fmla="*/ 1938099 w 4880740"/>
              <a:gd name="connsiteY6" fmla="*/ 0 h 6604431"/>
              <a:gd name="connsiteX7" fmla="*/ 4877448 w 4880740"/>
              <a:gd name="connsiteY7" fmla="*/ 2942149 h 6604431"/>
              <a:gd name="connsiteX8" fmla="*/ 4877448 w 4880740"/>
              <a:gd name="connsiteY8" fmla="*/ 6066771 h 6604431"/>
              <a:gd name="connsiteX9" fmla="*/ 4880740 w 4880740"/>
              <a:gd name="connsiteY9" fmla="*/ 6601256 h 66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80740" h="6604431">
                <a:moveTo>
                  <a:pt x="4880740" y="6601256"/>
                </a:moveTo>
                <a:lnTo>
                  <a:pt x="3236108" y="6604431"/>
                </a:lnTo>
                <a:lnTo>
                  <a:pt x="3236108" y="2942149"/>
                </a:lnTo>
                <a:cubicBezTo>
                  <a:pt x="3236108" y="2228997"/>
                  <a:pt x="2651354" y="1645061"/>
                  <a:pt x="1932594" y="1640145"/>
                </a:cubicBezTo>
                <a:lnTo>
                  <a:pt x="0" y="1640145"/>
                </a:lnTo>
                <a:lnTo>
                  <a:pt x="0" y="0"/>
                </a:lnTo>
                <a:lnTo>
                  <a:pt x="1938099" y="0"/>
                </a:lnTo>
                <a:cubicBezTo>
                  <a:pt x="3561401" y="11002"/>
                  <a:pt x="4877448" y="1330797"/>
                  <a:pt x="4877448" y="2942149"/>
                </a:cubicBezTo>
                <a:lnTo>
                  <a:pt x="4877448" y="6066771"/>
                </a:lnTo>
                <a:cubicBezTo>
                  <a:pt x="4878545" y="6244933"/>
                  <a:pt x="4879643" y="6423094"/>
                  <a:pt x="4880740" y="6601256"/>
                </a:cubicBezTo>
                <a:close/>
              </a:path>
            </a:pathLst>
          </a:custGeom>
          <a:solidFill>
            <a:schemeClr val="tx2">
              <a:alpha val="15000"/>
            </a:schemeClr>
          </a:solidFill>
          <a:ln w="117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01B758-C20A-6DF1-8E6F-E37BAF38E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545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01B758-C20A-6DF1-8E6F-E37BAF38E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Graphic 13">
            <a:extLst>
              <a:ext uri="{FF2B5EF4-FFF2-40B4-BE49-F238E27FC236}">
                <a16:creationId xmlns:a16="http://schemas.microsoft.com/office/drawing/2014/main" id="{8368172D-BAAC-7720-F364-1A6885E37BD6}"/>
              </a:ext>
            </a:extLst>
          </p:cNvPr>
          <p:cNvSpPr/>
          <p:nvPr userDrawn="1"/>
        </p:nvSpPr>
        <p:spPr>
          <a:xfrm rot="5400000" flipH="1">
            <a:off x="506662" y="3946850"/>
            <a:ext cx="2411269" cy="3424593"/>
          </a:xfrm>
          <a:custGeom>
            <a:avLst/>
            <a:gdLst>
              <a:gd name="connsiteX0" fmla="*/ 4519015 w 4519015"/>
              <a:gd name="connsiteY0" fmla="*/ 3424593 h 3424592"/>
              <a:gd name="connsiteX1" fmla="*/ 3592440 w 4519015"/>
              <a:gd name="connsiteY1" fmla="*/ 3424593 h 3424592"/>
              <a:gd name="connsiteX2" fmla="*/ 3592440 w 4519015"/>
              <a:gd name="connsiteY2" fmla="*/ 1660795 h 3424592"/>
              <a:gd name="connsiteX3" fmla="*/ 2856628 w 4519015"/>
              <a:gd name="connsiteY3" fmla="*/ 925835 h 3424592"/>
              <a:gd name="connsiteX4" fmla="*/ 0 w 4519015"/>
              <a:gd name="connsiteY4" fmla="*/ 925835 h 3424592"/>
              <a:gd name="connsiteX5" fmla="*/ 0 w 4519015"/>
              <a:gd name="connsiteY5" fmla="*/ 0 h 3424592"/>
              <a:gd name="connsiteX6" fmla="*/ 2859735 w 4519015"/>
              <a:gd name="connsiteY6" fmla="*/ 0 h 3424592"/>
              <a:gd name="connsiteX7" fmla="*/ 4518949 w 4519015"/>
              <a:gd name="connsiteY7" fmla="*/ 1660795 h 3424592"/>
              <a:gd name="connsiteX8" fmla="*/ 4518949 w 4519015"/>
              <a:gd name="connsiteY8" fmla="*/ 3424593 h 3424592"/>
              <a:gd name="connsiteX0" fmla="*/ 4519015 w 4519015"/>
              <a:gd name="connsiteY0" fmla="*/ 3424593 h 3424593"/>
              <a:gd name="connsiteX1" fmla="*/ 3592440 w 4519015"/>
              <a:gd name="connsiteY1" fmla="*/ 3424593 h 3424593"/>
              <a:gd name="connsiteX2" fmla="*/ 3592440 w 4519015"/>
              <a:gd name="connsiteY2" fmla="*/ 1660795 h 3424593"/>
              <a:gd name="connsiteX3" fmla="*/ 2856628 w 4519015"/>
              <a:gd name="connsiteY3" fmla="*/ 925835 h 3424593"/>
              <a:gd name="connsiteX4" fmla="*/ 0 w 4519015"/>
              <a:gd name="connsiteY4" fmla="*/ 925835 h 3424593"/>
              <a:gd name="connsiteX5" fmla="*/ 2090057 w 4519015"/>
              <a:gd name="connsiteY5" fmla="*/ 0 h 3424593"/>
              <a:gd name="connsiteX6" fmla="*/ 2859735 w 4519015"/>
              <a:gd name="connsiteY6" fmla="*/ 0 h 3424593"/>
              <a:gd name="connsiteX7" fmla="*/ 4518949 w 4519015"/>
              <a:gd name="connsiteY7" fmla="*/ 1660795 h 3424593"/>
              <a:gd name="connsiteX8" fmla="*/ 4518949 w 4519015"/>
              <a:gd name="connsiteY8" fmla="*/ 3424593 h 3424593"/>
              <a:gd name="connsiteX9" fmla="*/ 4519015 w 4519015"/>
              <a:gd name="connsiteY9" fmla="*/ 3424593 h 3424593"/>
              <a:gd name="connsiteX0" fmla="*/ 2428958 w 2428958"/>
              <a:gd name="connsiteY0" fmla="*/ 3424593 h 3424593"/>
              <a:gd name="connsiteX1" fmla="*/ 1502383 w 2428958"/>
              <a:gd name="connsiteY1" fmla="*/ 3424593 h 3424593"/>
              <a:gd name="connsiteX2" fmla="*/ 1502383 w 2428958"/>
              <a:gd name="connsiteY2" fmla="*/ 1660795 h 3424593"/>
              <a:gd name="connsiteX3" fmla="*/ 766571 w 2428958"/>
              <a:gd name="connsiteY3" fmla="*/ 925835 h 3424593"/>
              <a:gd name="connsiteX4" fmla="*/ 14514 w 2428958"/>
              <a:gd name="connsiteY4" fmla="*/ 918578 h 3424593"/>
              <a:gd name="connsiteX5" fmla="*/ 0 w 2428958"/>
              <a:gd name="connsiteY5" fmla="*/ 0 h 3424593"/>
              <a:gd name="connsiteX6" fmla="*/ 769678 w 2428958"/>
              <a:gd name="connsiteY6" fmla="*/ 0 h 3424593"/>
              <a:gd name="connsiteX7" fmla="*/ 2428892 w 2428958"/>
              <a:gd name="connsiteY7" fmla="*/ 1660795 h 3424593"/>
              <a:gd name="connsiteX8" fmla="*/ 2428892 w 2428958"/>
              <a:gd name="connsiteY8" fmla="*/ 3424593 h 3424593"/>
              <a:gd name="connsiteX9" fmla="*/ 2428958 w 2428958"/>
              <a:gd name="connsiteY9" fmla="*/ 3424593 h 3424593"/>
              <a:gd name="connsiteX0" fmla="*/ 2414444 w 2414444"/>
              <a:gd name="connsiteY0" fmla="*/ 3424593 h 3424593"/>
              <a:gd name="connsiteX1" fmla="*/ 1487869 w 2414444"/>
              <a:gd name="connsiteY1" fmla="*/ 3424593 h 3424593"/>
              <a:gd name="connsiteX2" fmla="*/ 1487869 w 2414444"/>
              <a:gd name="connsiteY2" fmla="*/ 1660795 h 3424593"/>
              <a:gd name="connsiteX3" fmla="*/ 752057 w 2414444"/>
              <a:gd name="connsiteY3" fmla="*/ 925835 h 3424593"/>
              <a:gd name="connsiteX4" fmla="*/ 0 w 2414444"/>
              <a:gd name="connsiteY4" fmla="*/ 918578 h 3424593"/>
              <a:gd name="connsiteX5" fmla="*/ 4536 w 2414444"/>
              <a:gd name="connsiteY5" fmla="*/ 0 h 3424593"/>
              <a:gd name="connsiteX6" fmla="*/ 755164 w 2414444"/>
              <a:gd name="connsiteY6" fmla="*/ 0 h 3424593"/>
              <a:gd name="connsiteX7" fmla="*/ 2414378 w 2414444"/>
              <a:gd name="connsiteY7" fmla="*/ 1660795 h 3424593"/>
              <a:gd name="connsiteX8" fmla="*/ 2414378 w 2414444"/>
              <a:gd name="connsiteY8" fmla="*/ 3424593 h 3424593"/>
              <a:gd name="connsiteX9" fmla="*/ 2414444 w 2414444"/>
              <a:gd name="connsiteY9" fmla="*/ 3424593 h 3424593"/>
              <a:gd name="connsiteX0" fmla="*/ 2411269 w 2411269"/>
              <a:gd name="connsiteY0" fmla="*/ 3424593 h 3424593"/>
              <a:gd name="connsiteX1" fmla="*/ 1484694 w 2411269"/>
              <a:gd name="connsiteY1" fmla="*/ 3424593 h 3424593"/>
              <a:gd name="connsiteX2" fmla="*/ 1484694 w 2411269"/>
              <a:gd name="connsiteY2" fmla="*/ 1660795 h 3424593"/>
              <a:gd name="connsiteX3" fmla="*/ 748882 w 2411269"/>
              <a:gd name="connsiteY3" fmla="*/ 925835 h 3424593"/>
              <a:gd name="connsiteX4" fmla="*/ 0 w 2411269"/>
              <a:gd name="connsiteY4" fmla="*/ 918578 h 3424593"/>
              <a:gd name="connsiteX5" fmla="*/ 1361 w 2411269"/>
              <a:gd name="connsiteY5" fmla="*/ 0 h 3424593"/>
              <a:gd name="connsiteX6" fmla="*/ 751989 w 2411269"/>
              <a:gd name="connsiteY6" fmla="*/ 0 h 3424593"/>
              <a:gd name="connsiteX7" fmla="*/ 2411203 w 2411269"/>
              <a:gd name="connsiteY7" fmla="*/ 1660795 h 3424593"/>
              <a:gd name="connsiteX8" fmla="*/ 2411203 w 2411269"/>
              <a:gd name="connsiteY8" fmla="*/ 3424593 h 3424593"/>
              <a:gd name="connsiteX9" fmla="*/ 2411269 w 2411269"/>
              <a:gd name="connsiteY9" fmla="*/ 3424593 h 342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11269" h="3424593">
                <a:moveTo>
                  <a:pt x="2411269" y="3424593"/>
                </a:moveTo>
                <a:lnTo>
                  <a:pt x="1484694" y="3424593"/>
                </a:lnTo>
                <a:lnTo>
                  <a:pt x="1484694" y="1660795"/>
                </a:lnTo>
                <a:cubicBezTo>
                  <a:pt x="1484694" y="1258232"/>
                  <a:pt x="1154610" y="928610"/>
                  <a:pt x="748882" y="925835"/>
                </a:cubicBezTo>
                <a:lnTo>
                  <a:pt x="0" y="918578"/>
                </a:lnTo>
                <a:cubicBezTo>
                  <a:pt x="454" y="612385"/>
                  <a:pt x="907" y="306193"/>
                  <a:pt x="1361" y="0"/>
                </a:cubicBezTo>
                <a:lnTo>
                  <a:pt x="751989" y="0"/>
                </a:lnTo>
                <a:cubicBezTo>
                  <a:pt x="1668316" y="6211"/>
                  <a:pt x="2411203" y="751213"/>
                  <a:pt x="2411203" y="1660795"/>
                </a:cubicBezTo>
                <a:lnTo>
                  <a:pt x="2411203" y="3424593"/>
                </a:lnTo>
                <a:lnTo>
                  <a:pt x="2411269" y="3424593"/>
                </a:lnTo>
                <a:close/>
              </a:path>
            </a:pathLst>
          </a:custGeom>
          <a:solidFill>
            <a:schemeClr val="accent3">
              <a:alpha val="20000"/>
            </a:schemeClr>
          </a:solidFill>
          <a:ln w="66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4968" y="3669773"/>
            <a:ext cx="8102206" cy="2700994"/>
          </a:xfrm>
        </p:spPr>
        <p:txBody>
          <a:bodyPr vert="horz" anchor="ctr"/>
          <a:lstStyle>
            <a:lvl1pPr algn="l" rt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5281996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E452EC-47D2-602A-2955-0982EED18C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6615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E452EC-47D2-602A-2955-0982EED18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ast overskrift"/>
          <p:cNvSpPr txBox="1">
            <a:spLocks/>
          </p:cNvSpPr>
          <p:nvPr userDrawn="1"/>
        </p:nvSpPr>
        <p:spPr>
          <a:xfrm>
            <a:off x="503237" y="828000"/>
            <a:ext cx="11183936" cy="5040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algn="l" rtl="0">
              <a:lnSpc>
                <a:spcPct val="83000"/>
              </a:lnSpc>
            </a:pPr>
            <a:r>
              <a:rPr lang="en-GB" sz="3600" b="1" i="0" u="none" strike="noStrike" noProof="1">
                <a:solidFill>
                  <a:schemeClr val="tx1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3238" y="1901190"/>
            <a:ext cx="2484514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tx2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Text styles</a:t>
            </a:r>
            <a:endParaRPr lang="en-GB" altLang="da-DK" sz="1600" b="1" noProof="1">
              <a:solidFill>
                <a:schemeClr val="tx2"/>
              </a:solidFill>
              <a:latin typeface="Oscine" panose="020B0506040202020204" pitchFamily="34" charset="0"/>
              <a:ea typeface="Inter Italic" panose="02000503000000020004" pitchFamily="2" charset="0"/>
              <a:cs typeface="Oscine" panose="020B050604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o switch from one level to the next level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SHIFT+TAB</a:t>
            </a:r>
            <a:endParaRPr lang="en-GB" sz="900" b="1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r>
              <a:rPr lang="en-GB" sz="1600" b="1">
                <a:solidFill>
                  <a:schemeClr val="tx2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marL="0" indent="0" rtl="0">
              <a:spcAft>
                <a:spcPts val="600"/>
              </a:spcAft>
              <a:buFont typeface="+mj-lt"/>
              <a:buNone/>
            </a:pPr>
            <a:r>
              <a:rPr lang="en-GB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</a:rPr>
              <a:t>Click on the arrow next to </a:t>
            </a:r>
            <a:r>
              <a:rPr lang="en-GB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</a:rPr>
              <a:t>Layout</a:t>
            </a:r>
            <a:br>
              <a:rPr lang="en-GB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</a:rPr>
            </a:br>
            <a:r>
              <a:rPr lang="en-GB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</a:rPr>
              <a:t>to view a dropdown menu of possible slide layouts</a:t>
            </a: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4825" y="1910541"/>
            <a:ext cx="2411725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Home</a:t>
            </a:r>
            <a:r>
              <a:rPr lang="en-GB" altLang="da-DK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ab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Reset</a:t>
            </a:r>
            <a:r>
              <a:rPr lang="en-GB" altLang="da-DK" sz="90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menu to reset position, size and formatting of the slide placeholders to their default settings</a:t>
            </a:r>
            <a:endParaRPr lang="en-GB" altLang="da-DK" sz="900" baseline="0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endParaRPr lang="en-GB" sz="900" b="1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tx2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Pictures</a:t>
            </a:r>
            <a:endParaRPr lang="en-GB" sz="1600" b="1" noProof="1">
              <a:solidFill>
                <a:schemeClr val="tx2"/>
              </a:solidFill>
              <a:latin typeface="Oscine" panose="020B0506040202020204" pitchFamily="34" charset="0"/>
              <a:ea typeface="Inter Italic" panose="02000503000000020004" pitchFamily="2" charset="0"/>
              <a:cs typeface="Oscine" panose="020B050604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to browse for picture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52379"/>
                </a:solidFill>
                <a:effectLst/>
                <a:uLnTx/>
                <a:uFillTx/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Colours</a:t>
            </a:r>
            <a:endParaRPr kumimoji="0" lang="en-GB" sz="1600" b="1" i="0" u="none" strike="noStrike" kern="1200" cap="none" spc="0" normalizeH="0" baseline="0" noProof="1">
              <a:ln>
                <a:noFill/>
              </a:ln>
              <a:solidFill>
                <a:srgbClr val="052379"/>
              </a:solidFill>
              <a:effectLst/>
              <a:uLnTx/>
              <a:uFillTx/>
              <a:latin typeface="Oscine" panose="020B0506040202020204" pitchFamily="34" charset="0"/>
              <a:ea typeface="Inter Italic" panose="02000503000000020004" pitchFamily="2" charset="0"/>
              <a:cs typeface="Oscine" panose="020B050604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Only use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olours highlighted in the green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. Other colors are not part of color theme, 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endParaRPr lang="en-GB" sz="900" b="1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27999" y="1901190"/>
            <a:ext cx="2606675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tx2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Header &amp; footer</a:t>
            </a:r>
            <a:endParaRPr lang="en-GB" altLang="da-DK" sz="1600" b="1" noProof="1">
              <a:solidFill>
                <a:schemeClr val="tx2"/>
              </a:solidFill>
              <a:latin typeface="Oscine" panose="020B0506040202020204" pitchFamily="34" charset="0"/>
              <a:ea typeface="Inter Italic" panose="02000503000000020004" pitchFamily="2" charset="0"/>
              <a:cs typeface="Oscine" panose="020B050604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ab (write the desired text)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o selected slide</a:t>
            </a: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1600" b="1">
                <a:solidFill>
                  <a:schemeClr val="tx2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Guide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Mac: </a:t>
            </a:r>
            <a:r>
              <a:rPr lang="en-GB" sz="900" b="0" i="0">
                <a:solidFill>
                  <a:schemeClr val="tx2"/>
                </a:solidFill>
                <a:effectLst/>
                <a:latin typeface="Inter Italic" panose="02000503000000020004" pitchFamily="2" charset="0"/>
                <a:ea typeface="Inter Italic" panose="02000503000000020004" pitchFamily="2" charset="0"/>
              </a:rPr>
              <a:t>⌘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+ option + ctrl + G</a:t>
            </a:r>
            <a:b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1600" b="1" noProof="1">
                <a:solidFill>
                  <a:schemeClr val="tx2"/>
                </a:solidFill>
                <a:latin typeface="Oscine" panose="020B0506040202020204" pitchFamily="34" charset="0"/>
                <a:ea typeface="Inter Italic" panose="02000503000000020004" pitchFamily="2" charset="0"/>
                <a:cs typeface="Oscine" panose="020B0506040202020204" pitchFamily="34" charset="0"/>
              </a:rPr>
              <a:t>Copy/paste content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2"/>
                </a:solidFill>
                <a:latin typeface="Inter Italic" panose="02000503000000020004" pitchFamily="2" charset="0"/>
                <a:ea typeface="Inter Italic" panose="02000503000000020004" pitchFamily="2" charset="0"/>
                <a:cs typeface="Arial" panose="020B0604020202020204" pitchFamily="34" charset="0"/>
              </a:rPr>
              <a:t>Or copy an entire slide into your new presentation and then choose a fitting layout. When presentation is done, open an empty presentation (press Ctrl+N). Copy all slides from presentation, paste them into empty one. This will ensure that there are no extra layouts</a:t>
            </a:r>
            <a:endParaRPr lang="en-GB" altLang="da-DK" sz="900" b="1" noProof="1">
              <a:solidFill>
                <a:schemeClr val="tx2"/>
              </a:solidFill>
              <a:latin typeface="Inter Italic" panose="02000503000000020004" pitchFamily="2" charset="0"/>
              <a:ea typeface="Inter Italic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0501896-43DD-469D-A55E-AA24E78013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89846" y="3668572"/>
            <a:ext cx="257143" cy="28571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089846" y="5171629"/>
            <a:ext cx="475428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6550" y="3323431"/>
            <a:ext cx="341204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089846" y="4487984"/>
            <a:ext cx="328881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98964" y="2427646"/>
            <a:ext cx="53846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802694" y="4196834"/>
            <a:ext cx="313788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985500" y="2446734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23" name="Slide Number Placeholder 10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089846" y="2976864"/>
            <a:ext cx="457143" cy="257143"/>
          </a:xfrm>
          <a:prstGeom prst="rect">
            <a:avLst/>
          </a:prstGeom>
        </p:spPr>
      </p:pic>
      <p:pic>
        <p:nvPicPr>
          <p:cNvPr id="5" name="Picture 4" descr="A screenshot of a color chart&#10;&#10;AI-generated content may be incorrect.">
            <a:extLst>
              <a:ext uri="{FF2B5EF4-FFF2-40B4-BE49-F238E27FC236}">
                <a16:creationId xmlns:a16="http://schemas.microsoft.com/office/drawing/2014/main" id="{84A3FCD7-809A-63A6-B932-3F7B92F7891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825" y="4790806"/>
            <a:ext cx="1508459" cy="180260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00ADB1-EAF6-4DB3-DF63-B2CD6614DE3D}"/>
              </a:ext>
            </a:extLst>
          </p:cNvPr>
          <p:cNvCxnSpPr/>
          <p:nvPr userDrawn="1"/>
        </p:nvCxnSpPr>
        <p:spPr>
          <a:xfrm>
            <a:off x="4389201" y="5124434"/>
            <a:ext cx="1323474" cy="6075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DDFA73-BE48-6F76-52A1-85981A80BE81}"/>
              </a:ext>
            </a:extLst>
          </p:cNvPr>
          <p:cNvCxnSpPr>
            <a:cxnSpLocks/>
          </p:cNvCxnSpPr>
          <p:nvPr userDrawn="1"/>
        </p:nvCxnSpPr>
        <p:spPr>
          <a:xfrm flipV="1">
            <a:off x="4407317" y="5124434"/>
            <a:ext cx="1323474" cy="6075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F4245BA-82BC-D15B-D981-9E62FD2F1F1E}"/>
              </a:ext>
            </a:extLst>
          </p:cNvPr>
          <p:cNvCxnSpPr/>
          <p:nvPr userDrawn="1"/>
        </p:nvCxnSpPr>
        <p:spPr>
          <a:xfrm>
            <a:off x="4389201" y="5848737"/>
            <a:ext cx="1323474" cy="6075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BF30BC-FBDE-4C46-FC05-3D3C6B9C1E30}"/>
              </a:ext>
            </a:extLst>
          </p:cNvPr>
          <p:cNvCxnSpPr>
            <a:cxnSpLocks/>
          </p:cNvCxnSpPr>
          <p:nvPr userDrawn="1"/>
        </p:nvCxnSpPr>
        <p:spPr>
          <a:xfrm flipV="1">
            <a:off x="4407317" y="5848737"/>
            <a:ext cx="1323474" cy="6075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52B8B2BA-FBF2-52BC-FFE8-5FADDFD1C93F}"/>
              </a:ext>
            </a:extLst>
          </p:cNvPr>
          <p:cNvSpPr/>
          <p:nvPr userDrawn="1"/>
        </p:nvSpPr>
        <p:spPr>
          <a:xfrm>
            <a:off x="4349096" y="4916905"/>
            <a:ext cx="1434083" cy="1995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</p:spTree>
    <p:extLst>
      <p:ext uri="{BB962C8B-B14F-4D97-AF65-F5344CB8AC3E}">
        <p14:creationId xmlns:p14="http://schemas.microsoft.com/office/powerpoint/2010/main" val="42349302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611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5794123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A615EA-F182-D3B8-F8B3-6481D1F557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81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A615EA-F182-D3B8-F8B3-6481D1F557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C787CB6-0041-AB56-706D-D020BACDEC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316981"/>
            <a:ext cx="1906587" cy="157966"/>
          </a:xfrm>
          <a:effectLst/>
        </p:spPr>
        <p:txBody>
          <a:bodyPr vert="horz" wrap="square" anchor="t">
            <a:noAutofit/>
          </a:bodyPr>
          <a:lstStyle>
            <a:lvl1pPr marL="0" indent="0" algn="l" rtl="0">
              <a:lnSpc>
                <a:spcPct val="100000"/>
              </a:lnSpc>
              <a:buFont typeface="Arial" panose="020B0604020202020204" pitchFamily="34" charset="0"/>
              <a:buChar char="​"/>
              <a:defRPr sz="900" b="0" i="1" u="none" strike="noStrike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2pPr>
            <a:lvl3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3pPr>
            <a:lvl4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4pPr>
            <a:lvl5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5pPr>
            <a:lvl6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6pPr>
            <a:lvl7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7pPr>
            <a:lvl8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8pPr>
            <a:lvl9pPr marL="0" indent="0" algn="l">
              <a:buFont typeface="Arial" panose="020B0604020202020204" pitchFamily="34" charset="0"/>
              <a:buChar char="​"/>
              <a:defRPr sz="900" b="0" i="0" u="none" strike="noStrike">
                <a:solidFill>
                  <a:schemeClr val="tx2"/>
                </a:solidFill>
                <a:latin typeface="AvenirNext LT Pro Regular" panose="020B0504020202020204" pitchFamily="34" charset="0"/>
              </a:defRPr>
            </a:lvl9pPr>
          </a:lstStyle>
          <a:p>
            <a:pPr lvl="0"/>
            <a:r>
              <a:rPr lang="en-GB"/>
              <a:t>Click to add Name and Surnam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2751" y="2236197"/>
            <a:ext cx="6408749" cy="2700994"/>
          </a:xfrm>
        </p:spPr>
        <p:txBody>
          <a:bodyPr vert="horz" anchor="b"/>
          <a:lstStyle>
            <a:lvl1pPr algn="l" rtl="0">
              <a:defRPr sz="8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C5B4DFB-7FA8-0E75-ED63-14A47AF181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3238" y="5107996"/>
            <a:ext cx="6408749" cy="50400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+mn-lt"/>
                <a:ea typeface="Inter Italic" panose="02000503000000020004" pitchFamily="2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4ED17-DCDF-EC9D-C57C-5BADF23A2EE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503238" y="6020457"/>
            <a:ext cx="1906587" cy="180000"/>
          </a:xfrm>
        </p:spPr>
        <p:txBody>
          <a:bodyPr lIns="0" tIns="0" rIns="0" bIns="0"/>
          <a:lstStyle>
            <a:lvl1pPr algn="l" rtl="0">
              <a:defRPr sz="900" b="1" i="1">
                <a:solidFill>
                  <a:schemeClr val="accent1"/>
                </a:solidFill>
                <a:latin typeface="+mn-lt"/>
                <a:ea typeface="Inter Italic" panose="02000503000000020004" pitchFamily="2" charset="0"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B0E46F5-A755-71FF-6512-2F7DD13F8F81}"/>
              </a:ext>
            </a:extLst>
          </p:cNvPr>
          <p:cNvGrpSpPr/>
          <p:nvPr userDrawn="1"/>
        </p:nvGrpSpPr>
        <p:grpSpPr>
          <a:xfrm>
            <a:off x="6177092" y="5967840"/>
            <a:ext cx="1366471" cy="544436"/>
            <a:chOff x="503238" y="3212070"/>
            <a:chExt cx="1854158" cy="73874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3ECD6A55-9851-9132-EA61-245850F7D36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87226" y="3480642"/>
              <a:ext cx="470170" cy="470170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7A210B13-E3CF-CA7F-17D6-D461D6AF162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3239" y="3480642"/>
              <a:ext cx="897597" cy="47017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5C369F0-F741-66D3-1ECF-5613CF93EA3A}"/>
                </a:ext>
              </a:extLst>
            </p:cNvPr>
            <p:cNvSpPr txBox="1"/>
            <p:nvPr/>
          </p:nvSpPr>
          <p:spPr>
            <a:xfrm>
              <a:off x="503238" y="3212070"/>
              <a:ext cx="524201" cy="208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+mj-lt"/>
                  <a:cs typeface="Oscine" panose="020B0506040202020204" pitchFamily="34" charset="0"/>
                </a:rPr>
                <a:t>Led by: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6CFE478-4687-1E84-7451-D4A577068F61}"/>
                </a:ext>
              </a:extLst>
            </p:cNvPr>
            <p:cNvCxnSpPr/>
            <p:nvPr/>
          </p:nvCxnSpPr>
          <p:spPr>
            <a:xfrm>
              <a:off x="1644031" y="3480642"/>
              <a:ext cx="0" cy="47017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9AF0558-4D9D-F649-1031-91B5D2364807}"/>
              </a:ext>
            </a:extLst>
          </p:cNvPr>
          <p:cNvGrpSpPr/>
          <p:nvPr userDrawn="1"/>
        </p:nvGrpSpPr>
        <p:grpSpPr>
          <a:xfrm>
            <a:off x="8969267" y="5953915"/>
            <a:ext cx="2723790" cy="633666"/>
            <a:chOff x="503238" y="4424793"/>
            <a:chExt cx="3724578" cy="866490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5FD4097E-45B0-167A-5F34-D4527C43FD7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358714" y="4878103"/>
              <a:ext cx="869102" cy="21371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3CAD5AD7-C76A-CCB0-1156-03AFCF930CB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258671" y="4678637"/>
              <a:ext cx="626893" cy="612646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2A3BBF87-4623-E230-0F91-E50417C70D5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3239" y="4835360"/>
              <a:ext cx="1282282" cy="299199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A94E64F-B4CB-C0E2-D7FD-3C33F94681DC}"/>
                </a:ext>
              </a:extLst>
            </p:cNvPr>
            <p:cNvSpPr txBox="1"/>
            <p:nvPr/>
          </p:nvSpPr>
          <p:spPr>
            <a:xfrm>
              <a:off x="503238" y="4424793"/>
              <a:ext cx="1374375" cy="2104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+mj-lt"/>
                  <a:cs typeface="Oscine" panose="020B0506040202020204" pitchFamily="34" charset="0"/>
                </a:rPr>
                <a:t>With support from: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E3DD8F7-FA50-7CFE-781E-9D34CB1D9ADE}"/>
                </a:ext>
              </a:extLst>
            </p:cNvPr>
            <p:cNvCxnSpPr/>
            <p:nvPr/>
          </p:nvCxnSpPr>
          <p:spPr>
            <a:xfrm>
              <a:off x="2022096" y="4757039"/>
              <a:ext cx="0" cy="47017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6C88124-8CCE-F206-AAC2-B86AF988252D}"/>
                </a:ext>
              </a:extLst>
            </p:cNvPr>
            <p:cNvCxnSpPr/>
            <p:nvPr/>
          </p:nvCxnSpPr>
          <p:spPr>
            <a:xfrm>
              <a:off x="3122139" y="4749875"/>
              <a:ext cx="0" cy="47017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D30AA76-C540-32ED-6729-D3BB738404D2}"/>
              </a:ext>
            </a:extLst>
          </p:cNvPr>
          <p:cNvGrpSpPr/>
          <p:nvPr userDrawn="1"/>
        </p:nvGrpSpPr>
        <p:grpSpPr>
          <a:xfrm>
            <a:off x="3102174" y="5953915"/>
            <a:ext cx="1655808" cy="598633"/>
            <a:chOff x="503203" y="2022640"/>
            <a:chExt cx="2039472" cy="737341"/>
          </a:xfrm>
        </p:grpSpPr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E0DF99CF-F4A4-0292-43B8-3765A34C09A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616583" y="2289811"/>
              <a:ext cx="926092" cy="47017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45008F5-1E8F-D8F5-A732-5411590ED045}"/>
                </a:ext>
              </a:extLst>
            </p:cNvPr>
            <p:cNvSpPr txBox="1"/>
            <p:nvPr/>
          </p:nvSpPr>
          <p:spPr>
            <a:xfrm>
              <a:off x="503237" y="2022640"/>
              <a:ext cx="979318" cy="1895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>
                  <a:latin typeface="+mj-lt"/>
                  <a:cs typeface="Oscine" panose="020B0506040202020204" pitchFamily="34" charset="0"/>
                </a:rPr>
                <a:t>Partnership of: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C3BF0F4-CB04-B5C3-6188-1B19046A789E}"/>
                </a:ext>
              </a:extLst>
            </p:cNvPr>
            <p:cNvGrpSpPr/>
            <p:nvPr/>
          </p:nvGrpSpPr>
          <p:grpSpPr>
            <a:xfrm>
              <a:off x="503203" y="2289771"/>
              <a:ext cx="859744" cy="468658"/>
              <a:chOff x="503203" y="2289771"/>
              <a:chExt cx="859744" cy="468658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62C3E2DD-F4BA-7118-C4A8-1787D0B1E909}"/>
                  </a:ext>
                </a:extLst>
              </p:cNvPr>
              <p:cNvSpPr/>
              <p:nvPr/>
            </p:nvSpPr>
            <p:spPr>
              <a:xfrm>
                <a:off x="503203" y="2289771"/>
                <a:ext cx="462960" cy="468658"/>
              </a:xfrm>
              <a:custGeom>
                <a:avLst/>
                <a:gdLst>
                  <a:gd name="connsiteX0" fmla="*/ 254381 w 462960"/>
                  <a:gd name="connsiteY0" fmla="*/ 894 h 468658"/>
                  <a:gd name="connsiteX1" fmla="*/ 326780 w 462960"/>
                  <a:gd name="connsiteY1" fmla="*/ 20556 h 468658"/>
                  <a:gd name="connsiteX2" fmla="*/ 436539 w 462960"/>
                  <a:gd name="connsiteY2" fmla="*/ 125382 h 468658"/>
                  <a:gd name="connsiteX3" fmla="*/ 460707 w 462960"/>
                  <a:gd name="connsiteY3" fmla="*/ 201785 h 468658"/>
                  <a:gd name="connsiteX4" fmla="*/ 438228 w 462960"/>
                  <a:gd name="connsiteY4" fmla="*/ 339310 h 468658"/>
                  <a:gd name="connsiteX5" fmla="*/ 282454 w 462960"/>
                  <a:gd name="connsiteY5" fmla="*/ 462836 h 468658"/>
                  <a:gd name="connsiteX6" fmla="*/ 221559 w 462960"/>
                  <a:gd name="connsiteY6" fmla="*/ 468393 h 468658"/>
                  <a:gd name="connsiteX7" fmla="*/ 83832 w 462960"/>
                  <a:gd name="connsiteY7" fmla="*/ 414751 h 468658"/>
                  <a:gd name="connsiteX8" fmla="*/ 6579 w 462960"/>
                  <a:gd name="connsiteY8" fmla="*/ 290476 h 468658"/>
                  <a:gd name="connsiteX9" fmla="*/ 36 w 462960"/>
                  <a:gd name="connsiteY9" fmla="*/ 238971 h 468658"/>
                  <a:gd name="connsiteX10" fmla="*/ 43201 w 462960"/>
                  <a:gd name="connsiteY10" fmla="*/ 97813 h 468658"/>
                  <a:gd name="connsiteX11" fmla="*/ 175122 w 462960"/>
                  <a:gd name="connsiteY11" fmla="*/ 6771 h 468658"/>
                  <a:gd name="connsiteX12" fmla="*/ 214699 w 462960"/>
                  <a:gd name="connsiteY12" fmla="*/ 467 h 468658"/>
                  <a:gd name="connsiteX13" fmla="*/ 254381 w 462960"/>
                  <a:gd name="connsiteY13" fmla="*/ 894 h 46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960" h="468658">
                    <a:moveTo>
                      <a:pt x="254381" y="894"/>
                    </a:moveTo>
                    <a:cubicBezTo>
                      <a:pt x="279605" y="3352"/>
                      <a:pt x="303773" y="9870"/>
                      <a:pt x="326780" y="20556"/>
                    </a:cubicBezTo>
                    <a:cubicBezTo>
                      <a:pt x="375011" y="42996"/>
                      <a:pt x="411632" y="78045"/>
                      <a:pt x="436539" y="125382"/>
                    </a:cubicBezTo>
                    <a:cubicBezTo>
                      <a:pt x="449098" y="149318"/>
                      <a:pt x="457224" y="174857"/>
                      <a:pt x="460707" y="201785"/>
                    </a:cubicBezTo>
                    <a:cubicBezTo>
                      <a:pt x="467039" y="249871"/>
                      <a:pt x="460179" y="296140"/>
                      <a:pt x="438228" y="339310"/>
                    </a:cubicBezTo>
                    <a:cubicBezTo>
                      <a:pt x="405089" y="404386"/>
                      <a:pt x="352848" y="445525"/>
                      <a:pt x="282454" y="462836"/>
                    </a:cubicBezTo>
                    <a:cubicBezTo>
                      <a:pt x="262508" y="467752"/>
                      <a:pt x="242139" y="469355"/>
                      <a:pt x="221559" y="468393"/>
                    </a:cubicBezTo>
                    <a:cubicBezTo>
                      <a:pt x="169846" y="465828"/>
                      <a:pt x="123726" y="448197"/>
                      <a:pt x="83832" y="414751"/>
                    </a:cubicBezTo>
                    <a:cubicBezTo>
                      <a:pt x="44678" y="381946"/>
                      <a:pt x="19032" y="340378"/>
                      <a:pt x="6579" y="290476"/>
                    </a:cubicBezTo>
                    <a:cubicBezTo>
                      <a:pt x="2463" y="273593"/>
                      <a:pt x="352" y="256389"/>
                      <a:pt x="36" y="238971"/>
                    </a:cubicBezTo>
                    <a:cubicBezTo>
                      <a:pt x="-809" y="187146"/>
                      <a:pt x="13333" y="139915"/>
                      <a:pt x="43201" y="97813"/>
                    </a:cubicBezTo>
                    <a:cubicBezTo>
                      <a:pt x="76234" y="51331"/>
                      <a:pt x="120454" y="21197"/>
                      <a:pt x="175122" y="6771"/>
                    </a:cubicBezTo>
                    <a:cubicBezTo>
                      <a:pt x="188104" y="3352"/>
                      <a:pt x="201296" y="1322"/>
                      <a:pt x="214699" y="467"/>
                    </a:cubicBezTo>
                    <a:cubicBezTo>
                      <a:pt x="232324" y="-709"/>
                      <a:pt x="251743" y="681"/>
                      <a:pt x="254381" y="894"/>
                    </a:cubicBezTo>
                  </a:path>
                </a:pathLst>
              </a:custGeom>
              <a:solidFill>
                <a:schemeClr val="accent5"/>
              </a:solidFill>
              <a:ln w="10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grpSp>
            <p:nvGrpSpPr>
              <p:cNvPr id="26" name="Graphic 34">
                <a:extLst>
                  <a:ext uri="{FF2B5EF4-FFF2-40B4-BE49-F238E27FC236}">
                    <a16:creationId xmlns:a16="http://schemas.microsoft.com/office/drawing/2014/main" id="{37253056-361D-95F4-DECB-54C8182E34EA}"/>
                  </a:ext>
                </a:extLst>
              </p:cNvPr>
              <p:cNvGrpSpPr/>
              <p:nvPr/>
            </p:nvGrpSpPr>
            <p:grpSpPr>
              <a:xfrm>
                <a:off x="548303" y="2503310"/>
                <a:ext cx="376030" cy="49261"/>
                <a:chOff x="548303" y="2503310"/>
                <a:chExt cx="376030" cy="49261"/>
              </a:xfrm>
              <a:solidFill>
                <a:srgbClr val="FFFFFF"/>
              </a:solidFill>
            </p:grpSpPr>
            <p:sp>
              <p:nvSpPr>
                <p:cNvPr id="42" name="Freeform 41">
                  <a:extLst>
                    <a:ext uri="{FF2B5EF4-FFF2-40B4-BE49-F238E27FC236}">
                      <a16:creationId xmlns:a16="http://schemas.microsoft.com/office/drawing/2014/main" id="{192452E3-5A82-34CA-4774-7C5CD3624AA2}"/>
                    </a:ext>
                  </a:extLst>
                </p:cNvPr>
                <p:cNvSpPr/>
                <p:nvPr/>
              </p:nvSpPr>
              <p:spPr>
                <a:xfrm>
                  <a:off x="548303" y="2504806"/>
                  <a:ext cx="43798" cy="46375"/>
                </a:xfrm>
                <a:custGeom>
                  <a:avLst/>
                  <a:gdLst>
                    <a:gd name="connsiteX0" fmla="*/ 27651 w 43798"/>
                    <a:gd name="connsiteY0" fmla="*/ 46376 h 46375"/>
                    <a:gd name="connsiteX1" fmla="*/ 18786 w 43798"/>
                    <a:gd name="connsiteY1" fmla="*/ 30027 h 46375"/>
                    <a:gd name="connsiteX2" fmla="*/ 14564 w 43798"/>
                    <a:gd name="connsiteY2" fmla="*/ 30027 h 46375"/>
                    <a:gd name="connsiteX3" fmla="*/ 14564 w 43798"/>
                    <a:gd name="connsiteY3" fmla="*/ 46376 h 46375"/>
                    <a:gd name="connsiteX4" fmla="*/ 0 w 43798"/>
                    <a:gd name="connsiteY4" fmla="*/ 46376 h 46375"/>
                    <a:gd name="connsiteX5" fmla="*/ 0 w 43798"/>
                    <a:gd name="connsiteY5" fmla="*/ 0 h 46375"/>
                    <a:gd name="connsiteX6" fmla="*/ 24801 w 43798"/>
                    <a:gd name="connsiteY6" fmla="*/ 0 h 46375"/>
                    <a:gd name="connsiteX7" fmla="*/ 28706 w 43798"/>
                    <a:gd name="connsiteY7" fmla="*/ 214 h 46375"/>
                    <a:gd name="connsiteX8" fmla="*/ 39893 w 43798"/>
                    <a:gd name="connsiteY8" fmla="*/ 6518 h 46375"/>
                    <a:gd name="connsiteX9" fmla="*/ 42004 w 43798"/>
                    <a:gd name="connsiteY9" fmla="*/ 14853 h 46375"/>
                    <a:gd name="connsiteX10" fmla="*/ 36622 w 43798"/>
                    <a:gd name="connsiteY10" fmla="*/ 25752 h 46375"/>
                    <a:gd name="connsiteX11" fmla="*/ 32611 w 43798"/>
                    <a:gd name="connsiteY11" fmla="*/ 27676 h 46375"/>
                    <a:gd name="connsiteX12" fmla="*/ 43798 w 43798"/>
                    <a:gd name="connsiteY12" fmla="*/ 46376 h 46375"/>
                    <a:gd name="connsiteX13" fmla="*/ 27545 w 43798"/>
                    <a:gd name="connsiteY13" fmla="*/ 46376 h 46375"/>
                    <a:gd name="connsiteX14" fmla="*/ 26595 w 43798"/>
                    <a:gd name="connsiteY14" fmla="*/ 11861 h 46375"/>
                    <a:gd name="connsiteX15" fmla="*/ 25223 w 43798"/>
                    <a:gd name="connsiteY15" fmla="*/ 10686 h 46375"/>
                    <a:gd name="connsiteX16" fmla="*/ 20369 w 43798"/>
                    <a:gd name="connsiteY16" fmla="*/ 9724 h 46375"/>
                    <a:gd name="connsiteX17" fmla="*/ 14459 w 43798"/>
                    <a:gd name="connsiteY17" fmla="*/ 9724 h 46375"/>
                    <a:gd name="connsiteX18" fmla="*/ 14459 w 43798"/>
                    <a:gd name="connsiteY18" fmla="*/ 20517 h 46375"/>
                    <a:gd name="connsiteX19" fmla="*/ 20474 w 43798"/>
                    <a:gd name="connsiteY19" fmla="*/ 20517 h 46375"/>
                    <a:gd name="connsiteX20" fmla="*/ 27123 w 43798"/>
                    <a:gd name="connsiteY20" fmla="*/ 17204 h 46375"/>
                    <a:gd name="connsiteX21" fmla="*/ 27440 w 43798"/>
                    <a:gd name="connsiteY21" fmla="*/ 15174 h 46375"/>
                    <a:gd name="connsiteX22" fmla="*/ 26490 w 43798"/>
                    <a:gd name="connsiteY22" fmla="*/ 11861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3798" h="46375">
                      <a:moveTo>
                        <a:pt x="27651" y="46376"/>
                      </a:moveTo>
                      <a:lnTo>
                        <a:pt x="18786" y="30027"/>
                      </a:lnTo>
                      <a:lnTo>
                        <a:pt x="14564" y="30027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lnTo>
                        <a:pt x="0" y="0"/>
                      </a:lnTo>
                      <a:lnTo>
                        <a:pt x="24801" y="0"/>
                      </a:lnTo>
                      <a:cubicBezTo>
                        <a:pt x="26068" y="0"/>
                        <a:pt x="27440" y="0"/>
                        <a:pt x="28706" y="214"/>
                      </a:cubicBezTo>
                      <a:cubicBezTo>
                        <a:pt x="30711" y="427"/>
                        <a:pt x="36516" y="962"/>
                        <a:pt x="39893" y="6518"/>
                      </a:cubicBezTo>
                      <a:cubicBezTo>
                        <a:pt x="40632" y="7907"/>
                        <a:pt x="42004" y="10793"/>
                        <a:pt x="42004" y="14853"/>
                      </a:cubicBezTo>
                      <a:cubicBezTo>
                        <a:pt x="42004" y="19234"/>
                        <a:pt x="40315" y="23295"/>
                        <a:pt x="36622" y="25752"/>
                      </a:cubicBezTo>
                      <a:cubicBezTo>
                        <a:pt x="35672" y="26394"/>
                        <a:pt x="34827" y="26821"/>
                        <a:pt x="32611" y="27676"/>
                      </a:cubicBezTo>
                      <a:lnTo>
                        <a:pt x="43798" y="46376"/>
                      </a:lnTo>
                      <a:lnTo>
                        <a:pt x="27545" y="46376"/>
                      </a:lnTo>
                      <a:close/>
                      <a:moveTo>
                        <a:pt x="26595" y="11861"/>
                      </a:moveTo>
                      <a:cubicBezTo>
                        <a:pt x="26173" y="11220"/>
                        <a:pt x="25540" y="10793"/>
                        <a:pt x="25223" y="10686"/>
                      </a:cubicBezTo>
                      <a:cubicBezTo>
                        <a:pt x="23746" y="9831"/>
                        <a:pt x="22057" y="9724"/>
                        <a:pt x="20369" y="9724"/>
                      </a:cubicBezTo>
                      <a:lnTo>
                        <a:pt x="14459" y="9724"/>
                      </a:lnTo>
                      <a:lnTo>
                        <a:pt x="14459" y="20517"/>
                      </a:lnTo>
                      <a:lnTo>
                        <a:pt x="20474" y="20517"/>
                      </a:lnTo>
                      <a:cubicBezTo>
                        <a:pt x="23113" y="20517"/>
                        <a:pt x="26068" y="20196"/>
                        <a:pt x="27123" y="17204"/>
                      </a:cubicBezTo>
                      <a:cubicBezTo>
                        <a:pt x="27123" y="16990"/>
                        <a:pt x="27440" y="16135"/>
                        <a:pt x="27440" y="15174"/>
                      </a:cubicBezTo>
                      <a:cubicBezTo>
                        <a:pt x="27440" y="14105"/>
                        <a:pt x="27123" y="12823"/>
                        <a:pt x="26490" y="118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128CFF85-FB9A-E97E-8947-504F0EB792F4}"/>
                    </a:ext>
                  </a:extLst>
                </p:cNvPr>
                <p:cNvSpPr/>
                <p:nvPr/>
              </p:nvSpPr>
              <p:spPr>
                <a:xfrm>
                  <a:off x="598961" y="2504806"/>
                  <a:ext cx="38204" cy="46375"/>
                </a:xfrm>
                <a:custGeom>
                  <a:avLst/>
                  <a:gdLst>
                    <a:gd name="connsiteX0" fmla="*/ 106 w 38204"/>
                    <a:gd name="connsiteY0" fmla="*/ 46376 h 46375"/>
                    <a:gd name="connsiteX1" fmla="*/ 106 w 38204"/>
                    <a:gd name="connsiteY1" fmla="*/ 0 h 46375"/>
                    <a:gd name="connsiteX2" fmla="*/ 36305 w 38204"/>
                    <a:gd name="connsiteY2" fmla="*/ 0 h 46375"/>
                    <a:gd name="connsiteX3" fmla="*/ 36305 w 38204"/>
                    <a:gd name="connsiteY3" fmla="*/ 10151 h 46375"/>
                    <a:gd name="connsiteX4" fmla="*/ 14564 w 38204"/>
                    <a:gd name="connsiteY4" fmla="*/ 10151 h 46375"/>
                    <a:gd name="connsiteX5" fmla="*/ 14564 w 38204"/>
                    <a:gd name="connsiteY5" fmla="*/ 16990 h 46375"/>
                    <a:gd name="connsiteX6" fmla="*/ 34827 w 38204"/>
                    <a:gd name="connsiteY6" fmla="*/ 16990 h 46375"/>
                    <a:gd name="connsiteX7" fmla="*/ 34827 w 38204"/>
                    <a:gd name="connsiteY7" fmla="*/ 27035 h 46375"/>
                    <a:gd name="connsiteX8" fmla="*/ 14459 w 38204"/>
                    <a:gd name="connsiteY8" fmla="*/ 27035 h 46375"/>
                    <a:gd name="connsiteX9" fmla="*/ 14459 w 38204"/>
                    <a:gd name="connsiteY9" fmla="*/ 36224 h 46375"/>
                    <a:gd name="connsiteX10" fmla="*/ 38205 w 38204"/>
                    <a:gd name="connsiteY10" fmla="*/ 36224 h 46375"/>
                    <a:gd name="connsiteX11" fmla="*/ 38205 w 38204"/>
                    <a:gd name="connsiteY11" fmla="*/ 46269 h 46375"/>
                    <a:gd name="connsiteX12" fmla="*/ 0 w 38204"/>
                    <a:gd name="connsiteY12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375">
                      <a:moveTo>
                        <a:pt x="106" y="46376"/>
                      </a:moveTo>
                      <a:lnTo>
                        <a:pt x="106" y="0"/>
                      </a:lnTo>
                      <a:lnTo>
                        <a:pt x="36305" y="0"/>
                      </a:lnTo>
                      <a:lnTo>
                        <a:pt x="36305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B9F09562-96F5-40D2-05A3-3E0833B52D14}"/>
                    </a:ext>
                  </a:extLst>
                </p:cNvPr>
                <p:cNvSpPr/>
                <p:nvPr/>
              </p:nvSpPr>
              <p:spPr>
                <a:xfrm>
                  <a:off x="643392" y="2503310"/>
                  <a:ext cx="45064" cy="49261"/>
                </a:xfrm>
                <a:custGeom>
                  <a:avLst/>
                  <a:gdLst>
                    <a:gd name="connsiteX0" fmla="*/ 38838 w 45064"/>
                    <a:gd name="connsiteY0" fmla="*/ 44987 h 49261"/>
                    <a:gd name="connsiteX1" fmla="*/ 23324 w 45064"/>
                    <a:gd name="connsiteY1" fmla="*/ 49261 h 49261"/>
                    <a:gd name="connsiteX2" fmla="*/ 4855 w 45064"/>
                    <a:gd name="connsiteY2" fmla="*/ 44025 h 49261"/>
                    <a:gd name="connsiteX3" fmla="*/ 0 w 45064"/>
                    <a:gd name="connsiteY3" fmla="*/ 39003 h 49261"/>
                    <a:gd name="connsiteX4" fmla="*/ 11081 w 45064"/>
                    <a:gd name="connsiteY4" fmla="*/ 31843 h 49261"/>
                    <a:gd name="connsiteX5" fmla="*/ 13298 w 45064"/>
                    <a:gd name="connsiteY5" fmla="*/ 34622 h 49261"/>
                    <a:gd name="connsiteX6" fmla="*/ 23851 w 45064"/>
                    <a:gd name="connsiteY6" fmla="*/ 37934 h 49261"/>
                    <a:gd name="connsiteX7" fmla="*/ 30817 w 45064"/>
                    <a:gd name="connsiteY7" fmla="*/ 34408 h 49261"/>
                    <a:gd name="connsiteX8" fmla="*/ 30500 w 45064"/>
                    <a:gd name="connsiteY8" fmla="*/ 33339 h 49261"/>
                    <a:gd name="connsiteX9" fmla="*/ 28284 w 45064"/>
                    <a:gd name="connsiteY9" fmla="*/ 31630 h 49261"/>
                    <a:gd name="connsiteX10" fmla="*/ 19630 w 45064"/>
                    <a:gd name="connsiteY10" fmla="*/ 29813 h 49261"/>
                    <a:gd name="connsiteX11" fmla="*/ 7810 w 45064"/>
                    <a:gd name="connsiteY11" fmla="*/ 25005 h 49261"/>
                    <a:gd name="connsiteX12" fmla="*/ 3905 w 45064"/>
                    <a:gd name="connsiteY12" fmla="*/ 15601 h 49261"/>
                    <a:gd name="connsiteX13" fmla="*/ 5593 w 45064"/>
                    <a:gd name="connsiteY13" fmla="*/ 8549 h 49261"/>
                    <a:gd name="connsiteX14" fmla="*/ 24168 w 45064"/>
                    <a:gd name="connsiteY14" fmla="*/ 0 h 49261"/>
                    <a:gd name="connsiteX15" fmla="*/ 41265 w 45064"/>
                    <a:gd name="connsiteY15" fmla="*/ 5022 h 49261"/>
                    <a:gd name="connsiteX16" fmla="*/ 44748 w 45064"/>
                    <a:gd name="connsiteY16" fmla="*/ 8228 h 49261"/>
                    <a:gd name="connsiteX17" fmla="*/ 35566 w 45064"/>
                    <a:gd name="connsiteY17" fmla="*/ 15922 h 49261"/>
                    <a:gd name="connsiteX18" fmla="*/ 34300 w 45064"/>
                    <a:gd name="connsiteY18" fmla="*/ 14426 h 49261"/>
                    <a:gd name="connsiteX19" fmla="*/ 23640 w 45064"/>
                    <a:gd name="connsiteY19" fmla="*/ 11220 h 49261"/>
                    <a:gd name="connsiteX20" fmla="*/ 20158 w 45064"/>
                    <a:gd name="connsiteY20" fmla="*/ 11861 h 49261"/>
                    <a:gd name="connsiteX21" fmla="*/ 18364 w 45064"/>
                    <a:gd name="connsiteY21" fmla="*/ 14319 h 49261"/>
                    <a:gd name="connsiteX22" fmla="*/ 19524 w 45064"/>
                    <a:gd name="connsiteY22" fmla="*/ 16456 h 49261"/>
                    <a:gd name="connsiteX23" fmla="*/ 24696 w 45064"/>
                    <a:gd name="connsiteY23" fmla="*/ 17952 h 49261"/>
                    <a:gd name="connsiteX24" fmla="*/ 35144 w 45064"/>
                    <a:gd name="connsiteY24" fmla="*/ 20303 h 49261"/>
                    <a:gd name="connsiteX25" fmla="*/ 45065 w 45064"/>
                    <a:gd name="connsiteY25" fmla="*/ 33019 h 49261"/>
                    <a:gd name="connsiteX26" fmla="*/ 39049 w 45064"/>
                    <a:gd name="connsiteY26" fmla="*/ 45200 h 49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5064" h="49261">
                      <a:moveTo>
                        <a:pt x="38838" y="44987"/>
                      </a:moveTo>
                      <a:cubicBezTo>
                        <a:pt x="32928" y="49368"/>
                        <a:pt x="25223" y="49261"/>
                        <a:pt x="23324" y="49261"/>
                      </a:cubicBezTo>
                      <a:cubicBezTo>
                        <a:pt x="16675" y="49261"/>
                        <a:pt x="10343" y="48192"/>
                        <a:pt x="4855" y="44025"/>
                      </a:cubicBezTo>
                      <a:cubicBezTo>
                        <a:pt x="2744" y="42422"/>
                        <a:pt x="1583" y="41033"/>
                        <a:pt x="0" y="39003"/>
                      </a:cubicBezTo>
                      <a:lnTo>
                        <a:pt x="11081" y="31843"/>
                      </a:lnTo>
                      <a:cubicBezTo>
                        <a:pt x="12031" y="33446"/>
                        <a:pt x="12665" y="34087"/>
                        <a:pt x="13298" y="34622"/>
                      </a:cubicBezTo>
                      <a:cubicBezTo>
                        <a:pt x="15936" y="36866"/>
                        <a:pt x="20685" y="37934"/>
                        <a:pt x="23851" y="37934"/>
                      </a:cubicBezTo>
                      <a:cubicBezTo>
                        <a:pt x="27967" y="37934"/>
                        <a:pt x="30817" y="36652"/>
                        <a:pt x="30817" y="34408"/>
                      </a:cubicBezTo>
                      <a:cubicBezTo>
                        <a:pt x="30817" y="33874"/>
                        <a:pt x="30606" y="33446"/>
                        <a:pt x="30500" y="33339"/>
                      </a:cubicBezTo>
                      <a:cubicBezTo>
                        <a:pt x="30184" y="32698"/>
                        <a:pt x="29656" y="32057"/>
                        <a:pt x="28284" y="31630"/>
                      </a:cubicBezTo>
                      <a:cubicBezTo>
                        <a:pt x="26701" y="30989"/>
                        <a:pt x="23746" y="30668"/>
                        <a:pt x="19630" y="29813"/>
                      </a:cubicBezTo>
                      <a:cubicBezTo>
                        <a:pt x="13298" y="28531"/>
                        <a:pt x="9921" y="27035"/>
                        <a:pt x="7810" y="25005"/>
                      </a:cubicBezTo>
                      <a:cubicBezTo>
                        <a:pt x="6332" y="23722"/>
                        <a:pt x="3799" y="20623"/>
                        <a:pt x="3905" y="15601"/>
                      </a:cubicBezTo>
                      <a:cubicBezTo>
                        <a:pt x="3905" y="14319"/>
                        <a:pt x="3905" y="11541"/>
                        <a:pt x="5593" y="8549"/>
                      </a:cubicBezTo>
                      <a:cubicBezTo>
                        <a:pt x="10237" y="-107"/>
                        <a:pt x="22374" y="0"/>
                        <a:pt x="24168" y="0"/>
                      </a:cubicBezTo>
                      <a:cubicBezTo>
                        <a:pt x="26490" y="0"/>
                        <a:pt x="34722" y="107"/>
                        <a:pt x="41265" y="5022"/>
                      </a:cubicBezTo>
                      <a:cubicBezTo>
                        <a:pt x="42743" y="6091"/>
                        <a:pt x="43481" y="6946"/>
                        <a:pt x="44748" y="8228"/>
                      </a:cubicBezTo>
                      <a:lnTo>
                        <a:pt x="35566" y="15922"/>
                      </a:lnTo>
                      <a:cubicBezTo>
                        <a:pt x="34933" y="15174"/>
                        <a:pt x="34616" y="14746"/>
                        <a:pt x="34300" y="14426"/>
                      </a:cubicBezTo>
                      <a:cubicBezTo>
                        <a:pt x="31661" y="11968"/>
                        <a:pt x="27018" y="11220"/>
                        <a:pt x="23640" y="11220"/>
                      </a:cubicBezTo>
                      <a:cubicBezTo>
                        <a:pt x="23324" y="11220"/>
                        <a:pt x="21530" y="11220"/>
                        <a:pt x="20158" y="11861"/>
                      </a:cubicBezTo>
                      <a:cubicBezTo>
                        <a:pt x="19947" y="11968"/>
                        <a:pt x="18364" y="12716"/>
                        <a:pt x="18364" y="14319"/>
                      </a:cubicBezTo>
                      <a:cubicBezTo>
                        <a:pt x="18364" y="15174"/>
                        <a:pt x="18891" y="15922"/>
                        <a:pt x="19524" y="16456"/>
                      </a:cubicBezTo>
                      <a:cubicBezTo>
                        <a:pt x="20685" y="17204"/>
                        <a:pt x="23429" y="17738"/>
                        <a:pt x="24696" y="17952"/>
                      </a:cubicBezTo>
                      <a:cubicBezTo>
                        <a:pt x="26279" y="18166"/>
                        <a:pt x="30606" y="18807"/>
                        <a:pt x="35144" y="20303"/>
                      </a:cubicBezTo>
                      <a:cubicBezTo>
                        <a:pt x="37994" y="21265"/>
                        <a:pt x="45065" y="23829"/>
                        <a:pt x="45065" y="33019"/>
                      </a:cubicBezTo>
                      <a:cubicBezTo>
                        <a:pt x="45065" y="39858"/>
                        <a:pt x="41054" y="43598"/>
                        <a:pt x="39049" y="452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0DF2BB5A-DBBB-8383-B14D-967A2423F64D}"/>
                    </a:ext>
                  </a:extLst>
                </p:cNvPr>
                <p:cNvSpPr/>
                <p:nvPr/>
              </p:nvSpPr>
              <p:spPr>
                <a:xfrm>
                  <a:off x="697850" y="2504806"/>
                  <a:ext cx="14564" cy="46375"/>
                </a:xfrm>
                <a:custGeom>
                  <a:avLst/>
                  <a:gdLst>
                    <a:gd name="connsiteX0" fmla="*/ 0 w 14564"/>
                    <a:gd name="connsiteY0" fmla="*/ 46376 h 46375"/>
                    <a:gd name="connsiteX1" fmla="*/ 0 w 14564"/>
                    <a:gd name="connsiteY1" fmla="*/ 0 h 46375"/>
                    <a:gd name="connsiteX2" fmla="*/ 14564 w 14564"/>
                    <a:gd name="connsiteY2" fmla="*/ 0 h 46375"/>
                    <a:gd name="connsiteX3" fmla="*/ 14564 w 14564"/>
                    <a:gd name="connsiteY3" fmla="*/ 46376 h 46375"/>
                    <a:gd name="connsiteX4" fmla="*/ 0 w 14564"/>
                    <a:gd name="connsiteY4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64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564" y="0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5A98D991-6AFB-303F-7550-0C7D2E119369}"/>
                    </a:ext>
                  </a:extLst>
                </p:cNvPr>
                <p:cNvSpPr/>
                <p:nvPr/>
              </p:nvSpPr>
              <p:spPr>
                <a:xfrm>
                  <a:off x="723073" y="2504806"/>
                  <a:ext cx="32188" cy="46375"/>
                </a:xfrm>
                <a:custGeom>
                  <a:avLst/>
                  <a:gdLst>
                    <a:gd name="connsiteX0" fmla="*/ 0 w 32188"/>
                    <a:gd name="connsiteY0" fmla="*/ 46376 h 46375"/>
                    <a:gd name="connsiteX1" fmla="*/ 0 w 32188"/>
                    <a:gd name="connsiteY1" fmla="*/ 0 h 46375"/>
                    <a:gd name="connsiteX2" fmla="*/ 14459 w 32188"/>
                    <a:gd name="connsiteY2" fmla="*/ 0 h 46375"/>
                    <a:gd name="connsiteX3" fmla="*/ 14459 w 32188"/>
                    <a:gd name="connsiteY3" fmla="*/ 34622 h 46375"/>
                    <a:gd name="connsiteX4" fmla="*/ 32189 w 32188"/>
                    <a:gd name="connsiteY4" fmla="*/ 34622 h 46375"/>
                    <a:gd name="connsiteX5" fmla="*/ 32189 w 32188"/>
                    <a:gd name="connsiteY5" fmla="*/ 46269 h 46375"/>
                    <a:gd name="connsiteX6" fmla="*/ 0 w 32188"/>
                    <a:gd name="connsiteY6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188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34622"/>
                      </a:lnTo>
                      <a:lnTo>
                        <a:pt x="32189" y="34622"/>
                      </a:lnTo>
                      <a:lnTo>
                        <a:pt x="3218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2BB3BD83-DA13-B0AC-DD81-0052264EA7B7}"/>
                    </a:ext>
                  </a:extLst>
                </p:cNvPr>
                <p:cNvSpPr/>
                <p:nvPr/>
              </p:nvSpPr>
              <p:spPr>
                <a:xfrm>
                  <a:off x="763072" y="2504806"/>
                  <a:ext cx="14564" cy="46375"/>
                </a:xfrm>
                <a:custGeom>
                  <a:avLst/>
                  <a:gdLst>
                    <a:gd name="connsiteX0" fmla="*/ 0 w 14564"/>
                    <a:gd name="connsiteY0" fmla="*/ 46376 h 46375"/>
                    <a:gd name="connsiteX1" fmla="*/ 0 w 14564"/>
                    <a:gd name="connsiteY1" fmla="*/ 0 h 46375"/>
                    <a:gd name="connsiteX2" fmla="*/ 14564 w 14564"/>
                    <a:gd name="connsiteY2" fmla="*/ 0 h 46375"/>
                    <a:gd name="connsiteX3" fmla="*/ 14564 w 14564"/>
                    <a:gd name="connsiteY3" fmla="*/ 46376 h 46375"/>
                    <a:gd name="connsiteX4" fmla="*/ 0 w 14564"/>
                    <a:gd name="connsiteY4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64" h="46375">
                      <a:moveTo>
                        <a:pt x="0" y="46376"/>
                      </a:moveTo>
                      <a:lnTo>
                        <a:pt x="0" y="0"/>
                      </a:lnTo>
                      <a:lnTo>
                        <a:pt x="14564" y="0"/>
                      </a:lnTo>
                      <a:lnTo>
                        <a:pt x="14564" y="46376"/>
                      </a:lnTo>
                      <a:lnTo>
                        <a:pt x="0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2DAB1992-7DA3-8BD0-0FBB-5654B4D1F963}"/>
                    </a:ext>
                  </a:extLst>
                </p:cNvPr>
                <p:cNvSpPr/>
                <p:nvPr/>
              </p:nvSpPr>
              <p:spPr>
                <a:xfrm>
                  <a:off x="788084" y="2504806"/>
                  <a:ext cx="38204" cy="46375"/>
                </a:xfrm>
                <a:custGeom>
                  <a:avLst/>
                  <a:gdLst>
                    <a:gd name="connsiteX0" fmla="*/ 106 w 38204"/>
                    <a:gd name="connsiteY0" fmla="*/ 46376 h 46375"/>
                    <a:gd name="connsiteX1" fmla="*/ 106 w 38204"/>
                    <a:gd name="connsiteY1" fmla="*/ 0 h 46375"/>
                    <a:gd name="connsiteX2" fmla="*/ 36305 w 38204"/>
                    <a:gd name="connsiteY2" fmla="*/ 0 h 46375"/>
                    <a:gd name="connsiteX3" fmla="*/ 36305 w 38204"/>
                    <a:gd name="connsiteY3" fmla="*/ 10151 h 46375"/>
                    <a:gd name="connsiteX4" fmla="*/ 14564 w 38204"/>
                    <a:gd name="connsiteY4" fmla="*/ 10151 h 46375"/>
                    <a:gd name="connsiteX5" fmla="*/ 14564 w 38204"/>
                    <a:gd name="connsiteY5" fmla="*/ 16990 h 46375"/>
                    <a:gd name="connsiteX6" fmla="*/ 34827 w 38204"/>
                    <a:gd name="connsiteY6" fmla="*/ 16990 h 46375"/>
                    <a:gd name="connsiteX7" fmla="*/ 34827 w 38204"/>
                    <a:gd name="connsiteY7" fmla="*/ 27035 h 46375"/>
                    <a:gd name="connsiteX8" fmla="*/ 14459 w 38204"/>
                    <a:gd name="connsiteY8" fmla="*/ 27035 h 46375"/>
                    <a:gd name="connsiteX9" fmla="*/ 14459 w 38204"/>
                    <a:gd name="connsiteY9" fmla="*/ 36224 h 46375"/>
                    <a:gd name="connsiteX10" fmla="*/ 38205 w 38204"/>
                    <a:gd name="connsiteY10" fmla="*/ 36224 h 46375"/>
                    <a:gd name="connsiteX11" fmla="*/ 38205 w 38204"/>
                    <a:gd name="connsiteY11" fmla="*/ 46269 h 46375"/>
                    <a:gd name="connsiteX12" fmla="*/ 0 w 38204"/>
                    <a:gd name="connsiteY12" fmla="*/ 46269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375">
                      <a:moveTo>
                        <a:pt x="106" y="46376"/>
                      </a:moveTo>
                      <a:lnTo>
                        <a:pt x="106" y="0"/>
                      </a:lnTo>
                      <a:lnTo>
                        <a:pt x="36305" y="0"/>
                      </a:lnTo>
                      <a:lnTo>
                        <a:pt x="36305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9" name="Freeform 48">
                  <a:extLst>
                    <a:ext uri="{FF2B5EF4-FFF2-40B4-BE49-F238E27FC236}">
                      <a16:creationId xmlns:a16="http://schemas.microsoft.com/office/drawing/2014/main" id="{F8F28724-EFF5-9D82-DDD6-AB8EA5D4633F}"/>
                    </a:ext>
                  </a:extLst>
                </p:cNvPr>
                <p:cNvSpPr/>
                <p:nvPr/>
              </p:nvSpPr>
              <p:spPr>
                <a:xfrm>
                  <a:off x="834943" y="2504806"/>
                  <a:ext cx="44220" cy="46375"/>
                </a:xfrm>
                <a:custGeom>
                  <a:avLst/>
                  <a:gdLst>
                    <a:gd name="connsiteX0" fmla="*/ 28495 w 44220"/>
                    <a:gd name="connsiteY0" fmla="*/ 46376 h 46375"/>
                    <a:gd name="connsiteX1" fmla="*/ 13298 w 44220"/>
                    <a:gd name="connsiteY1" fmla="*/ 19448 h 46375"/>
                    <a:gd name="connsiteX2" fmla="*/ 13298 w 44220"/>
                    <a:gd name="connsiteY2" fmla="*/ 46376 h 46375"/>
                    <a:gd name="connsiteX3" fmla="*/ 0 w 44220"/>
                    <a:gd name="connsiteY3" fmla="*/ 46376 h 46375"/>
                    <a:gd name="connsiteX4" fmla="*/ 0 w 44220"/>
                    <a:gd name="connsiteY4" fmla="*/ 0 h 46375"/>
                    <a:gd name="connsiteX5" fmla="*/ 15408 w 44220"/>
                    <a:gd name="connsiteY5" fmla="*/ 0 h 46375"/>
                    <a:gd name="connsiteX6" fmla="*/ 30923 w 44220"/>
                    <a:gd name="connsiteY6" fmla="*/ 26928 h 46375"/>
                    <a:gd name="connsiteX7" fmla="*/ 30711 w 44220"/>
                    <a:gd name="connsiteY7" fmla="*/ 0 h 46375"/>
                    <a:gd name="connsiteX8" fmla="*/ 44220 w 44220"/>
                    <a:gd name="connsiteY8" fmla="*/ 0 h 46375"/>
                    <a:gd name="connsiteX9" fmla="*/ 44220 w 44220"/>
                    <a:gd name="connsiteY9" fmla="*/ 46376 h 46375"/>
                    <a:gd name="connsiteX10" fmla="*/ 28601 w 44220"/>
                    <a:gd name="connsiteY10" fmla="*/ 46376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4220" h="46375">
                      <a:moveTo>
                        <a:pt x="28495" y="46376"/>
                      </a:moveTo>
                      <a:lnTo>
                        <a:pt x="13298" y="19448"/>
                      </a:lnTo>
                      <a:lnTo>
                        <a:pt x="13298" y="46376"/>
                      </a:lnTo>
                      <a:cubicBezTo>
                        <a:pt x="13298" y="46376"/>
                        <a:pt x="0" y="46376"/>
                        <a:pt x="0" y="46376"/>
                      </a:cubicBezTo>
                      <a:lnTo>
                        <a:pt x="0" y="0"/>
                      </a:lnTo>
                      <a:lnTo>
                        <a:pt x="15408" y="0"/>
                      </a:lnTo>
                      <a:lnTo>
                        <a:pt x="30923" y="26928"/>
                      </a:lnTo>
                      <a:lnTo>
                        <a:pt x="30711" y="0"/>
                      </a:lnTo>
                      <a:lnTo>
                        <a:pt x="44220" y="0"/>
                      </a:lnTo>
                      <a:lnTo>
                        <a:pt x="44220" y="46376"/>
                      </a:lnTo>
                      <a:lnTo>
                        <a:pt x="28601" y="463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50" name="Freeform 49">
                  <a:extLst>
                    <a:ext uri="{FF2B5EF4-FFF2-40B4-BE49-F238E27FC236}">
                      <a16:creationId xmlns:a16="http://schemas.microsoft.com/office/drawing/2014/main" id="{4671A2C2-F9B0-52DF-4102-439E5DC83126}"/>
                    </a:ext>
                  </a:extLst>
                </p:cNvPr>
                <p:cNvSpPr/>
                <p:nvPr/>
              </p:nvSpPr>
              <p:spPr>
                <a:xfrm>
                  <a:off x="886656" y="2504913"/>
                  <a:ext cx="37676" cy="46375"/>
                </a:xfrm>
                <a:custGeom>
                  <a:avLst/>
                  <a:gdLst>
                    <a:gd name="connsiteX0" fmla="*/ 26173 w 37676"/>
                    <a:gd name="connsiteY0" fmla="*/ 11434 h 46375"/>
                    <a:gd name="connsiteX1" fmla="*/ 26173 w 37676"/>
                    <a:gd name="connsiteY1" fmla="*/ 46376 h 46375"/>
                    <a:gd name="connsiteX2" fmla="*/ 11715 w 37676"/>
                    <a:gd name="connsiteY2" fmla="*/ 46376 h 46375"/>
                    <a:gd name="connsiteX3" fmla="*/ 11715 w 37676"/>
                    <a:gd name="connsiteY3" fmla="*/ 11434 h 46375"/>
                    <a:gd name="connsiteX4" fmla="*/ 0 w 37676"/>
                    <a:gd name="connsiteY4" fmla="*/ 11434 h 46375"/>
                    <a:gd name="connsiteX5" fmla="*/ 0 w 37676"/>
                    <a:gd name="connsiteY5" fmla="*/ 0 h 46375"/>
                    <a:gd name="connsiteX6" fmla="*/ 37677 w 37676"/>
                    <a:gd name="connsiteY6" fmla="*/ 0 h 46375"/>
                    <a:gd name="connsiteX7" fmla="*/ 37677 w 37676"/>
                    <a:gd name="connsiteY7" fmla="*/ 11434 h 46375"/>
                    <a:gd name="connsiteX8" fmla="*/ 26068 w 37676"/>
                    <a:gd name="connsiteY8" fmla="*/ 11434 h 4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676" h="46375">
                      <a:moveTo>
                        <a:pt x="26173" y="11434"/>
                      </a:moveTo>
                      <a:lnTo>
                        <a:pt x="26173" y="46376"/>
                      </a:lnTo>
                      <a:lnTo>
                        <a:pt x="11715" y="46376"/>
                      </a:lnTo>
                      <a:lnTo>
                        <a:pt x="11715" y="11434"/>
                      </a:lnTo>
                      <a:lnTo>
                        <a:pt x="0" y="11434"/>
                      </a:lnTo>
                      <a:lnTo>
                        <a:pt x="0" y="0"/>
                      </a:lnTo>
                      <a:lnTo>
                        <a:pt x="37677" y="0"/>
                      </a:lnTo>
                      <a:lnTo>
                        <a:pt x="37677" y="11434"/>
                      </a:lnTo>
                      <a:lnTo>
                        <a:pt x="26068" y="1143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</p:grpSp>
          <p:grpSp>
            <p:nvGrpSpPr>
              <p:cNvPr id="27" name="Graphic 34">
                <a:extLst>
                  <a:ext uri="{FF2B5EF4-FFF2-40B4-BE49-F238E27FC236}">
                    <a16:creationId xmlns:a16="http://schemas.microsoft.com/office/drawing/2014/main" id="{4912ED4B-2544-20D6-553E-0134518AF44B}"/>
                  </a:ext>
                </a:extLst>
              </p:cNvPr>
              <p:cNvGrpSpPr/>
              <p:nvPr/>
            </p:nvGrpSpPr>
            <p:grpSpPr>
              <a:xfrm>
                <a:off x="1010874" y="2503417"/>
                <a:ext cx="236720" cy="49474"/>
                <a:chOff x="1010874" y="2503417"/>
                <a:chExt cx="236720" cy="49474"/>
              </a:xfrm>
              <a:solidFill>
                <a:srgbClr val="000000"/>
              </a:solidFill>
            </p:grpSpPr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5AF49403-17BD-2280-169D-10EC9595F21F}"/>
                    </a:ext>
                  </a:extLst>
                </p:cNvPr>
                <p:cNvSpPr/>
                <p:nvPr/>
              </p:nvSpPr>
              <p:spPr>
                <a:xfrm>
                  <a:off x="1010874" y="2503417"/>
                  <a:ext cx="46014" cy="49474"/>
                </a:xfrm>
                <a:custGeom>
                  <a:avLst/>
                  <a:gdLst>
                    <a:gd name="connsiteX0" fmla="*/ 42426 w 46014"/>
                    <a:gd name="connsiteY0" fmla="*/ 41567 h 49474"/>
                    <a:gd name="connsiteX1" fmla="*/ 23746 w 46014"/>
                    <a:gd name="connsiteY1" fmla="*/ 49475 h 49474"/>
                    <a:gd name="connsiteX2" fmla="*/ 8232 w 46014"/>
                    <a:gd name="connsiteY2" fmla="*/ 44132 h 49474"/>
                    <a:gd name="connsiteX3" fmla="*/ 0 w 46014"/>
                    <a:gd name="connsiteY3" fmla="*/ 25111 h 49474"/>
                    <a:gd name="connsiteX4" fmla="*/ 4749 w 46014"/>
                    <a:gd name="connsiteY4" fmla="*/ 9617 h 49474"/>
                    <a:gd name="connsiteX5" fmla="*/ 23746 w 46014"/>
                    <a:gd name="connsiteY5" fmla="*/ 0 h 49474"/>
                    <a:gd name="connsiteX6" fmla="*/ 42954 w 46014"/>
                    <a:gd name="connsiteY6" fmla="*/ 8442 h 49474"/>
                    <a:gd name="connsiteX7" fmla="*/ 45909 w 46014"/>
                    <a:gd name="connsiteY7" fmla="*/ 12930 h 49474"/>
                    <a:gd name="connsiteX8" fmla="*/ 33772 w 46014"/>
                    <a:gd name="connsiteY8" fmla="*/ 19021 h 49474"/>
                    <a:gd name="connsiteX9" fmla="*/ 33139 w 46014"/>
                    <a:gd name="connsiteY9" fmla="*/ 17631 h 49474"/>
                    <a:gd name="connsiteX10" fmla="*/ 24274 w 46014"/>
                    <a:gd name="connsiteY10" fmla="*/ 11327 h 49474"/>
                    <a:gd name="connsiteX11" fmla="*/ 18997 w 46014"/>
                    <a:gd name="connsiteY11" fmla="*/ 12930 h 49474"/>
                    <a:gd name="connsiteX12" fmla="*/ 14670 w 46014"/>
                    <a:gd name="connsiteY12" fmla="*/ 24257 h 49474"/>
                    <a:gd name="connsiteX13" fmla="*/ 18891 w 46014"/>
                    <a:gd name="connsiteY13" fmla="*/ 35797 h 49474"/>
                    <a:gd name="connsiteX14" fmla="*/ 24379 w 46014"/>
                    <a:gd name="connsiteY14" fmla="*/ 37614 h 49474"/>
                    <a:gd name="connsiteX15" fmla="*/ 32611 w 46014"/>
                    <a:gd name="connsiteY15" fmla="*/ 32591 h 49474"/>
                    <a:gd name="connsiteX16" fmla="*/ 33667 w 46014"/>
                    <a:gd name="connsiteY16" fmla="*/ 29920 h 49474"/>
                    <a:gd name="connsiteX17" fmla="*/ 46014 w 46014"/>
                    <a:gd name="connsiteY17" fmla="*/ 35904 h 49474"/>
                    <a:gd name="connsiteX18" fmla="*/ 42426 w 46014"/>
                    <a:gd name="connsiteY18" fmla="*/ 41460 h 49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6014" h="49474">
                      <a:moveTo>
                        <a:pt x="42426" y="41567"/>
                      </a:moveTo>
                      <a:cubicBezTo>
                        <a:pt x="39682" y="44666"/>
                        <a:pt x="33878" y="49475"/>
                        <a:pt x="23746" y="49475"/>
                      </a:cubicBezTo>
                      <a:cubicBezTo>
                        <a:pt x="17941" y="49475"/>
                        <a:pt x="12770" y="48086"/>
                        <a:pt x="8232" y="44132"/>
                      </a:cubicBezTo>
                      <a:cubicBezTo>
                        <a:pt x="633" y="37614"/>
                        <a:pt x="0" y="28424"/>
                        <a:pt x="0" y="25111"/>
                      </a:cubicBezTo>
                      <a:cubicBezTo>
                        <a:pt x="0" y="22333"/>
                        <a:pt x="317" y="15922"/>
                        <a:pt x="4749" y="9617"/>
                      </a:cubicBezTo>
                      <a:cubicBezTo>
                        <a:pt x="11081" y="641"/>
                        <a:pt x="19736" y="0"/>
                        <a:pt x="23746" y="0"/>
                      </a:cubicBezTo>
                      <a:cubicBezTo>
                        <a:pt x="34194" y="0"/>
                        <a:pt x="40421" y="5557"/>
                        <a:pt x="42954" y="8442"/>
                      </a:cubicBezTo>
                      <a:cubicBezTo>
                        <a:pt x="44326" y="10045"/>
                        <a:pt x="44959" y="11113"/>
                        <a:pt x="45909" y="12930"/>
                      </a:cubicBezTo>
                      <a:lnTo>
                        <a:pt x="33772" y="19021"/>
                      </a:lnTo>
                      <a:cubicBezTo>
                        <a:pt x="33772" y="19021"/>
                        <a:pt x="33350" y="18059"/>
                        <a:pt x="33139" y="17631"/>
                      </a:cubicBezTo>
                      <a:cubicBezTo>
                        <a:pt x="32400" y="16029"/>
                        <a:pt x="30078" y="11220"/>
                        <a:pt x="24274" y="11327"/>
                      </a:cubicBezTo>
                      <a:cubicBezTo>
                        <a:pt x="21635" y="11327"/>
                        <a:pt x="19947" y="12289"/>
                        <a:pt x="18997" y="12930"/>
                      </a:cubicBezTo>
                      <a:cubicBezTo>
                        <a:pt x="14459" y="16349"/>
                        <a:pt x="14670" y="22974"/>
                        <a:pt x="14670" y="24257"/>
                      </a:cubicBezTo>
                      <a:cubicBezTo>
                        <a:pt x="14670" y="30668"/>
                        <a:pt x="16675" y="33980"/>
                        <a:pt x="18891" y="35797"/>
                      </a:cubicBezTo>
                      <a:cubicBezTo>
                        <a:pt x="21108" y="37614"/>
                        <a:pt x="23218" y="37614"/>
                        <a:pt x="24379" y="37614"/>
                      </a:cubicBezTo>
                      <a:cubicBezTo>
                        <a:pt x="29339" y="37614"/>
                        <a:pt x="31661" y="34194"/>
                        <a:pt x="32611" y="32591"/>
                      </a:cubicBezTo>
                      <a:cubicBezTo>
                        <a:pt x="32928" y="31950"/>
                        <a:pt x="33244" y="31309"/>
                        <a:pt x="33667" y="29920"/>
                      </a:cubicBezTo>
                      <a:lnTo>
                        <a:pt x="46014" y="35904"/>
                      </a:lnTo>
                      <a:cubicBezTo>
                        <a:pt x="44431" y="38896"/>
                        <a:pt x="43587" y="40071"/>
                        <a:pt x="42426" y="4146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9C574990-992B-00DC-663C-0577BEE100AD}"/>
                    </a:ext>
                  </a:extLst>
                </p:cNvPr>
                <p:cNvSpPr/>
                <p:nvPr/>
              </p:nvSpPr>
              <p:spPr>
                <a:xfrm>
                  <a:off x="1065331" y="2505127"/>
                  <a:ext cx="14458" cy="46269"/>
                </a:xfrm>
                <a:custGeom>
                  <a:avLst/>
                  <a:gdLst>
                    <a:gd name="connsiteX0" fmla="*/ 0 w 14458"/>
                    <a:gd name="connsiteY0" fmla="*/ 46269 h 46269"/>
                    <a:gd name="connsiteX1" fmla="*/ 0 w 14458"/>
                    <a:gd name="connsiteY1" fmla="*/ 0 h 46269"/>
                    <a:gd name="connsiteX2" fmla="*/ 14459 w 14458"/>
                    <a:gd name="connsiteY2" fmla="*/ 0 h 46269"/>
                    <a:gd name="connsiteX3" fmla="*/ 14459 w 14458"/>
                    <a:gd name="connsiteY3" fmla="*/ 46269 h 46269"/>
                    <a:gd name="connsiteX4" fmla="*/ 0 w 14458"/>
                    <a:gd name="connsiteY4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8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893936B1-8916-CE97-1188-10F06EF4EB7F}"/>
                    </a:ext>
                  </a:extLst>
                </p:cNvPr>
                <p:cNvSpPr/>
                <p:nvPr/>
              </p:nvSpPr>
              <p:spPr>
                <a:xfrm>
                  <a:off x="1087494" y="2505020"/>
                  <a:ext cx="37676" cy="46269"/>
                </a:xfrm>
                <a:custGeom>
                  <a:avLst/>
                  <a:gdLst>
                    <a:gd name="connsiteX0" fmla="*/ 26068 w 37676"/>
                    <a:gd name="connsiteY0" fmla="*/ 11434 h 46269"/>
                    <a:gd name="connsiteX1" fmla="*/ 26068 w 37676"/>
                    <a:gd name="connsiteY1" fmla="*/ 46269 h 46269"/>
                    <a:gd name="connsiteX2" fmla="*/ 11609 w 37676"/>
                    <a:gd name="connsiteY2" fmla="*/ 46269 h 46269"/>
                    <a:gd name="connsiteX3" fmla="*/ 11609 w 37676"/>
                    <a:gd name="connsiteY3" fmla="*/ 11434 h 46269"/>
                    <a:gd name="connsiteX4" fmla="*/ 0 w 37676"/>
                    <a:gd name="connsiteY4" fmla="*/ 11434 h 46269"/>
                    <a:gd name="connsiteX5" fmla="*/ 0 w 37676"/>
                    <a:gd name="connsiteY5" fmla="*/ 0 h 46269"/>
                    <a:gd name="connsiteX6" fmla="*/ 37677 w 37676"/>
                    <a:gd name="connsiteY6" fmla="*/ 0 h 46269"/>
                    <a:gd name="connsiteX7" fmla="*/ 37677 w 37676"/>
                    <a:gd name="connsiteY7" fmla="*/ 11434 h 46269"/>
                    <a:gd name="connsiteX8" fmla="*/ 26068 w 37676"/>
                    <a:gd name="connsiteY8" fmla="*/ 11434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676" h="46269">
                      <a:moveTo>
                        <a:pt x="26068" y="11434"/>
                      </a:moveTo>
                      <a:lnTo>
                        <a:pt x="26068" y="46269"/>
                      </a:lnTo>
                      <a:lnTo>
                        <a:pt x="11609" y="46269"/>
                      </a:lnTo>
                      <a:lnTo>
                        <a:pt x="11609" y="11434"/>
                      </a:lnTo>
                      <a:lnTo>
                        <a:pt x="0" y="11434"/>
                      </a:lnTo>
                      <a:lnTo>
                        <a:pt x="0" y="0"/>
                      </a:lnTo>
                      <a:lnTo>
                        <a:pt x="37677" y="0"/>
                      </a:lnTo>
                      <a:lnTo>
                        <a:pt x="37677" y="11434"/>
                      </a:lnTo>
                      <a:lnTo>
                        <a:pt x="26068" y="114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8233D277-EFFD-5EEE-D81B-722A11C05CB1}"/>
                    </a:ext>
                  </a:extLst>
                </p:cNvPr>
                <p:cNvSpPr/>
                <p:nvPr/>
              </p:nvSpPr>
              <p:spPr>
                <a:xfrm>
                  <a:off x="1132981" y="2505127"/>
                  <a:ext cx="14458" cy="46269"/>
                </a:xfrm>
                <a:custGeom>
                  <a:avLst/>
                  <a:gdLst>
                    <a:gd name="connsiteX0" fmla="*/ 0 w 14458"/>
                    <a:gd name="connsiteY0" fmla="*/ 46269 h 46269"/>
                    <a:gd name="connsiteX1" fmla="*/ 0 w 14458"/>
                    <a:gd name="connsiteY1" fmla="*/ 0 h 46269"/>
                    <a:gd name="connsiteX2" fmla="*/ 14459 w 14458"/>
                    <a:gd name="connsiteY2" fmla="*/ 0 h 46269"/>
                    <a:gd name="connsiteX3" fmla="*/ 14459 w 14458"/>
                    <a:gd name="connsiteY3" fmla="*/ 46269 h 46269"/>
                    <a:gd name="connsiteX4" fmla="*/ 0 w 14458"/>
                    <a:gd name="connsiteY4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8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14459" y="0"/>
                      </a:lnTo>
                      <a:lnTo>
                        <a:pt x="14459" y="46269"/>
                      </a:lnTo>
                      <a:lnTo>
                        <a:pt x="0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799F979F-65BC-6410-55EE-660BFA3D7C69}"/>
                    </a:ext>
                  </a:extLst>
                </p:cNvPr>
                <p:cNvSpPr/>
                <p:nvPr/>
              </p:nvSpPr>
              <p:spPr>
                <a:xfrm>
                  <a:off x="1158099" y="2505127"/>
                  <a:ext cx="38204" cy="46269"/>
                </a:xfrm>
                <a:custGeom>
                  <a:avLst/>
                  <a:gdLst>
                    <a:gd name="connsiteX0" fmla="*/ 0 w 38204"/>
                    <a:gd name="connsiteY0" fmla="*/ 46269 h 46269"/>
                    <a:gd name="connsiteX1" fmla="*/ 0 w 38204"/>
                    <a:gd name="connsiteY1" fmla="*/ 0 h 46269"/>
                    <a:gd name="connsiteX2" fmla="*/ 36199 w 38204"/>
                    <a:gd name="connsiteY2" fmla="*/ 0 h 46269"/>
                    <a:gd name="connsiteX3" fmla="*/ 36199 w 38204"/>
                    <a:gd name="connsiteY3" fmla="*/ 10151 h 46269"/>
                    <a:gd name="connsiteX4" fmla="*/ 14564 w 38204"/>
                    <a:gd name="connsiteY4" fmla="*/ 10151 h 46269"/>
                    <a:gd name="connsiteX5" fmla="*/ 14564 w 38204"/>
                    <a:gd name="connsiteY5" fmla="*/ 16990 h 46269"/>
                    <a:gd name="connsiteX6" fmla="*/ 34827 w 38204"/>
                    <a:gd name="connsiteY6" fmla="*/ 16990 h 46269"/>
                    <a:gd name="connsiteX7" fmla="*/ 34827 w 38204"/>
                    <a:gd name="connsiteY7" fmla="*/ 27035 h 46269"/>
                    <a:gd name="connsiteX8" fmla="*/ 14459 w 38204"/>
                    <a:gd name="connsiteY8" fmla="*/ 27035 h 46269"/>
                    <a:gd name="connsiteX9" fmla="*/ 14459 w 38204"/>
                    <a:gd name="connsiteY9" fmla="*/ 36224 h 46269"/>
                    <a:gd name="connsiteX10" fmla="*/ 38205 w 38204"/>
                    <a:gd name="connsiteY10" fmla="*/ 36224 h 46269"/>
                    <a:gd name="connsiteX11" fmla="*/ 38205 w 38204"/>
                    <a:gd name="connsiteY11" fmla="*/ 46269 h 46269"/>
                    <a:gd name="connsiteX12" fmla="*/ 106 w 38204"/>
                    <a:gd name="connsiteY12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04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36199" y="0"/>
                      </a:lnTo>
                      <a:lnTo>
                        <a:pt x="36199" y="10151"/>
                      </a:lnTo>
                      <a:lnTo>
                        <a:pt x="14564" y="10151"/>
                      </a:lnTo>
                      <a:lnTo>
                        <a:pt x="14564" y="16990"/>
                      </a:lnTo>
                      <a:lnTo>
                        <a:pt x="34827" y="16990"/>
                      </a:lnTo>
                      <a:lnTo>
                        <a:pt x="34827" y="27035"/>
                      </a:lnTo>
                      <a:lnTo>
                        <a:pt x="14459" y="27035"/>
                      </a:lnTo>
                      <a:lnTo>
                        <a:pt x="14459" y="36224"/>
                      </a:lnTo>
                      <a:lnTo>
                        <a:pt x="38205" y="36224"/>
                      </a:lnTo>
                      <a:lnTo>
                        <a:pt x="38205" y="46269"/>
                      </a:lnTo>
                      <a:lnTo>
                        <a:pt x="106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41" name="Freeform 40">
                  <a:extLst>
                    <a:ext uri="{FF2B5EF4-FFF2-40B4-BE49-F238E27FC236}">
                      <a16:creationId xmlns:a16="http://schemas.microsoft.com/office/drawing/2014/main" id="{21DECDA7-6843-37B1-7913-FE4CA4CC9E35}"/>
                    </a:ext>
                  </a:extLst>
                </p:cNvPr>
                <p:cNvSpPr/>
                <p:nvPr/>
              </p:nvSpPr>
              <p:spPr>
                <a:xfrm>
                  <a:off x="1202636" y="2503524"/>
                  <a:ext cx="44959" cy="49261"/>
                </a:xfrm>
                <a:custGeom>
                  <a:avLst/>
                  <a:gdLst>
                    <a:gd name="connsiteX0" fmla="*/ 38838 w 44959"/>
                    <a:gd name="connsiteY0" fmla="*/ 44987 h 49261"/>
                    <a:gd name="connsiteX1" fmla="*/ 23324 w 44959"/>
                    <a:gd name="connsiteY1" fmla="*/ 49261 h 49261"/>
                    <a:gd name="connsiteX2" fmla="*/ 4855 w 44959"/>
                    <a:gd name="connsiteY2" fmla="*/ 44025 h 49261"/>
                    <a:gd name="connsiteX3" fmla="*/ 0 w 44959"/>
                    <a:gd name="connsiteY3" fmla="*/ 39003 h 49261"/>
                    <a:gd name="connsiteX4" fmla="*/ 11081 w 44959"/>
                    <a:gd name="connsiteY4" fmla="*/ 31843 h 49261"/>
                    <a:gd name="connsiteX5" fmla="*/ 13298 w 44959"/>
                    <a:gd name="connsiteY5" fmla="*/ 34622 h 49261"/>
                    <a:gd name="connsiteX6" fmla="*/ 23852 w 44959"/>
                    <a:gd name="connsiteY6" fmla="*/ 37934 h 49261"/>
                    <a:gd name="connsiteX7" fmla="*/ 30817 w 44959"/>
                    <a:gd name="connsiteY7" fmla="*/ 34408 h 49261"/>
                    <a:gd name="connsiteX8" fmla="*/ 30500 w 44959"/>
                    <a:gd name="connsiteY8" fmla="*/ 33339 h 49261"/>
                    <a:gd name="connsiteX9" fmla="*/ 28284 w 44959"/>
                    <a:gd name="connsiteY9" fmla="*/ 31630 h 49261"/>
                    <a:gd name="connsiteX10" fmla="*/ 19630 w 44959"/>
                    <a:gd name="connsiteY10" fmla="*/ 29813 h 49261"/>
                    <a:gd name="connsiteX11" fmla="*/ 7810 w 44959"/>
                    <a:gd name="connsiteY11" fmla="*/ 25005 h 49261"/>
                    <a:gd name="connsiteX12" fmla="*/ 3905 w 44959"/>
                    <a:gd name="connsiteY12" fmla="*/ 15601 h 49261"/>
                    <a:gd name="connsiteX13" fmla="*/ 5594 w 44959"/>
                    <a:gd name="connsiteY13" fmla="*/ 8549 h 49261"/>
                    <a:gd name="connsiteX14" fmla="*/ 24063 w 44959"/>
                    <a:gd name="connsiteY14" fmla="*/ 0 h 49261"/>
                    <a:gd name="connsiteX15" fmla="*/ 41160 w 44959"/>
                    <a:gd name="connsiteY15" fmla="*/ 5022 h 49261"/>
                    <a:gd name="connsiteX16" fmla="*/ 44642 w 44959"/>
                    <a:gd name="connsiteY16" fmla="*/ 8228 h 49261"/>
                    <a:gd name="connsiteX17" fmla="*/ 35566 w 44959"/>
                    <a:gd name="connsiteY17" fmla="*/ 15922 h 49261"/>
                    <a:gd name="connsiteX18" fmla="*/ 34300 w 44959"/>
                    <a:gd name="connsiteY18" fmla="*/ 14426 h 49261"/>
                    <a:gd name="connsiteX19" fmla="*/ 23640 w 44959"/>
                    <a:gd name="connsiteY19" fmla="*/ 11220 h 49261"/>
                    <a:gd name="connsiteX20" fmla="*/ 20158 w 44959"/>
                    <a:gd name="connsiteY20" fmla="*/ 11861 h 49261"/>
                    <a:gd name="connsiteX21" fmla="*/ 18364 w 44959"/>
                    <a:gd name="connsiteY21" fmla="*/ 14319 h 49261"/>
                    <a:gd name="connsiteX22" fmla="*/ 19525 w 44959"/>
                    <a:gd name="connsiteY22" fmla="*/ 16456 h 49261"/>
                    <a:gd name="connsiteX23" fmla="*/ 24590 w 44959"/>
                    <a:gd name="connsiteY23" fmla="*/ 17845 h 49261"/>
                    <a:gd name="connsiteX24" fmla="*/ 35038 w 44959"/>
                    <a:gd name="connsiteY24" fmla="*/ 20196 h 49261"/>
                    <a:gd name="connsiteX25" fmla="*/ 44959 w 44959"/>
                    <a:gd name="connsiteY25" fmla="*/ 32912 h 49261"/>
                    <a:gd name="connsiteX26" fmla="*/ 38943 w 44959"/>
                    <a:gd name="connsiteY26" fmla="*/ 44987 h 49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4959" h="49261">
                      <a:moveTo>
                        <a:pt x="38838" y="44987"/>
                      </a:moveTo>
                      <a:cubicBezTo>
                        <a:pt x="32928" y="49368"/>
                        <a:pt x="25224" y="49261"/>
                        <a:pt x="23324" y="49261"/>
                      </a:cubicBezTo>
                      <a:cubicBezTo>
                        <a:pt x="16675" y="49261"/>
                        <a:pt x="10343" y="48192"/>
                        <a:pt x="4855" y="44025"/>
                      </a:cubicBezTo>
                      <a:cubicBezTo>
                        <a:pt x="2744" y="42422"/>
                        <a:pt x="1583" y="41033"/>
                        <a:pt x="0" y="39003"/>
                      </a:cubicBezTo>
                      <a:lnTo>
                        <a:pt x="11081" y="31843"/>
                      </a:lnTo>
                      <a:cubicBezTo>
                        <a:pt x="12031" y="33446"/>
                        <a:pt x="12665" y="34087"/>
                        <a:pt x="13298" y="34622"/>
                      </a:cubicBezTo>
                      <a:cubicBezTo>
                        <a:pt x="15936" y="36866"/>
                        <a:pt x="20685" y="37934"/>
                        <a:pt x="23852" y="37934"/>
                      </a:cubicBezTo>
                      <a:cubicBezTo>
                        <a:pt x="27967" y="37934"/>
                        <a:pt x="30817" y="36652"/>
                        <a:pt x="30817" y="34408"/>
                      </a:cubicBezTo>
                      <a:cubicBezTo>
                        <a:pt x="30817" y="33874"/>
                        <a:pt x="30606" y="33446"/>
                        <a:pt x="30500" y="33339"/>
                      </a:cubicBezTo>
                      <a:cubicBezTo>
                        <a:pt x="30184" y="32698"/>
                        <a:pt x="29656" y="32057"/>
                        <a:pt x="28284" y="31630"/>
                      </a:cubicBezTo>
                      <a:cubicBezTo>
                        <a:pt x="26701" y="30989"/>
                        <a:pt x="23746" y="30668"/>
                        <a:pt x="19630" y="29813"/>
                      </a:cubicBezTo>
                      <a:cubicBezTo>
                        <a:pt x="13298" y="28531"/>
                        <a:pt x="10026" y="27035"/>
                        <a:pt x="7810" y="25005"/>
                      </a:cubicBezTo>
                      <a:cubicBezTo>
                        <a:pt x="6438" y="23722"/>
                        <a:pt x="3799" y="20730"/>
                        <a:pt x="3905" y="15601"/>
                      </a:cubicBezTo>
                      <a:cubicBezTo>
                        <a:pt x="3905" y="14319"/>
                        <a:pt x="3905" y="11541"/>
                        <a:pt x="5594" y="8549"/>
                      </a:cubicBezTo>
                      <a:cubicBezTo>
                        <a:pt x="10237" y="-107"/>
                        <a:pt x="22374" y="0"/>
                        <a:pt x="24063" y="0"/>
                      </a:cubicBezTo>
                      <a:cubicBezTo>
                        <a:pt x="26384" y="0"/>
                        <a:pt x="34616" y="107"/>
                        <a:pt x="41160" y="5022"/>
                      </a:cubicBezTo>
                      <a:cubicBezTo>
                        <a:pt x="42532" y="6091"/>
                        <a:pt x="43376" y="6946"/>
                        <a:pt x="44642" y="8228"/>
                      </a:cubicBezTo>
                      <a:lnTo>
                        <a:pt x="35566" y="15922"/>
                      </a:lnTo>
                      <a:cubicBezTo>
                        <a:pt x="34933" y="15174"/>
                        <a:pt x="34616" y="14746"/>
                        <a:pt x="34300" y="14426"/>
                      </a:cubicBezTo>
                      <a:cubicBezTo>
                        <a:pt x="31661" y="11968"/>
                        <a:pt x="27018" y="11220"/>
                        <a:pt x="23640" y="11220"/>
                      </a:cubicBezTo>
                      <a:cubicBezTo>
                        <a:pt x="23324" y="11220"/>
                        <a:pt x="21530" y="11220"/>
                        <a:pt x="20158" y="11861"/>
                      </a:cubicBezTo>
                      <a:cubicBezTo>
                        <a:pt x="19947" y="11968"/>
                        <a:pt x="18364" y="12716"/>
                        <a:pt x="18364" y="14319"/>
                      </a:cubicBezTo>
                      <a:cubicBezTo>
                        <a:pt x="18364" y="15174"/>
                        <a:pt x="18891" y="15922"/>
                        <a:pt x="19525" y="16456"/>
                      </a:cubicBezTo>
                      <a:cubicBezTo>
                        <a:pt x="20685" y="17204"/>
                        <a:pt x="23429" y="17738"/>
                        <a:pt x="24590" y="17845"/>
                      </a:cubicBezTo>
                      <a:cubicBezTo>
                        <a:pt x="26173" y="18059"/>
                        <a:pt x="30500" y="18700"/>
                        <a:pt x="35038" y="20196"/>
                      </a:cubicBezTo>
                      <a:cubicBezTo>
                        <a:pt x="37888" y="21158"/>
                        <a:pt x="44959" y="23722"/>
                        <a:pt x="44959" y="32912"/>
                      </a:cubicBezTo>
                      <a:cubicBezTo>
                        <a:pt x="44959" y="39751"/>
                        <a:pt x="40949" y="43491"/>
                        <a:pt x="38943" y="4498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</p:grpSp>
          <p:grpSp>
            <p:nvGrpSpPr>
              <p:cNvPr id="28" name="Graphic 34">
                <a:extLst>
                  <a:ext uri="{FF2B5EF4-FFF2-40B4-BE49-F238E27FC236}">
                    <a16:creationId xmlns:a16="http://schemas.microsoft.com/office/drawing/2014/main" id="{A96BF36E-7ACD-99BD-4C4A-3FAEDCA12ECB}"/>
                  </a:ext>
                </a:extLst>
              </p:cNvPr>
              <p:cNvGrpSpPr/>
              <p:nvPr/>
            </p:nvGrpSpPr>
            <p:grpSpPr>
              <a:xfrm>
                <a:off x="1010874" y="2572554"/>
                <a:ext cx="352073" cy="49047"/>
                <a:chOff x="1010874" y="2572554"/>
                <a:chExt cx="352073" cy="49047"/>
              </a:xfrm>
              <a:solidFill>
                <a:srgbClr val="000000"/>
              </a:solidFill>
            </p:grpSpPr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9B5A11C2-A953-BF4C-E61A-FE84F0C24E09}"/>
                    </a:ext>
                  </a:extLst>
                </p:cNvPr>
                <p:cNvSpPr/>
                <p:nvPr/>
              </p:nvSpPr>
              <p:spPr>
                <a:xfrm>
                  <a:off x="1010874" y="2574050"/>
                  <a:ext cx="38415" cy="46269"/>
                </a:xfrm>
                <a:custGeom>
                  <a:avLst/>
                  <a:gdLst>
                    <a:gd name="connsiteX0" fmla="*/ 27123 w 38415"/>
                    <a:gd name="connsiteY0" fmla="*/ 46269 h 46269"/>
                    <a:gd name="connsiteX1" fmla="*/ 10976 w 38415"/>
                    <a:gd name="connsiteY1" fmla="*/ 18273 h 46269"/>
                    <a:gd name="connsiteX2" fmla="*/ 10976 w 38415"/>
                    <a:gd name="connsiteY2" fmla="*/ 46269 h 46269"/>
                    <a:gd name="connsiteX3" fmla="*/ 0 w 38415"/>
                    <a:gd name="connsiteY3" fmla="*/ 46269 h 46269"/>
                    <a:gd name="connsiteX4" fmla="*/ 0 w 38415"/>
                    <a:gd name="connsiteY4" fmla="*/ 0 h 46269"/>
                    <a:gd name="connsiteX5" fmla="*/ 11187 w 38415"/>
                    <a:gd name="connsiteY5" fmla="*/ 0 h 46269"/>
                    <a:gd name="connsiteX6" fmla="*/ 27440 w 38415"/>
                    <a:gd name="connsiteY6" fmla="*/ 28210 h 46269"/>
                    <a:gd name="connsiteX7" fmla="*/ 27440 w 38415"/>
                    <a:gd name="connsiteY7" fmla="*/ 0 h 46269"/>
                    <a:gd name="connsiteX8" fmla="*/ 38416 w 38415"/>
                    <a:gd name="connsiteY8" fmla="*/ 0 h 46269"/>
                    <a:gd name="connsiteX9" fmla="*/ 38416 w 38415"/>
                    <a:gd name="connsiteY9" fmla="*/ 46269 h 46269"/>
                    <a:gd name="connsiteX10" fmla="*/ 27229 w 38415"/>
                    <a:gd name="connsiteY10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8415" h="46269">
                      <a:moveTo>
                        <a:pt x="27123" y="46269"/>
                      </a:moveTo>
                      <a:lnTo>
                        <a:pt x="10976" y="18273"/>
                      </a:lnTo>
                      <a:lnTo>
                        <a:pt x="10976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11187" y="0"/>
                      </a:lnTo>
                      <a:lnTo>
                        <a:pt x="27440" y="28210"/>
                      </a:lnTo>
                      <a:lnTo>
                        <a:pt x="27440" y="0"/>
                      </a:lnTo>
                      <a:lnTo>
                        <a:pt x="38416" y="0"/>
                      </a:lnTo>
                      <a:lnTo>
                        <a:pt x="38416" y="46269"/>
                      </a:lnTo>
                      <a:lnTo>
                        <a:pt x="27229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88B252D4-58D0-20FC-9CAF-D51DBB086B44}"/>
                    </a:ext>
                  </a:extLst>
                </p:cNvPr>
                <p:cNvSpPr/>
                <p:nvPr/>
              </p:nvSpPr>
              <p:spPr>
                <a:xfrm>
                  <a:off x="1061638" y="2574050"/>
                  <a:ext cx="35882" cy="46269"/>
                </a:xfrm>
                <a:custGeom>
                  <a:avLst/>
                  <a:gdLst>
                    <a:gd name="connsiteX0" fmla="*/ 0 w 35882"/>
                    <a:gd name="connsiteY0" fmla="*/ 46269 h 46269"/>
                    <a:gd name="connsiteX1" fmla="*/ 0 w 35882"/>
                    <a:gd name="connsiteY1" fmla="*/ 0 h 46269"/>
                    <a:gd name="connsiteX2" fmla="*/ 33772 w 35882"/>
                    <a:gd name="connsiteY2" fmla="*/ 0 h 46269"/>
                    <a:gd name="connsiteX3" fmla="*/ 33772 w 35882"/>
                    <a:gd name="connsiteY3" fmla="*/ 8869 h 46269"/>
                    <a:gd name="connsiteX4" fmla="*/ 11398 w 35882"/>
                    <a:gd name="connsiteY4" fmla="*/ 8869 h 46269"/>
                    <a:gd name="connsiteX5" fmla="*/ 11398 w 35882"/>
                    <a:gd name="connsiteY5" fmla="*/ 17311 h 46269"/>
                    <a:gd name="connsiteX6" fmla="*/ 32294 w 35882"/>
                    <a:gd name="connsiteY6" fmla="*/ 17311 h 46269"/>
                    <a:gd name="connsiteX7" fmla="*/ 32294 w 35882"/>
                    <a:gd name="connsiteY7" fmla="*/ 26073 h 46269"/>
                    <a:gd name="connsiteX8" fmla="*/ 11398 w 35882"/>
                    <a:gd name="connsiteY8" fmla="*/ 26073 h 46269"/>
                    <a:gd name="connsiteX9" fmla="*/ 11398 w 35882"/>
                    <a:gd name="connsiteY9" fmla="*/ 37079 h 46269"/>
                    <a:gd name="connsiteX10" fmla="*/ 35883 w 35882"/>
                    <a:gd name="connsiteY10" fmla="*/ 37079 h 46269"/>
                    <a:gd name="connsiteX11" fmla="*/ 35883 w 35882"/>
                    <a:gd name="connsiteY11" fmla="*/ 46162 h 46269"/>
                    <a:gd name="connsiteX12" fmla="*/ 0 w 35882"/>
                    <a:gd name="connsiteY12" fmla="*/ 46162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5882" h="46269">
                      <a:moveTo>
                        <a:pt x="0" y="46269"/>
                      </a:moveTo>
                      <a:lnTo>
                        <a:pt x="0" y="0"/>
                      </a:lnTo>
                      <a:lnTo>
                        <a:pt x="33772" y="0"/>
                      </a:lnTo>
                      <a:lnTo>
                        <a:pt x="33772" y="8869"/>
                      </a:lnTo>
                      <a:lnTo>
                        <a:pt x="11398" y="8869"/>
                      </a:lnTo>
                      <a:lnTo>
                        <a:pt x="11398" y="17311"/>
                      </a:lnTo>
                      <a:lnTo>
                        <a:pt x="32294" y="17311"/>
                      </a:lnTo>
                      <a:lnTo>
                        <a:pt x="32294" y="26073"/>
                      </a:lnTo>
                      <a:lnTo>
                        <a:pt x="11398" y="26073"/>
                      </a:lnTo>
                      <a:lnTo>
                        <a:pt x="11398" y="37079"/>
                      </a:lnTo>
                      <a:lnTo>
                        <a:pt x="35883" y="37079"/>
                      </a:lnTo>
                      <a:lnTo>
                        <a:pt x="35883" y="46162"/>
                      </a:lnTo>
                      <a:lnTo>
                        <a:pt x="0" y="4616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F13A953D-6AC9-484A-72E5-D89ECFB43B88}"/>
                    </a:ext>
                  </a:extLst>
                </p:cNvPr>
                <p:cNvSpPr/>
                <p:nvPr/>
              </p:nvSpPr>
              <p:spPr>
                <a:xfrm>
                  <a:off x="1103008" y="2574050"/>
                  <a:ext cx="35249" cy="46269"/>
                </a:xfrm>
                <a:custGeom>
                  <a:avLst/>
                  <a:gdLst>
                    <a:gd name="connsiteX0" fmla="*/ 23429 w 35249"/>
                    <a:gd name="connsiteY0" fmla="*/ 9083 h 46269"/>
                    <a:gd name="connsiteX1" fmla="*/ 23429 w 35249"/>
                    <a:gd name="connsiteY1" fmla="*/ 46269 h 46269"/>
                    <a:gd name="connsiteX2" fmla="*/ 11926 w 35249"/>
                    <a:gd name="connsiteY2" fmla="*/ 46269 h 46269"/>
                    <a:gd name="connsiteX3" fmla="*/ 11926 w 35249"/>
                    <a:gd name="connsiteY3" fmla="*/ 9083 h 46269"/>
                    <a:gd name="connsiteX4" fmla="*/ 0 w 35249"/>
                    <a:gd name="connsiteY4" fmla="*/ 9083 h 46269"/>
                    <a:gd name="connsiteX5" fmla="*/ 0 w 35249"/>
                    <a:gd name="connsiteY5" fmla="*/ 0 h 46269"/>
                    <a:gd name="connsiteX6" fmla="*/ 35249 w 35249"/>
                    <a:gd name="connsiteY6" fmla="*/ 0 h 46269"/>
                    <a:gd name="connsiteX7" fmla="*/ 35249 w 35249"/>
                    <a:gd name="connsiteY7" fmla="*/ 9083 h 46269"/>
                    <a:gd name="connsiteX8" fmla="*/ 23429 w 35249"/>
                    <a:gd name="connsiteY8" fmla="*/ 9083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249" h="46269">
                      <a:moveTo>
                        <a:pt x="23429" y="9083"/>
                      </a:moveTo>
                      <a:lnTo>
                        <a:pt x="23429" y="46269"/>
                      </a:lnTo>
                      <a:lnTo>
                        <a:pt x="11926" y="46269"/>
                      </a:lnTo>
                      <a:lnTo>
                        <a:pt x="11926" y="9083"/>
                      </a:lnTo>
                      <a:lnTo>
                        <a:pt x="0" y="9083"/>
                      </a:lnTo>
                      <a:lnTo>
                        <a:pt x="0" y="0"/>
                      </a:lnTo>
                      <a:lnTo>
                        <a:pt x="35249" y="0"/>
                      </a:lnTo>
                      <a:lnTo>
                        <a:pt x="35249" y="9083"/>
                      </a:lnTo>
                      <a:lnTo>
                        <a:pt x="23429" y="908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4565B902-165A-58E3-1E18-BBD3D23ED73B}"/>
                    </a:ext>
                  </a:extLst>
                </p:cNvPr>
                <p:cNvSpPr/>
                <p:nvPr/>
              </p:nvSpPr>
              <p:spPr>
                <a:xfrm>
                  <a:off x="1144907" y="2574050"/>
                  <a:ext cx="63322" cy="46269"/>
                </a:xfrm>
                <a:custGeom>
                  <a:avLst/>
                  <a:gdLst>
                    <a:gd name="connsiteX0" fmla="*/ 51819 w 63322"/>
                    <a:gd name="connsiteY0" fmla="*/ 46269 h 46269"/>
                    <a:gd name="connsiteX1" fmla="*/ 39999 w 63322"/>
                    <a:gd name="connsiteY1" fmla="*/ 46269 h 46269"/>
                    <a:gd name="connsiteX2" fmla="*/ 31767 w 63322"/>
                    <a:gd name="connsiteY2" fmla="*/ 16670 h 46269"/>
                    <a:gd name="connsiteX3" fmla="*/ 23429 w 63322"/>
                    <a:gd name="connsiteY3" fmla="*/ 46269 h 46269"/>
                    <a:gd name="connsiteX4" fmla="*/ 11609 w 63322"/>
                    <a:gd name="connsiteY4" fmla="*/ 46269 h 46269"/>
                    <a:gd name="connsiteX5" fmla="*/ 0 w 63322"/>
                    <a:gd name="connsiteY5" fmla="*/ 0 h 46269"/>
                    <a:gd name="connsiteX6" fmla="*/ 11504 w 63322"/>
                    <a:gd name="connsiteY6" fmla="*/ 0 h 46269"/>
                    <a:gd name="connsiteX7" fmla="*/ 18258 w 63322"/>
                    <a:gd name="connsiteY7" fmla="*/ 31843 h 46269"/>
                    <a:gd name="connsiteX8" fmla="*/ 26595 w 63322"/>
                    <a:gd name="connsiteY8" fmla="*/ 0 h 46269"/>
                    <a:gd name="connsiteX9" fmla="*/ 36727 w 63322"/>
                    <a:gd name="connsiteY9" fmla="*/ 0 h 46269"/>
                    <a:gd name="connsiteX10" fmla="*/ 45276 w 63322"/>
                    <a:gd name="connsiteY10" fmla="*/ 31843 h 46269"/>
                    <a:gd name="connsiteX11" fmla="*/ 51924 w 63322"/>
                    <a:gd name="connsiteY11" fmla="*/ 0 h 46269"/>
                    <a:gd name="connsiteX12" fmla="*/ 63323 w 63322"/>
                    <a:gd name="connsiteY12" fmla="*/ 0 h 46269"/>
                    <a:gd name="connsiteX13" fmla="*/ 51713 w 63322"/>
                    <a:gd name="connsiteY13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3322" h="46269">
                      <a:moveTo>
                        <a:pt x="51819" y="46269"/>
                      </a:moveTo>
                      <a:lnTo>
                        <a:pt x="39999" y="46269"/>
                      </a:lnTo>
                      <a:lnTo>
                        <a:pt x="31767" y="16670"/>
                      </a:lnTo>
                      <a:lnTo>
                        <a:pt x="23429" y="46269"/>
                      </a:lnTo>
                      <a:lnTo>
                        <a:pt x="11609" y="46269"/>
                      </a:lnTo>
                      <a:lnTo>
                        <a:pt x="0" y="0"/>
                      </a:lnTo>
                      <a:lnTo>
                        <a:pt x="11504" y="0"/>
                      </a:lnTo>
                      <a:lnTo>
                        <a:pt x="18258" y="31843"/>
                      </a:lnTo>
                      <a:lnTo>
                        <a:pt x="26595" y="0"/>
                      </a:lnTo>
                      <a:lnTo>
                        <a:pt x="36727" y="0"/>
                      </a:lnTo>
                      <a:lnTo>
                        <a:pt x="45276" y="31843"/>
                      </a:lnTo>
                      <a:lnTo>
                        <a:pt x="51924" y="0"/>
                      </a:lnTo>
                      <a:lnTo>
                        <a:pt x="63323" y="0"/>
                      </a:lnTo>
                      <a:lnTo>
                        <a:pt x="51713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3" name="Freeform 32">
                  <a:extLst>
                    <a:ext uri="{FF2B5EF4-FFF2-40B4-BE49-F238E27FC236}">
                      <a16:creationId xmlns:a16="http://schemas.microsoft.com/office/drawing/2014/main" id="{F9983934-EBFB-33CD-C769-FB506F7BF137}"/>
                    </a:ext>
                  </a:extLst>
                </p:cNvPr>
                <p:cNvSpPr/>
                <p:nvPr/>
              </p:nvSpPr>
              <p:spPr>
                <a:xfrm>
                  <a:off x="1214139" y="2572554"/>
                  <a:ext cx="45803" cy="49047"/>
                </a:xfrm>
                <a:custGeom>
                  <a:avLst/>
                  <a:gdLst>
                    <a:gd name="connsiteX0" fmla="*/ 37044 w 45803"/>
                    <a:gd name="connsiteY0" fmla="*/ 44239 h 49047"/>
                    <a:gd name="connsiteX1" fmla="*/ 22691 w 45803"/>
                    <a:gd name="connsiteY1" fmla="*/ 49047 h 49047"/>
                    <a:gd name="connsiteX2" fmla="*/ 6543 w 45803"/>
                    <a:gd name="connsiteY2" fmla="*/ 42422 h 49047"/>
                    <a:gd name="connsiteX3" fmla="*/ 0 w 45803"/>
                    <a:gd name="connsiteY3" fmla="*/ 24363 h 49047"/>
                    <a:gd name="connsiteX4" fmla="*/ 4327 w 45803"/>
                    <a:gd name="connsiteY4" fmla="*/ 9403 h 49047"/>
                    <a:gd name="connsiteX5" fmla="*/ 22585 w 45803"/>
                    <a:gd name="connsiteY5" fmla="*/ 0 h 49047"/>
                    <a:gd name="connsiteX6" fmla="*/ 38943 w 45803"/>
                    <a:gd name="connsiteY6" fmla="*/ 6411 h 49047"/>
                    <a:gd name="connsiteX7" fmla="*/ 45803 w 45803"/>
                    <a:gd name="connsiteY7" fmla="*/ 24898 h 49047"/>
                    <a:gd name="connsiteX8" fmla="*/ 37149 w 45803"/>
                    <a:gd name="connsiteY8" fmla="*/ 44239 h 49047"/>
                    <a:gd name="connsiteX9" fmla="*/ 31345 w 45803"/>
                    <a:gd name="connsiteY9" fmla="*/ 13998 h 49047"/>
                    <a:gd name="connsiteX10" fmla="*/ 26912 w 45803"/>
                    <a:gd name="connsiteY10" fmla="*/ 10472 h 49047"/>
                    <a:gd name="connsiteX11" fmla="*/ 22479 w 45803"/>
                    <a:gd name="connsiteY11" fmla="*/ 9617 h 49047"/>
                    <a:gd name="connsiteX12" fmla="*/ 17414 w 45803"/>
                    <a:gd name="connsiteY12" fmla="*/ 10899 h 49047"/>
                    <a:gd name="connsiteX13" fmla="*/ 11187 w 45803"/>
                    <a:gd name="connsiteY13" fmla="*/ 24150 h 49047"/>
                    <a:gd name="connsiteX14" fmla="*/ 14986 w 45803"/>
                    <a:gd name="connsiteY14" fmla="*/ 35904 h 49047"/>
                    <a:gd name="connsiteX15" fmla="*/ 22691 w 45803"/>
                    <a:gd name="connsiteY15" fmla="*/ 39216 h 49047"/>
                    <a:gd name="connsiteX16" fmla="*/ 30606 w 45803"/>
                    <a:gd name="connsiteY16" fmla="*/ 35690 h 49047"/>
                    <a:gd name="connsiteX17" fmla="*/ 34194 w 45803"/>
                    <a:gd name="connsiteY17" fmla="*/ 25539 h 49047"/>
                    <a:gd name="connsiteX18" fmla="*/ 31239 w 45803"/>
                    <a:gd name="connsiteY18" fmla="*/ 13891 h 49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5803" h="49047">
                      <a:moveTo>
                        <a:pt x="37044" y="44239"/>
                      </a:moveTo>
                      <a:cubicBezTo>
                        <a:pt x="34616" y="46269"/>
                        <a:pt x="30184" y="49047"/>
                        <a:pt x="22691" y="49047"/>
                      </a:cubicBezTo>
                      <a:cubicBezTo>
                        <a:pt x="19947" y="49047"/>
                        <a:pt x="12348" y="48620"/>
                        <a:pt x="6543" y="42422"/>
                      </a:cubicBezTo>
                      <a:cubicBezTo>
                        <a:pt x="422" y="35904"/>
                        <a:pt x="0" y="27035"/>
                        <a:pt x="0" y="24363"/>
                      </a:cubicBezTo>
                      <a:cubicBezTo>
                        <a:pt x="0" y="21906"/>
                        <a:pt x="317" y="15387"/>
                        <a:pt x="4327" y="9403"/>
                      </a:cubicBezTo>
                      <a:cubicBezTo>
                        <a:pt x="6649" y="5877"/>
                        <a:pt x="11926" y="0"/>
                        <a:pt x="22585" y="0"/>
                      </a:cubicBezTo>
                      <a:cubicBezTo>
                        <a:pt x="31239" y="0"/>
                        <a:pt x="36516" y="3954"/>
                        <a:pt x="38943" y="6411"/>
                      </a:cubicBezTo>
                      <a:cubicBezTo>
                        <a:pt x="43376" y="11006"/>
                        <a:pt x="45803" y="18486"/>
                        <a:pt x="45803" y="24898"/>
                      </a:cubicBezTo>
                      <a:cubicBezTo>
                        <a:pt x="45803" y="31950"/>
                        <a:pt x="42743" y="39537"/>
                        <a:pt x="37149" y="44239"/>
                      </a:cubicBezTo>
                      <a:close/>
                      <a:moveTo>
                        <a:pt x="31345" y="13998"/>
                      </a:moveTo>
                      <a:cubicBezTo>
                        <a:pt x="30711" y="13250"/>
                        <a:pt x="29445" y="11541"/>
                        <a:pt x="26912" y="10472"/>
                      </a:cubicBezTo>
                      <a:cubicBezTo>
                        <a:pt x="25012" y="9724"/>
                        <a:pt x="23324" y="9617"/>
                        <a:pt x="22479" y="9617"/>
                      </a:cubicBezTo>
                      <a:cubicBezTo>
                        <a:pt x="19947" y="9617"/>
                        <a:pt x="18258" y="10472"/>
                        <a:pt x="17414" y="10899"/>
                      </a:cubicBezTo>
                      <a:cubicBezTo>
                        <a:pt x="12770" y="13571"/>
                        <a:pt x="11187" y="19234"/>
                        <a:pt x="11187" y="24150"/>
                      </a:cubicBezTo>
                      <a:cubicBezTo>
                        <a:pt x="11187" y="30454"/>
                        <a:pt x="13087" y="33874"/>
                        <a:pt x="14986" y="35904"/>
                      </a:cubicBezTo>
                      <a:cubicBezTo>
                        <a:pt x="16992" y="38041"/>
                        <a:pt x="19736" y="39216"/>
                        <a:pt x="22691" y="39216"/>
                      </a:cubicBezTo>
                      <a:cubicBezTo>
                        <a:pt x="24168" y="39216"/>
                        <a:pt x="27756" y="38789"/>
                        <a:pt x="30606" y="35690"/>
                      </a:cubicBezTo>
                      <a:cubicBezTo>
                        <a:pt x="33244" y="32912"/>
                        <a:pt x="34089" y="29172"/>
                        <a:pt x="34194" y="25539"/>
                      </a:cubicBezTo>
                      <a:cubicBezTo>
                        <a:pt x="34405" y="19662"/>
                        <a:pt x="32611" y="15815"/>
                        <a:pt x="31239" y="1389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BC0D982B-C28E-4883-175F-4EF546C55ADA}"/>
                    </a:ext>
                  </a:extLst>
                </p:cNvPr>
                <p:cNvSpPr/>
                <p:nvPr/>
              </p:nvSpPr>
              <p:spPr>
                <a:xfrm>
                  <a:off x="1269230" y="2574050"/>
                  <a:ext cx="40315" cy="46269"/>
                </a:xfrm>
                <a:custGeom>
                  <a:avLst/>
                  <a:gdLst>
                    <a:gd name="connsiteX0" fmla="*/ 27651 w 40315"/>
                    <a:gd name="connsiteY0" fmla="*/ 46269 h 46269"/>
                    <a:gd name="connsiteX1" fmla="*/ 18575 w 40315"/>
                    <a:gd name="connsiteY1" fmla="*/ 29706 h 46269"/>
                    <a:gd name="connsiteX2" fmla="*/ 11504 w 40315"/>
                    <a:gd name="connsiteY2" fmla="*/ 29706 h 46269"/>
                    <a:gd name="connsiteX3" fmla="*/ 11504 w 40315"/>
                    <a:gd name="connsiteY3" fmla="*/ 46269 h 46269"/>
                    <a:gd name="connsiteX4" fmla="*/ 0 w 40315"/>
                    <a:gd name="connsiteY4" fmla="*/ 46269 h 46269"/>
                    <a:gd name="connsiteX5" fmla="*/ 0 w 40315"/>
                    <a:gd name="connsiteY5" fmla="*/ 0 h 46269"/>
                    <a:gd name="connsiteX6" fmla="*/ 20580 w 40315"/>
                    <a:gd name="connsiteY6" fmla="*/ 0 h 46269"/>
                    <a:gd name="connsiteX7" fmla="*/ 24485 w 40315"/>
                    <a:gd name="connsiteY7" fmla="*/ 0 h 46269"/>
                    <a:gd name="connsiteX8" fmla="*/ 37360 w 40315"/>
                    <a:gd name="connsiteY8" fmla="*/ 7159 h 46269"/>
                    <a:gd name="connsiteX9" fmla="*/ 39154 w 40315"/>
                    <a:gd name="connsiteY9" fmla="*/ 14853 h 46269"/>
                    <a:gd name="connsiteX10" fmla="*/ 35566 w 40315"/>
                    <a:gd name="connsiteY10" fmla="*/ 24257 h 46269"/>
                    <a:gd name="connsiteX11" fmla="*/ 33455 w 40315"/>
                    <a:gd name="connsiteY11" fmla="*/ 25966 h 46269"/>
                    <a:gd name="connsiteX12" fmla="*/ 29762 w 40315"/>
                    <a:gd name="connsiteY12" fmla="*/ 27569 h 46269"/>
                    <a:gd name="connsiteX13" fmla="*/ 40315 w 40315"/>
                    <a:gd name="connsiteY13" fmla="*/ 46055 h 46269"/>
                    <a:gd name="connsiteX14" fmla="*/ 27756 w 40315"/>
                    <a:gd name="connsiteY14" fmla="*/ 46055 h 46269"/>
                    <a:gd name="connsiteX15" fmla="*/ 21108 w 40315"/>
                    <a:gd name="connsiteY15" fmla="*/ 8549 h 46269"/>
                    <a:gd name="connsiteX16" fmla="*/ 11398 w 40315"/>
                    <a:gd name="connsiteY16" fmla="*/ 8549 h 46269"/>
                    <a:gd name="connsiteX17" fmla="*/ 11398 w 40315"/>
                    <a:gd name="connsiteY17" fmla="*/ 21158 h 46269"/>
                    <a:gd name="connsiteX18" fmla="*/ 20896 w 40315"/>
                    <a:gd name="connsiteY18" fmla="*/ 21158 h 46269"/>
                    <a:gd name="connsiteX19" fmla="*/ 23957 w 40315"/>
                    <a:gd name="connsiteY19" fmla="*/ 20730 h 46269"/>
                    <a:gd name="connsiteX20" fmla="*/ 27756 w 40315"/>
                    <a:gd name="connsiteY20" fmla="*/ 14746 h 46269"/>
                    <a:gd name="connsiteX21" fmla="*/ 21108 w 40315"/>
                    <a:gd name="connsiteY21" fmla="*/ 854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0315" h="46269">
                      <a:moveTo>
                        <a:pt x="27651" y="46269"/>
                      </a:moveTo>
                      <a:lnTo>
                        <a:pt x="18575" y="29706"/>
                      </a:lnTo>
                      <a:lnTo>
                        <a:pt x="11504" y="29706"/>
                      </a:lnTo>
                      <a:lnTo>
                        <a:pt x="11504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20580" y="0"/>
                      </a:lnTo>
                      <a:cubicBezTo>
                        <a:pt x="21846" y="0"/>
                        <a:pt x="23218" y="0"/>
                        <a:pt x="24485" y="0"/>
                      </a:cubicBezTo>
                      <a:cubicBezTo>
                        <a:pt x="26595" y="107"/>
                        <a:pt x="33772" y="641"/>
                        <a:pt x="37360" y="7159"/>
                      </a:cubicBezTo>
                      <a:cubicBezTo>
                        <a:pt x="37993" y="8442"/>
                        <a:pt x="39154" y="11113"/>
                        <a:pt x="39154" y="14853"/>
                      </a:cubicBezTo>
                      <a:cubicBezTo>
                        <a:pt x="39154" y="19982"/>
                        <a:pt x="37149" y="22760"/>
                        <a:pt x="35566" y="24257"/>
                      </a:cubicBezTo>
                      <a:cubicBezTo>
                        <a:pt x="34933" y="24898"/>
                        <a:pt x="34194" y="25539"/>
                        <a:pt x="33455" y="25966"/>
                      </a:cubicBezTo>
                      <a:cubicBezTo>
                        <a:pt x="32611" y="26394"/>
                        <a:pt x="31661" y="26928"/>
                        <a:pt x="29762" y="27569"/>
                      </a:cubicBezTo>
                      <a:lnTo>
                        <a:pt x="40315" y="46055"/>
                      </a:lnTo>
                      <a:lnTo>
                        <a:pt x="27756" y="46055"/>
                      </a:lnTo>
                      <a:close/>
                      <a:moveTo>
                        <a:pt x="21108" y="8549"/>
                      </a:moveTo>
                      <a:lnTo>
                        <a:pt x="11398" y="8549"/>
                      </a:lnTo>
                      <a:lnTo>
                        <a:pt x="11398" y="21158"/>
                      </a:lnTo>
                      <a:lnTo>
                        <a:pt x="20896" y="21158"/>
                      </a:lnTo>
                      <a:cubicBezTo>
                        <a:pt x="20896" y="21158"/>
                        <a:pt x="22691" y="21158"/>
                        <a:pt x="23957" y="20730"/>
                      </a:cubicBezTo>
                      <a:cubicBezTo>
                        <a:pt x="27651" y="19448"/>
                        <a:pt x="27756" y="15922"/>
                        <a:pt x="27756" y="14746"/>
                      </a:cubicBezTo>
                      <a:cubicBezTo>
                        <a:pt x="27756" y="8762"/>
                        <a:pt x="23113" y="8549"/>
                        <a:pt x="21108" y="854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35" name="Freeform 34">
                  <a:extLst>
                    <a:ext uri="{FF2B5EF4-FFF2-40B4-BE49-F238E27FC236}">
                      <a16:creationId xmlns:a16="http://schemas.microsoft.com/office/drawing/2014/main" id="{7CCD2B6A-036C-DE41-35C0-B69E6FD2C971}"/>
                    </a:ext>
                  </a:extLst>
                </p:cNvPr>
                <p:cNvSpPr/>
                <p:nvPr/>
              </p:nvSpPr>
              <p:spPr>
                <a:xfrm>
                  <a:off x="1319888" y="2574050"/>
                  <a:ext cx="43059" cy="46269"/>
                </a:xfrm>
                <a:custGeom>
                  <a:avLst/>
                  <a:gdLst>
                    <a:gd name="connsiteX0" fmla="*/ 30078 w 43059"/>
                    <a:gd name="connsiteY0" fmla="*/ 46269 h 46269"/>
                    <a:gd name="connsiteX1" fmla="*/ 17941 w 43059"/>
                    <a:gd name="connsiteY1" fmla="*/ 25325 h 46269"/>
                    <a:gd name="connsiteX2" fmla="*/ 10870 w 43059"/>
                    <a:gd name="connsiteY2" fmla="*/ 32698 h 46269"/>
                    <a:gd name="connsiteX3" fmla="*/ 10870 w 43059"/>
                    <a:gd name="connsiteY3" fmla="*/ 46269 h 46269"/>
                    <a:gd name="connsiteX4" fmla="*/ 0 w 43059"/>
                    <a:gd name="connsiteY4" fmla="*/ 46269 h 46269"/>
                    <a:gd name="connsiteX5" fmla="*/ 0 w 43059"/>
                    <a:gd name="connsiteY5" fmla="*/ 0 h 46269"/>
                    <a:gd name="connsiteX6" fmla="*/ 10870 w 43059"/>
                    <a:gd name="connsiteY6" fmla="*/ 0 h 46269"/>
                    <a:gd name="connsiteX7" fmla="*/ 10870 w 43059"/>
                    <a:gd name="connsiteY7" fmla="*/ 18914 h 46269"/>
                    <a:gd name="connsiteX8" fmla="*/ 27967 w 43059"/>
                    <a:gd name="connsiteY8" fmla="*/ 0 h 46269"/>
                    <a:gd name="connsiteX9" fmla="*/ 41793 w 43059"/>
                    <a:gd name="connsiteY9" fmla="*/ 0 h 46269"/>
                    <a:gd name="connsiteX10" fmla="*/ 25646 w 43059"/>
                    <a:gd name="connsiteY10" fmla="*/ 17204 h 46269"/>
                    <a:gd name="connsiteX11" fmla="*/ 43059 w 43059"/>
                    <a:gd name="connsiteY11" fmla="*/ 46269 h 46269"/>
                    <a:gd name="connsiteX12" fmla="*/ 30184 w 43059"/>
                    <a:gd name="connsiteY12" fmla="*/ 46269 h 4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3059" h="46269">
                      <a:moveTo>
                        <a:pt x="30078" y="46269"/>
                      </a:moveTo>
                      <a:lnTo>
                        <a:pt x="17941" y="25325"/>
                      </a:lnTo>
                      <a:lnTo>
                        <a:pt x="10870" y="32698"/>
                      </a:lnTo>
                      <a:lnTo>
                        <a:pt x="10870" y="46269"/>
                      </a:lnTo>
                      <a:lnTo>
                        <a:pt x="0" y="46269"/>
                      </a:lnTo>
                      <a:lnTo>
                        <a:pt x="0" y="0"/>
                      </a:lnTo>
                      <a:lnTo>
                        <a:pt x="10870" y="0"/>
                      </a:lnTo>
                      <a:lnTo>
                        <a:pt x="10870" y="18914"/>
                      </a:lnTo>
                      <a:lnTo>
                        <a:pt x="27967" y="0"/>
                      </a:lnTo>
                      <a:lnTo>
                        <a:pt x="41793" y="0"/>
                      </a:lnTo>
                      <a:lnTo>
                        <a:pt x="25646" y="17204"/>
                      </a:lnTo>
                      <a:lnTo>
                        <a:pt x="43059" y="46269"/>
                      </a:lnTo>
                      <a:lnTo>
                        <a:pt x="30184" y="462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046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+mj-lt"/>
                  </a:endParaRPr>
                </a:p>
              </p:txBody>
            </p:sp>
          </p:grp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DF856FF-C2E8-293A-237C-BD80D9243ED7}"/>
              </a:ext>
            </a:extLst>
          </p:cNvPr>
          <p:cNvGrpSpPr/>
          <p:nvPr userDrawn="1"/>
        </p:nvGrpSpPr>
        <p:grpSpPr>
          <a:xfrm>
            <a:off x="512749" y="814827"/>
            <a:ext cx="3134801" cy="1408306"/>
            <a:chOff x="1753986" y="2707575"/>
            <a:chExt cx="6648078" cy="2986643"/>
          </a:xfrm>
        </p:grpSpPr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0C719BDC-34FA-CD41-5B89-A8FF56F028C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445394" y="3090481"/>
              <a:ext cx="2174010" cy="2204205"/>
            </a:xfrm>
            <a:prstGeom prst="rect">
              <a:avLst/>
            </a:prstGeom>
          </p:spPr>
        </p:pic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0490C5D9-3404-1246-F58B-379FF5CCEE7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961151" y="4607614"/>
              <a:ext cx="3440913" cy="1086604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D76A8E68-D51E-2295-29F0-9C1A86966F2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753986" y="2707575"/>
              <a:ext cx="2385752" cy="11011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31160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7C948-B0F8-02A2-6697-732C1C348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AF84D-0D9F-0BF1-B6EB-8E19DEBD35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E5EAEB-3E5F-86BA-BB91-AB2A1D42E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/>
              <a:t>October 2025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8DF485-CB96-E0A7-E2E6-13E12F246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SILIENT CITIES, REIMAGINING HEAL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F440A-8D21-383B-3F74-2AD0D9C49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4119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7C948-B0F8-02A2-6697-732C1C348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AF84D-0D9F-0BF1-B6EB-8E19DEBD35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E5EAEB-3E5F-86BA-BB91-AB2A1D42E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/>
              <a:t>October 2025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8DF485-CB96-E0A7-E2E6-13E12F246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SILIENT CITIES, REIMAGINING HEAL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F440A-8D21-383B-3F74-2AD0D9C49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4119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merals 1 (Multi-colour)">
    <p:bg>
      <p:bgPr>
        <a:solidFill>
          <a:srgbClr val="0523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8E2A47-B29A-A9A7-BF47-6171BD361BB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611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8E2A47-B29A-A9A7-BF47-6171BD361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E43F984-55A8-0942-C854-3A6CCE5C141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12192000 w 12193200"/>
              <a:gd name="connsiteY3" fmla="*/ 6858000 h 6858000"/>
              <a:gd name="connsiteX4" fmla="*/ 12192000 w 12193200"/>
              <a:gd name="connsiteY4" fmla="*/ 3973820 h 6858000"/>
              <a:gd name="connsiteX5" fmla="*/ 11380989 w 12193200"/>
              <a:gd name="connsiteY5" fmla="*/ 3830198 h 6858000"/>
              <a:gd name="connsiteX6" fmla="*/ 6459019 w 12193200"/>
              <a:gd name="connsiteY6" fmla="*/ 3430628 h 6858000"/>
              <a:gd name="connsiteX7" fmla="*/ 5695048 w 12193200"/>
              <a:gd name="connsiteY7" fmla="*/ 3431282 h 6858000"/>
              <a:gd name="connsiteX8" fmla="*/ 86537 w 12193200"/>
              <a:gd name="connsiteY8" fmla="*/ 3935641 h 6858000"/>
              <a:gd name="connsiteX9" fmla="*/ 0 w 12193200"/>
              <a:gd name="connsiteY9" fmla="*/ 39531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2192000" y="3973820"/>
                </a:lnTo>
                <a:lnTo>
                  <a:pt x="11380989" y="3830198"/>
                </a:lnTo>
                <a:cubicBezTo>
                  <a:pt x="9689559" y="3557731"/>
                  <a:pt x="8009611" y="3445107"/>
                  <a:pt x="6459019" y="3430628"/>
                </a:cubicBezTo>
                <a:cubicBezTo>
                  <a:pt x="6200587" y="3428215"/>
                  <a:pt x="5945748" y="3428528"/>
                  <a:pt x="5695048" y="3431282"/>
                </a:cubicBezTo>
                <a:cubicBezTo>
                  <a:pt x="3277584" y="3457836"/>
                  <a:pt x="1244978" y="3711329"/>
                  <a:pt x="86537" y="3935641"/>
                </a:cubicBezTo>
                <a:lnTo>
                  <a:pt x="0" y="39531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000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DB837B-4D48-D012-61B0-0EE41DB9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5738" y="1584467"/>
            <a:ext cx="9278937" cy="991557"/>
          </a:xfrm>
        </p:spPr>
        <p:txBody>
          <a:bodyPr vert="horz"/>
          <a:lstStyle>
            <a:lvl1pPr algn="ctr" rtl="0"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E55A046-A771-0C89-980B-90FCE61388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1470990" y="4428259"/>
            <a:ext cx="1638922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0" dirty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F43A0467-854D-A5E9-4475-554AC19F71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1470991" y="5273533"/>
            <a:ext cx="1638922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50261D2-B563-943E-4224-81DE75FFF2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white">
          <a:xfrm>
            <a:off x="3361912" y="4428260"/>
            <a:ext cx="1654588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0" dirty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F23EAE1A-D748-3862-E1EB-F37656124B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3361913" y="5273533"/>
            <a:ext cx="1654588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D66BE42-CAAC-F8B1-4E04-0D542C36BA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white">
          <a:xfrm>
            <a:off x="5268912" y="4428259"/>
            <a:ext cx="1654587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0" dirty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75E2757E-370E-EC22-1B4A-A6D28BEEDD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5268914" y="5273533"/>
            <a:ext cx="1654587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B1C31A84-3995-A935-9587-36B3792348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white">
          <a:xfrm>
            <a:off x="7173913" y="4428259"/>
            <a:ext cx="1654586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lang="da-DK" sz="5400" b="0" dirty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22" name="Pladsholder til tekst 4">
            <a:extLst>
              <a:ext uri="{FF2B5EF4-FFF2-40B4-BE49-F238E27FC236}">
                <a16:creationId xmlns:a16="http://schemas.microsoft.com/office/drawing/2014/main" id="{E78D3374-042E-1F77-4B80-72D0275674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white">
          <a:xfrm>
            <a:off x="7173915" y="5273533"/>
            <a:ext cx="1654586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12CD57F1-A102-F62C-9AE2-7502100A92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white">
          <a:xfrm>
            <a:off x="9082085" y="4428259"/>
            <a:ext cx="1652590" cy="717905"/>
          </a:xfrm>
        </p:spPr>
        <p:txBody>
          <a:bodyPr vert="horz" lIns="0" tIns="0" rIns="0" bIns="0" rtlCol="0">
            <a:noAutofit/>
          </a:bodyPr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da-DK" sz="5400" b="0" dirty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5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###</a:t>
            </a:r>
          </a:p>
        </p:txBody>
      </p:sp>
      <p:sp>
        <p:nvSpPr>
          <p:cNvPr id="6" name="Pladsholder til tekst 4">
            <a:extLst>
              <a:ext uri="{FF2B5EF4-FFF2-40B4-BE49-F238E27FC236}">
                <a16:creationId xmlns:a16="http://schemas.microsoft.com/office/drawing/2014/main" id="{5357EB48-1279-F013-2203-C81B19287F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white">
          <a:xfrm>
            <a:off x="9082087" y="5273533"/>
            <a:ext cx="1652588" cy="991557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30" name="Date Placeholder 29" hidden="1">
            <a:extLst>
              <a:ext uri="{FF2B5EF4-FFF2-40B4-BE49-F238E27FC236}">
                <a16:creationId xmlns:a16="http://schemas.microsoft.com/office/drawing/2014/main" id="{A83C7E9E-4804-B195-3B09-620B64A72EB2}"/>
              </a:ext>
            </a:extLst>
          </p:cNvPr>
          <p:cNvSpPr>
            <a:spLocks noGrp="1"/>
          </p:cNvSpPr>
          <p:nvPr>
            <p:ph type="dt" sz="half" idx="31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Avenir Next LT Pro" panose="020B0504020202020204" pitchFamily="34" charset="0"/>
              </a:defRPr>
            </a:lvl1pPr>
          </a:lstStyle>
          <a:p>
            <a:fld id="{F8722D31-B2C4-4167-8F45-339FFFAC34CF}" type="datetime6">
              <a:rPr lang="en-GB" smtClean="0"/>
              <a:pPr/>
              <a:t>March 26</a:t>
            </a:fld>
            <a:endParaRPr lang="en-GB"/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7A55E5CC-FAC9-889D-3106-BB92CF3A5AB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SUSTAINABLE MARKETS INITIATIV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586D88A3-3136-0BCD-AB05-D57BB894186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9580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Single Corner Rectangle 10">
            <a:extLst>
              <a:ext uri="{FF2B5EF4-FFF2-40B4-BE49-F238E27FC236}">
                <a16:creationId xmlns:a16="http://schemas.microsoft.com/office/drawing/2014/main" id="{7899CEC7-EA6D-D540-0E9E-103A65544F9F}"/>
              </a:ext>
            </a:extLst>
          </p:cNvPr>
          <p:cNvSpPr/>
          <p:nvPr userDrawn="1"/>
        </p:nvSpPr>
        <p:spPr>
          <a:xfrm flipH="1">
            <a:off x="515938" y="1139687"/>
            <a:ext cx="11676062" cy="5718313"/>
          </a:xfrm>
          <a:prstGeom prst="round1Rect">
            <a:avLst>
              <a:gd name="adj" fmla="val 738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583C748-900C-FFFD-78CD-501CC6963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623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83C748-900C-FFFD-78CD-501CC6963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419101"/>
            <a:ext cx="11183937" cy="482048"/>
          </a:xfrm>
        </p:spPr>
        <p:txBody>
          <a:bodyPr vert="horz" anchor="b"/>
          <a:lstStyle>
            <a:lvl1pPr rtl="0"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4912" y="1842053"/>
            <a:ext cx="9776853" cy="3876260"/>
          </a:xfrm>
        </p:spPr>
        <p:txBody>
          <a:bodyPr numCol="2" spcCol="360000"/>
          <a:lstStyle>
            <a:lvl1pPr marL="0" indent="0" rtl="0">
              <a:buFont typeface="+mj-lt"/>
              <a:buNone/>
              <a:defRPr sz="2400" b="1">
                <a:solidFill>
                  <a:schemeClr val="bg1"/>
                </a:solidFill>
                <a:latin typeface="Oscine Trial" panose="020B0506040202020204" pitchFamily="34" charset="0"/>
                <a:cs typeface="Oscine Trial" panose="020B0506040202020204" pitchFamily="34" charset="0"/>
              </a:defRPr>
            </a:lvl1pPr>
            <a:lvl2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0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2pPr>
            <a:lvl3pPr marL="0" indent="0" rtl="0">
              <a:spcBef>
                <a:spcPts val="600"/>
              </a:spcBef>
              <a:spcAft>
                <a:spcPts val="600"/>
              </a:spcAft>
              <a:buFont typeface="+mj-lt"/>
              <a:buNone/>
              <a:defRPr sz="1600" b="0">
                <a:solidFill>
                  <a:schemeClr val="bg1"/>
                </a:solidFill>
                <a:latin typeface="Oscine Trial" panose="020B0506040202020204" pitchFamily="34" charset="0"/>
                <a:cs typeface="Oscine Trial" panose="020B0506040202020204" pitchFamily="34" charset="0"/>
              </a:defRPr>
            </a:lvl3pPr>
            <a:lvl4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4pPr>
            <a:lvl5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5pPr>
            <a:lvl6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6pPr>
            <a:lvl7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7pPr>
            <a:lvl8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8pPr>
            <a:lvl9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2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2"/>
            <a:endParaRPr lang="en-GB" noProof="0"/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5EFB66B-C1BB-FDC1-6629-61163E3D09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4F0A0231-D640-FF34-BA47-E7C18A0154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D6BE35F8-EC5E-EC80-CC98-F9AF92D82B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C901D31-20D4-DF07-BC42-ED0BA5917D49}"/>
              </a:ext>
            </a:extLst>
          </p:cNvPr>
          <p:cNvSpPr/>
          <p:nvPr userDrawn="1"/>
        </p:nvSpPr>
        <p:spPr>
          <a:xfrm>
            <a:off x="515938" y="1139687"/>
            <a:ext cx="935623" cy="914304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FE9BEAFF-442C-EAB9-5269-48856293A911}"/>
              </a:ext>
            </a:extLst>
          </p:cNvPr>
          <p:cNvSpPr/>
          <p:nvPr userDrawn="1"/>
        </p:nvSpPr>
        <p:spPr>
          <a:xfrm rot="10800000">
            <a:off x="10740438" y="5419275"/>
            <a:ext cx="935623" cy="914304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775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rgbClr val="E5E8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8A01AF-9D92-F22A-BF24-AB9124C1EF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01161 w 12192000"/>
              <a:gd name="connsiteY0" fmla="*/ 1139687 h 6858000"/>
              <a:gd name="connsiteX1" fmla="*/ 515938 w 12192000"/>
              <a:gd name="connsiteY1" fmla="*/ 1526878 h 6858000"/>
              <a:gd name="connsiteX2" fmla="*/ 515938 w 12192000"/>
              <a:gd name="connsiteY2" fmla="*/ 2053992 h 6858000"/>
              <a:gd name="connsiteX3" fmla="*/ 726138 w 12192000"/>
              <a:gd name="connsiteY3" fmla="*/ 2053992 h 6858000"/>
              <a:gd name="connsiteX4" fmla="*/ 726138 w 12192000"/>
              <a:gd name="connsiteY4" fmla="*/ 6176682 h 6858000"/>
              <a:gd name="connsiteX5" fmla="*/ 6742177 w 12192000"/>
              <a:gd name="connsiteY5" fmla="*/ 6176682 h 6858000"/>
              <a:gd name="connsiteX6" fmla="*/ 6742177 w 12192000"/>
              <a:gd name="connsiteY6" fmla="*/ 6333579 h 6858000"/>
              <a:gd name="connsiteX7" fmla="*/ 7292577 w 12192000"/>
              <a:gd name="connsiteY7" fmla="*/ 6333579 h 6858000"/>
              <a:gd name="connsiteX8" fmla="*/ 7677800 w 12192000"/>
              <a:gd name="connsiteY8" fmla="*/ 5946388 h 6858000"/>
              <a:gd name="connsiteX9" fmla="*/ 7677800 w 12192000"/>
              <a:gd name="connsiteY9" fmla="*/ 5419274 h 6858000"/>
              <a:gd name="connsiteX10" fmla="*/ 7467600 w 12192000"/>
              <a:gd name="connsiteY10" fmla="*/ 5419274 h 6858000"/>
              <a:gd name="connsiteX11" fmla="*/ 7467600 w 12192000"/>
              <a:gd name="connsiteY11" fmla="*/ 1353671 h 6858000"/>
              <a:gd name="connsiteX12" fmla="*/ 1451561 w 12192000"/>
              <a:gd name="connsiteY12" fmla="*/ 1353671 h 6858000"/>
              <a:gd name="connsiteX13" fmla="*/ 1451561 w 12192000"/>
              <a:gd name="connsiteY13" fmla="*/ 1139687 h 6858000"/>
              <a:gd name="connsiteX14" fmla="*/ 0 w 12192000"/>
              <a:gd name="connsiteY14" fmla="*/ 0 h 6858000"/>
              <a:gd name="connsiteX15" fmla="*/ 12192000 w 12192000"/>
              <a:gd name="connsiteY15" fmla="*/ 0 h 6858000"/>
              <a:gd name="connsiteX16" fmla="*/ 12192000 w 12192000"/>
              <a:gd name="connsiteY16" fmla="*/ 6858000 h 6858000"/>
              <a:gd name="connsiteX17" fmla="*/ 0 w 12192000"/>
              <a:gd name="connsiteY1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901161" y="1139687"/>
                </a:moveTo>
                <a:cubicBezTo>
                  <a:pt x="688425" y="1141211"/>
                  <a:pt x="515938" y="1314852"/>
                  <a:pt x="515938" y="1526878"/>
                </a:cubicBezTo>
                <a:lnTo>
                  <a:pt x="515938" y="2053992"/>
                </a:lnTo>
                <a:lnTo>
                  <a:pt x="726138" y="2053992"/>
                </a:lnTo>
                <a:lnTo>
                  <a:pt x="726138" y="6176682"/>
                </a:lnTo>
                <a:lnTo>
                  <a:pt x="6742177" y="6176682"/>
                </a:lnTo>
                <a:lnTo>
                  <a:pt x="6742177" y="6333579"/>
                </a:lnTo>
                <a:lnTo>
                  <a:pt x="7292577" y="6333579"/>
                </a:lnTo>
                <a:cubicBezTo>
                  <a:pt x="7505313" y="6332055"/>
                  <a:pt x="7677800" y="6158414"/>
                  <a:pt x="7677800" y="5946388"/>
                </a:cubicBezTo>
                <a:lnTo>
                  <a:pt x="7677800" y="5419274"/>
                </a:lnTo>
                <a:lnTo>
                  <a:pt x="7467600" y="5419274"/>
                </a:lnTo>
                <a:lnTo>
                  <a:pt x="7467600" y="1353671"/>
                </a:lnTo>
                <a:lnTo>
                  <a:pt x="1451561" y="1353671"/>
                </a:lnTo>
                <a:lnTo>
                  <a:pt x="1451561" y="11396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Round Single Corner Rectangle 10">
            <a:extLst>
              <a:ext uri="{FF2B5EF4-FFF2-40B4-BE49-F238E27FC236}">
                <a16:creationId xmlns:a16="http://schemas.microsoft.com/office/drawing/2014/main" id="{7899CEC7-EA6D-D540-0E9E-103A65544F9F}"/>
              </a:ext>
            </a:extLst>
          </p:cNvPr>
          <p:cNvSpPr/>
          <p:nvPr userDrawn="1"/>
        </p:nvSpPr>
        <p:spPr>
          <a:xfrm flipH="1">
            <a:off x="726138" y="1353671"/>
            <a:ext cx="6741462" cy="4823011"/>
          </a:xfrm>
          <a:prstGeom prst="round1Rect">
            <a:avLst>
              <a:gd name="adj" fmla="val 348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583C748-900C-FFFD-78CD-501CC6963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623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83C748-900C-FFFD-78CD-501CC6963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419101"/>
            <a:ext cx="11183937" cy="482048"/>
          </a:xfrm>
        </p:spPr>
        <p:txBody>
          <a:bodyPr vert="horz" anchor="b"/>
          <a:lstStyle>
            <a:lvl1pPr rtl="0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204913" y="1842053"/>
            <a:ext cx="5716588" cy="3876260"/>
          </a:xfrm>
        </p:spPr>
        <p:txBody>
          <a:bodyPr/>
          <a:lstStyle>
            <a:lvl1pPr marL="0" indent="0" rtl="0">
              <a:buFont typeface="+mj-lt"/>
              <a:buNone/>
              <a:defRPr sz="2400" b="1">
                <a:solidFill>
                  <a:schemeClr val="bg1"/>
                </a:solidFill>
                <a:latin typeface="Oscine Trial" panose="020B0506040202020204" pitchFamily="34" charset="0"/>
                <a:cs typeface="Oscine Trial" panose="020B0506040202020204" pitchFamily="34" charset="0"/>
              </a:defRPr>
            </a:lvl1pPr>
            <a:lvl2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0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2pPr>
            <a:lvl3pPr marL="0" indent="0" rtl="0">
              <a:spcBef>
                <a:spcPts val="600"/>
              </a:spcBef>
              <a:spcAft>
                <a:spcPts val="600"/>
              </a:spcAft>
              <a:buFont typeface="+mj-lt"/>
              <a:buNone/>
              <a:defRPr sz="1600" b="0">
                <a:solidFill>
                  <a:schemeClr val="bg1"/>
                </a:solidFill>
                <a:latin typeface="Oscine Trial" panose="020B0506040202020204" pitchFamily="34" charset="0"/>
                <a:cs typeface="Oscine Trial" panose="020B0506040202020204" pitchFamily="34" charset="0"/>
              </a:defRPr>
            </a:lvl3pPr>
            <a:lvl4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4pPr>
            <a:lvl5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5pPr>
            <a:lvl6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6pPr>
            <a:lvl7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7pPr>
            <a:lvl8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8pPr>
            <a:lvl9pPr marL="468000" indent="-468000" rtl="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b="0">
                <a:solidFill>
                  <a:schemeClr val="bg1"/>
                </a:solidFill>
                <a:latin typeface="Oscine" panose="020B0506040202020204" pitchFamily="34" charset="0"/>
                <a:cs typeface="Oscine" panose="020B0506040202020204" pitchFamily="34" charset="0"/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2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5EFB66B-C1BB-FDC1-6629-61163E3D09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4F0A0231-D640-FF34-BA47-E7C18A0154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anchor="b">
            <a:noAutofit/>
          </a:bodyPr>
          <a:lstStyle>
            <a:lvl1pPr algn="l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D6BE35F8-EC5E-EC80-CC98-F9AF92D82B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  <a:effectLst/>
        </p:spPr>
        <p:txBody>
          <a:bodyPr vert="horz" wrap="square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C901D31-20D4-DF07-BC42-ED0BA5917D49}"/>
              </a:ext>
            </a:extLst>
          </p:cNvPr>
          <p:cNvSpPr/>
          <p:nvPr userDrawn="1"/>
        </p:nvSpPr>
        <p:spPr>
          <a:xfrm>
            <a:off x="515938" y="1139687"/>
            <a:ext cx="935623" cy="914304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FE9BEAFF-442C-EAB9-5269-48856293A911}"/>
              </a:ext>
            </a:extLst>
          </p:cNvPr>
          <p:cNvSpPr/>
          <p:nvPr userDrawn="1"/>
        </p:nvSpPr>
        <p:spPr>
          <a:xfrm rot="10800000">
            <a:off x="6742177" y="5419275"/>
            <a:ext cx="935623" cy="914304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817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E6AABD-501C-07C2-378C-FFCCEAD702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63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E6AABD-501C-07C2-378C-FFCCEAD70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9D909-49D5-40E7-8A46-904F421801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3A35D458-AF55-668C-F5C8-183B03B850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effectLst/>
        </p:spPr>
        <p:txBody>
          <a:bodyPr vert="horz" wrap="square" bIns="72000" anchor="b">
            <a:noAutofit/>
          </a:bodyPr>
          <a:lstStyle>
            <a:lvl1pPr algn="r" rtl="0">
              <a:defRPr sz="100" b="0" i="0" u="none" strike="noStrike">
                <a:solidFill>
                  <a:srgbClr val="000000">
                    <a:alpha val="0"/>
                  </a:srgbClr>
                </a:solidFill>
                <a:latin typeface="Inter Italic" panose="02000503000000020004" pitchFamily="2" charset="0"/>
              </a:defRPr>
            </a:lvl1pPr>
          </a:lstStyle>
          <a:p>
            <a:r>
              <a:rPr lang="ro-RO" err="1"/>
              <a:t>October</a:t>
            </a:r>
            <a:r>
              <a:rPr lang="ro-RO"/>
              <a:t> 2025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59D0B07-DAA3-0A6C-4828-729405564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73260F3D-74A3-836E-B3D1-1CE78150C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27189C00-BF64-FFB5-F7FA-42FA5F57F894}"/>
              </a:ext>
            </a:extLst>
          </p:cNvPr>
          <p:cNvSpPr/>
          <p:nvPr userDrawn="1"/>
        </p:nvSpPr>
        <p:spPr>
          <a:xfrm rot="10800000">
            <a:off x="11514699" y="273805"/>
            <a:ext cx="169300" cy="165442"/>
          </a:xfrm>
          <a:custGeom>
            <a:avLst/>
            <a:gdLst>
              <a:gd name="connsiteX0" fmla="*/ 935623 w 935623"/>
              <a:gd name="connsiteY0" fmla="*/ 0 h 914304"/>
              <a:gd name="connsiteX1" fmla="*/ 385223 w 935623"/>
              <a:gd name="connsiteY1" fmla="*/ 0 h 914304"/>
              <a:gd name="connsiteX2" fmla="*/ 0 w 935623"/>
              <a:gd name="connsiteY2" fmla="*/ 387191 h 914304"/>
              <a:gd name="connsiteX3" fmla="*/ 0 w 935623"/>
              <a:gd name="connsiteY3" fmla="*/ 914305 h 914304"/>
              <a:gd name="connsiteX4" fmla="*/ 215110 w 935623"/>
              <a:gd name="connsiteY4" fmla="*/ 914305 h 914304"/>
              <a:gd name="connsiteX5" fmla="*/ 215110 w 935623"/>
              <a:gd name="connsiteY5" fmla="*/ 387191 h 914304"/>
              <a:gd name="connsiteX6" fmla="*/ 385983 w 935623"/>
              <a:gd name="connsiteY6" fmla="*/ 215837 h 914304"/>
              <a:gd name="connsiteX7" fmla="*/ 935623 w 935623"/>
              <a:gd name="connsiteY7" fmla="*/ 215837 h 914304"/>
              <a:gd name="connsiteX8" fmla="*/ 935623 w 935623"/>
              <a:gd name="connsiteY8" fmla="*/ 0 h 91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23" h="914304">
                <a:moveTo>
                  <a:pt x="935623" y="0"/>
                </a:moveTo>
                <a:lnTo>
                  <a:pt x="385223" y="0"/>
                </a:lnTo>
                <a:cubicBezTo>
                  <a:pt x="172487" y="1524"/>
                  <a:pt x="0" y="175165"/>
                  <a:pt x="0" y="387191"/>
                </a:cubicBezTo>
                <a:lnTo>
                  <a:pt x="0" y="914305"/>
                </a:lnTo>
                <a:lnTo>
                  <a:pt x="215110" y="914305"/>
                </a:lnTo>
                <a:lnTo>
                  <a:pt x="215110" y="387191"/>
                </a:lnTo>
                <a:cubicBezTo>
                  <a:pt x="215110" y="293370"/>
                  <a:pt x="291718" y="216503"/>
                  <a:pt x="385983" y="215837"/>
                </a:cubicBezTo>
                <a:lnTo>
                  <a:pt x="935623" y="215837"/>
                </a:lnTo>
                <a:lnTo>
                  <a:pt x="935623" y="0"/>
                </a:lnTo>
                <a:close/>
              </a:path>
            </a:pathLst>
          </a:custGeom>
          <a:solidFill>
            <a:schemeClr val="accent3"/>
          </a:solidFill>
          <a:ln w="94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660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7D4951-EF1F-8373-6950-72C1648859EC}"/>
              </a:ext>
            </a:extLst>
          </p:cNvPr>
          <p:cNvGraphicFramePr>
            <a:graphicFrameLocks/>
          </p:cNvGraphicFramePr>
          <p:nvPr userDrawn="1"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26185248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7772400" imgH="10058400" progId="TCLayout.ActiveDocument.1">
                  <p:embed/>
                </p:oleObj>
              </mc:Choice>
              <mc:Fallback>
                <p:oleObj name="think-cell Slide" r:id="rId6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D4951-EF1F-8373-6950-72C1648859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828000"/>
            <a:ext cx="11183936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2779200"/>
            <a:ext cx="8324850" cy="3808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18000" rtlCol="0" anchor="b" anchorCtr="0"/>
          <a:lstStyle>
            <a:lvl1pPr algn="r" rtl="0">
              <a:defRPr sz="800">
                <a:noFill/>
              </a:defRPr>
            </a:lvl1pPr>
          </a:lstStyle>
          <a:p>
            <a:r>
              <a:rPr lang="ro-RO"/>
              <a:t>October 2025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238" y="268915"/>
            <a:ext cx="3560762" cy="126000"/>
          </a:xfrm>
          <a:prstGeom prst="rect">
            <a:avLst/>
          </a:prstGeom>
        </p:spPr>
        <p:txBody>
          <a:bodyPr vert="horz" lIns="0" tIns="0" rIns="0" bIns="18000" rtlCol="0" anchor="b" anchorCtr="0"/>
          <a:lstStyle>
            <a:lvl1pPr algn="l" rtl="0">
              <a:defRPr sz="800">
                <a:solidFill>
                  <a:schemeClr val="tx2"/>
                </a:solidFill>
                <a:latin typeface="+mn-lt"/>
                <a:cs typeface="Oscine" panose="020B0506040202020204" pitchFamily="34" charset="0"/>
              </a:defRPr>
            </a:lvl1pPr>
          </a:lstStyle>
          <a:p>
            <a:r>
              <a:rPr lang="en-GB"/>
              <a:t>RESILIENT CITIES, REIMAGINING HEALTH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1654" y="269875"/>
            <a:ext cx="335521" cy="126000"/>
          </a:xfrm>
          <a:prstGeom prst="rect">
            <a:avLst/>
          </a:prstGeom>
        </p:spPr>
        <p:txBody>
          <a:bodyPr vert="horz" lIns="0" tIns="0" rIns="0" bIns="18000" rtlCol="0" anchor="b" anchorCtr="0"/>
          <a:lstStyle>
            <a:lvl1pPr algn="r" rtl="0">
              <a:defRPr sz="800" b="1">
                <a:solidFill>
                  <a:schemeClr val="accent3"/>
                </a:solidFill>
                <a:latin typeface="+mj-lt"/>
                <a:cs typeface="Oscine" panose="020B0506040202020204" pitchFamily="34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917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6" r:id="rId2"/>
    <p:sldLayoutId id="2147483715" r:id="rId3"/>
    <p:sldLayoutId id="2147483727" r:id="rId4"/>
    <p:sldLayoutId id="2147483716" r:id="rId5"/>
    <p:sldLayoutId id="2147483662" r:id="rId6"/>
    <p:sldLayoutId id="2147483665" r:id="rId7"/>
    <p:sldLayoutId id="2147483728" r:id="rId8"/>
    <p:sldLayoutId id="2147483701" r:id="rId9"/>
    <p:sldLayoutId id="2147483702" r:id="rId10"/>
    <p:sldLayoutId id="2147483670" r:id="rId11"/>
    <p:sldLayoutId id="2147483718" r:id="rId12"/>
    <p:sldLayoutId id="2147483717" r:id="rId13"/>
    <p:sldLayoutId id="2147483671" r:id="rId14"/>
    <p:sldLayoutId id="2147483724" r:id="rId15"/>
    <p:sldLayoutId id="2147483723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9" r:id="rId24"/>
    <p:sldLayoutId id="2147483720" r:id="rId25"/>
    <p:sldLayoutId id="2147483712" r:id="rId26"/>
    <p:sldLayoutId id="2147483721" r:id="rId27"/>
    <p:sldLayoutId id="2147483722" r:id="rId28"/>
    <p:sldLayoutId id="2147483673" r:id="rId29"/>
    <p:sldLayoutId id="2147483725" r:id="rId30"/>
    <p:sldLayoutId id="2147483672" r:id="rId31"/>
    <p:sldLayoutId id="2147483729" r:id="rId32"/>
    <p:sldLayoutId id="2147483732" r:id="rId33"/>
    <p:sldLayoutId id="2147483733" r:id="rId34"/>
    <p:sldLayoutId id="2147483734" r:id="rId35"/>
    <p:sldLayoutId id="2147483731" r:id="rId36"/>
    <p:sldLayoutId id="2147483675" r:id="rId37"/>
    <p:sldLayoutId id="2147483677" r:id="rId38"/>
    <p:sldLayoutId id="2147483679" r:id="rId39"/>
    <p:sldLayoutId id="2147483680" r:id="rId40"/>
    <p:sldLayoutId id="2147483681" r:id="rId41"/>
    <p:sldLayoutId id="2147483682" r:id="rId42"/>
    <p:sldLayoutId id="2147483683" r:id="rId43"/>
    <p:sldLayoutId id="2147483684" r:id="rId44"/>
    <p:sldLayoutId id="2147483685" r:id="rId45"/>
    <p:sldLayoutId id="2147483687" r:id="rId46"/>
    <p:sldLayoutId id="2147483676" r:id="rId47"/>
    <p:sldLayoutId id="2147483695" r:id="rId48"/>
    <p:sldLayoutId id="2147483694" r:id="rId49"/>
    <p:sldLayoutId id="2147483696" r:id="rId50"/>
    <p:sldLayoutId id="2147483735" r:id="rId51"/>
    <p:sldLayoutId id="2147483697" r:id="rId52"/>
    <p:sldLayoutId id="2147483698" r:id="rId53"/>
    <p:sldLayoutId id="2147483699" r:id="rId54"/>
    <p:sldLayoutId id="2147483742" r:id="rId55"/>
    <p:sldLayoutId id="2147483730" r:id="rId56"/>
    <p:sldLayoutId id="2147483703" r:id="rId57"/>
    <p:sldLayoutId id="2147483736" r:id="rId58"/>
    <p:sldLayoutId id="2147483737" r:id="rId59"/>
    <p:sldLayoutId id="2147483738" r:id="rId60"/>
    <p:sldLayoutId id="2147483740" r:id="rId61"/>
    <p:sldLayoutId id="2147483741" r:id="rId62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Oscine Trial" panose="020B0506040202020204" pitchFamily="34" charset="0"/>
          <a:ea typeface="+mj-ea"/>
          <a:cs typeface="Oscine Trial" panose="020B0506040202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"/>
        <a:defRPr sz="16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1pPr>
      <a:lvl2pPr marL="36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"/>
        <a:defRPr sz="16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2pPr>
      <a:lvl3pPr marL="54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"/>
        <a:defRPr sz="16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3pPr>
      <a:lvl4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4pPr>
      <a:lvl5pPr marL="17145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"/>
        <a:tabLst/>
        <a:defRPr sz="11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5pPr>
      <a:lvl6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"/>
        <a:defRPr sz="11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6pPr>
      <a:lvl7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"/>
        <a:defRPr sz="1100" b="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5400" kern="1200" baseline="0">
          <a:solidFill>
            <a:schemeClr val="tx2"/>
          </a:solidFill>
          <a:latin typeface="+mn-lt"/>
          <a:ea typeface="Inter Italic" panose="02000503000000020004" pitchFamily="2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F26B43"/>
          </p15:clr>
        </p15:guide>
        <p15:guide id="2" pos="759">
          <p15:clr>
            <a:srgbClr val="A4A4A4"/>
          </p15:clr>
        </p15:guide>
        <p15:guide id="3" orient="horz" pos="164" userDrawn="1">
          <p15:clr>
            <a:srgbClr val="F26B43"/>
          </p15:clr>
        </p15:guide>
        <p15:guide id="4" orient="horz" pos="4149">
          <p15:clr>
            <a:srgbClr val="F26B43"/>
          </p15:clr>
        </p15:guide>
        <p15:guide id="5" pos="917">
          <p15:clr>
            <a:srgbClr val="A4A4A4"/>
          </p15:clr>
        </p15:guide>
        <p15:guide id="6" pos="1359">
          <p15:clr>
            <a:srgbClr val="A4A4A4"/>
          </p15:clr>
        </p15:guide>
        <p15:guide id="7" pos="1518">
          <p15:clr>
            <a:srgbClr val="A4A4A4"/>
          </p15:clr>
        </p15:guide>
        <p15:guide id="8" pos="1959">
          <p15:clr>
            <a:srgbClr val="A4A4A4"/>
          </p15:clr>
        </p15:guide>
        <p15:guide id="9" pos="2118">
          <p15:clr>
            <a:srgbClr val="A4A4A4"/>
          </p15:clr>
        </p15:guide>
        <p15:guide id="10" pos="2560">
          <p15:clr>
            <a:srgbClr val="A4A4A4"/>
          </p15:clr>
        </p15:guide>
        <p15:guide id="11" pos="2718">
          <p15:clr>
            <a:srgbClr val="A4A4A4"/>
          </p15:clr>
        </p15:guide>
        <p15:guide id="12" pos="3160">
          <p15:clr>
            <a:srgbClr val="A4A4A4"/>
          </p15:clr>
        </p15:guide>
        <p15:guide id="13" pos="3319">
          <p15:clr>
            <a:srgbClr val="A4A4A4"/>
          </p15:clr>
        </p15:guide>
        <p15:guide id="14" pos="3760">
          <p15:clr>
            <a:srgbClr val="A4A4A4"/>
          </p15:clr>
        </p15:guide>
        <p15:guide id="15" pos="3919">
          <p15:clr>
            <a:srgbClr val="A4A4A4"/>
          </p15:clr>
        </p15:guide>
        <p15:guide id="16" pos="4360">
          <p15:clr>
            <a:srgbClr val="A4A4A4"/>
          </p15:clr>
        </p15:guide>
        <p15:guide id="17" pos="4519">
          <p15:clr>
            <a:srgbClr val="A4A4A4"/>
          </p15:clr>
        </p15:guide>
        <p15:guide id="18" pos="4961">
          <p15:clr>
            <a:srgbClr val="A4A4A4"/>
          </p15:clr>
        </p15:guide>
        <p15:guide id="19" pos="5120">
          <p15:clr>
            <a:srgbClr val="A4A4A4"/>
          </p15:clr>
        </p15:guide>
        <p15:guide id="20" pos="5561">
          <p15:clr>
            <a:srgbClr val="A4A4A4"/>
          </p15:clr>
        </p15:guide>
        <p15:guide id="21" pos="5720">
          <p15:clr>
            <a:srgbClr val="A4A4A4"/>
          </p15:clr>
        </p15:guide>
        <p15:guide id="22" pos="6161">
          <p15:clr>
            <a:srgbClr val="A4A4A4"/>
          </p15:clr>
        </p15:guide>
        <p15:guide id="23" pos="6320">
          <p15:clr>
            <a:srgbClr val="A4A4A4"/>
          </p15:clr>
        </p15:guide>
        <p15:guide id="24" pos="6766" userDrawn="1">
          <p15:clr>
            <a:srgbClr val="A4A4A4"/>
          </p15:clr>
        </p15:guide>
        <p15:guide id="25" pos="6920">
          <p15:clr>
            <a:srgbClr val="A4A4A4"/>
          </p15:clr>
        </p15:guide>
        <p15:guide id="26" pos="7362">
          <p15:clr>
            <a:srgbClr val="F26B43"/>
          </p15:clr>
        </p15:guide>
        <p15:guide id="27" orient="horz" pos="504" userDrawn="1">
          <p15:clr>
            <a:srgbClr val="F26B43"/>
          </p15:clr>
        </p15:guide>
        <p15:guide id="28" orient="horz" pos="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6.xml"/><Relationship Id="rId5" Type="http://schemas.openxmlformats.org/officeDocument/2006/relationships/image" Target="../media/image36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67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2.emf"/><Relationship Id="rId15" Type="http://schemas.openxmlformats.org/officeDocument/2006/relationships/hyperlink" Target="https://www.bupa.com/impact/sustainability/sustainability-overview/healthier-communities" TargetMode="External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34.bin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8.xml"/><Relationship Id="rId6" Type="http://schemas.openxmlformats.org/officeDocument/2006/relationships/image" Target="../media/image47.svg"/><Relationship Id="rId5" Type="http://schemas.openxmlformats.org/officeDocument/2006/relationships/image" Target="../media/image46.sv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9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3.sv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2.xml"/><Relationship Id="rId6" Type="http://schemas.openxmlformats.org/officeDocument/2006/relationships/image" Target="../media/image55.svg"/><Relationship Id="rId5" Type="http://schemas.openxmlformats.org/officeDocument/2006/relationships/image" Target="../media/image21.sv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67042-5B06-140C-2BA5-54BB10F7200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625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67042-5B06-140C-2BA5-54BB10F720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B1636F-8A27-2796-436E-FF4FD957DF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21500" y="2319604"/>
            <a:ext cx="4765676" cy="2146126"/>
          </a:xfrm>
        </p:spPr>
        <p:txBody>
          <a:bodyPr vert="horz"/>
          <a:lstStyle/>
          <a:p>
            <a:r>
              <a:rPr lang="en-GB"/>
              <a:t>Resilient Cities, Reimagining Health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A6B6CE-BF03-80CC-96DE-15FAFD7AC1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21500" y="4635355"/>
            <a:ext cx="4765675" cy="504000"/>
          </a:xfrm>
        </p:spPr>
        <p:txBody>
          <a:bodyPr/>
          <a:lstStyle/>
          <a:p>
            <a:r>
              <a:rPr lang="en-US" dirty="0" err="1">
                <a:latin typeface="Inter" panose="02000503000000020004" pitchFamily="2" charset="0"/>
                <a:ea typeface="Inter" panose="02000503000000020004" pitchFamily="2" charset="0"/>
              </a:rPr>
              <a:t>Programme</a:t>
            </a:r>
            <a:r>
              <a:rPr lang="en-US" dirty="0">
                <a:latin typeface="Inter" panose="02000503000000020004" pitchFamily="2" charset="0"/>
                <a:ea typeface="Inter" panose="02000503000000020004" pitchFamily="2" charset="0"/>
              </a:rPr>
              <a:t> brief</a:t>
            </a:r>
          </a:p>
        </p:txBody>
      </p:sp>
      <p:pic>
        <p:nvPicPr>
          <p:cNvPr id="10" name="Picture Placeholder 9" descr="A group of people sitting on grass&#10;&#10;AI-generated content may be incorrect.">
            <a:extLst>
              <a:ext uri="{FF2B5EF4-FFF2-40B4-BE49-F238E27FC236}">
                <a16:creationId xmlns:a16="http://schemas.microsoft.com/office/drawing/2014/main" id="{827475CC-79AF-9F02-2B7C-57302F1C06A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0" r="16680"/>
          <a:stretch/>
        </p:blipFill>
        <p:spPr>
          <a:xfrm>
            <a:off x="396832" y="800100"/>
            <a:ext cx="5776548" cy="5786438"/>
          </a:xfrm>
        </p:spPr>
      </p:pic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A7D5CFED-DE52-DFDD-E749-8F8AEB4C238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GB" dirty="0">
                <a:latin typeface="Inter" panose="02000503000000020004" pitchFamily="2" charset="0"/>
                <a:ea typeface="Inter" panose="02000503000000020004" pitchFamily="2" charset="0"/>
              </a:rPr>
              <a:t>27</a:t>
            </a:r>
            <a:r>
              <a:rPr lang="en-GB" baseline="30000" dirty="0">
                <a:latin typeface="Inter" panose="02000503000000020004" pitchFamily="2" charset="0"/>
                <a:ea typeface="Inter" panose="02000503000000020004" pitchFamily="2" charset="0"/>
              </a:rPr>
              <a:t>th</a:t>
            </a:r>
            <a:r>
              <a:rPr lang="en-GB" dirty="0">
                <a:latin typeface="Inter" panose="02000503000000020004" pitchFamily="2" charset="0"/>
                <a:ea typeface="Inter" panose="02000503000000020004" pitchFamily="2" charset="0"/>
              </a:rPr>
              <a:t>  March </a:t>
            </a:r>
            <a:r>
              <a:rPr lang="ro-RO" i="1" dirty="0">
                <a:latin typeface="Inter" panose="02000503000000020004" pitchFamily="2" charset="0"/>
                <a:ea typeface="Inter" panose="02000503000000020004" pitchFamily="2" charset="0"/>
              </a:rPr>
              <a:t>202</a:t>
            </a:r>
            <a:r>
              <a:rPr lang="en-GB" i="1" dirty="0">
                <a:latin typeface="Inter" panose="02000503000000020004" pitchFamily="2" charset="0"/>
                <a:ea typeface="Inter" panose="02000503000000020004" pitchFamily="2" charset="0"/>
              </a:rPr>
              <a:t>6</a:t>
            </a:r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C52D39E-E282-4A6E-88C3-79D005F0AF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RESILIENT CITIES, REIMAGINING HEALTH</a:t>
            </a:r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C174E45-87A5-A641-7FBA-34660FDD715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507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EBE77-2C37-CACD-3DD4-833F24A337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36C4B9-7373-C0DB-8BA9-AEF50147AEF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36C4B9-7373-C0DB-8BA9-AEF50147A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37B992A-02B2-6EEC-A7D2-63359E518779}"/>
              </a:ext>
            </a:extLst>
          </p:cNvPr>
          <p:cNvSpPr/>
          <p:nvPr/>
        </p:nvSpPr>
        <p:spPr>
          <a:xfrm>
            <a:off x="433274" y="3381654"/>
            <a:ext cx="5118131" cy="23186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 multi-year programme, developed for and with cities, creating practical tools and resources, to guide city-led health and wellbeing interventions </a:t>
            </a:r>
            <a:endParaRPr lang="en-GB" sz="20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9589D66-0B75-EB3A-20CD-749A8A94A30A}"/>
              </a:ext>
            </a:extLst>
          </p:cNvPr>
          <p:cNvGrpSpPr/>
          <p:nvPr/>
        </p:nvGrpSpPr>
        <p:grpSpPr>
          <a:xfrm>
            <a:off x="8433763" y="2705205"/>
            <a:ext cx="3279470" cy="577874"/>
            <a:chOff x="8382039" y="2197911"/>
            <a:chExt cx="3679956" cy="648443"/>
          </a:xfrm>
        </p:grpSpPr>
        <p:sp>
          <p:nvSpPr>
            <p:cNvPr id="47" name="Freeform 4">
              <a:extLst>
                <a:ext uri="{FF2B5EF4-FFF2-40B4-BE49-F238E27FC236}">
                  <a16:creationId xmlns:a16="http://schemas.microsoft.com/office/drawing/2014/main" id="{0C876D92-44B5-E16A-54F3-3893A4D52F59}"/>
                </a:ext>
              </a:extLst>
            </p:cNvPr>
            <p:cNvSpPr/>
            <p:nvPr/>
          </p:nvSpPr>
          <p:spPr>
            <a:xfrm>
              <a:off x="8382039" y="2197911"/>
              <a:ext cx="1165389" cy="627108"/>
            </a:xfrm>
            <a:custGeom>
              <a:avLst/>
              <a:gdLst/>
              <a:ahLst/>
              <a:cxnLst/>
              <a:rect l="l" t="t" r="r" b="b"/>
              <a:pathLst>
                <a:path w="1165389" h="627108">
                  <a:moveTo>
                    <a:pt x="0" y="0"/>
                  </a:moveTo>
                  <a:lnTo>
                    <a:pt x="1165389" y="0"/>
                  </a:lnTo>
                  <a:lnTo>
                    <a:pt x="1165389" y="627108"/>
                  </a:lnTo>
                  <a:lnTo>
                    <a:pt x="0" y="62710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687F941D-E7A1-8E55-71D4-2EBABF2A1AA2}"/>
                </a:ext>
              </a:extLst>
            </p:cNvPr>
            <p:cNvSpPr/>
            <p:nvPr/>
          </p:nvSpPr>
          <p:spPr>
            <a:xfrm>
              <a:off x="10811430" y="2219246"/>
              <a:ext cx="1250565" cy="627108"/>
            </a:xfrm>
            <a:custGeom>
              <a:avLst/>
              <a:gdLst/>
              <a:ahLst/>
              <a:cxnLst/>
              <a:rect l="l" t="t" r="r" b="b"/>
              <a:pathLst>
                <a:path w="1250565" h="627108">
                  <a:moveTo>
                    <a:pt x="0" y="0"/>
                  </a:moveTo>
                  <a:lnTo>
                    <a:pt x="1250565" y="0"/>
                  </a:lnTo>
                  <a:lnTo>
                    <a:pt x="1250565" y="627108"/>
                  </a:lnTo>
                  <a:lnTo>
                    <a:pt x="0" y="62710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F333CC36-3090-0021-D0F7-8B90045522A7}"/>
                </a:ext>
              </a:extLst>
            </p:cNvPr>
            <p:cNvSpPr/>
            <p:nvPr/>
          </p:nvSpPr>
          <p:spPr>
            <a:xfrm>
              <a:off x="10054419" y="2219246"/>
              <a:ext cx="627108" cy="627108"/>
            </a:xfrm>
            <a:custGeom>
              <a:avLst/>
              <a:gdLst/>
              <a:ahLst/>
              <a:cxnLst/>
              <a:rect l="l" t="t" r="r" b="b"/>
              <a:pathLst>
                <a:path w="627108" h="627108">
                  <a:moveTo>
                    <a:pt x="0" y="0"/>
                  </a:moveTo>
                  <a:lnTo>
                    <a:pt x="627108" y="0"/>
                  </a:lnTo>
                  <a:lnTo>
                    <a:pt x="627108" y="627108"/>
                  </a:lnTo>
                  <a:lnTo>
                    <a:pt x="0" y="62710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2" name="AutoShape 12">
              <a:extLst>
                <a:ext uri="{FF2B5EF4-FFF2-40B4-BE49-F238E27FC236}">
                  <a16:creationId xmlns:a16="http://schemas.microsoft.com/office/drawing/2014/main" id="{5F2DB6E1-79E4-DD9F-6E64-7596E7487DD9}"/>
                </a:ext>
              </a:extLst>
            </p:cNvPr>
            <p:cNvSpPr/>
            <p:nvPr/>
          </p:nvSpPr>
          <p:spPr>
            <a:xfrm flipH="1">
              <a:off x="9737175" y="2238333"/>
              <a:ext cx="0" cy="608021"/>
            </a:xfrm>
            <a:prstGeom prst="line">
              <a:avLst/>
            </a:prstGeom>
            <a:ln w="19050" cap="flat">
              <a:solidFill>
                <a:srgbClr val="FFF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4DA0B4-C7FF-C23A-6490-5EBC6ABA3845}"/>
              </a:ext>
            </a:extLst>
          </p:cNvPr>
          <p:cNvGrpSpPr/>
          <p:nvPr/>
        </p:nvGrpSpPr>
        <p:grpSpPr>
          <a:xfrm>
            <a:off x="8433770" y="3748561"/>
            <a:ext cx="2178467" cy="955018"/>
            <a:chOff x="7508495" y="3252956"/>
            <a:chExt cx="2770819" cy="1214699"/>
          </a:xfrm>
        </p:grpSpPr>
        <p:sp>
          <p:nvSpPr>
            <p:cNvPr id="45" name="Freeform 2">
              <a:extLst>
                <a:ext uri="{FF2B5EF4-FFF2-40B4-BE49-F238E27FC236}">
                  <a16:creationId xmlns:a16="http://schemas.microsoft.com/office/drawing/2014/main" id="{70D47A9E-52EB-1C2D-EB86-CE147B8E042C}"/>
                </a:ext>
              </a:extLst>
            </p:cNvPr>
            <p:cNvSpPr/>
            <p:nvPr/>
          </p:nvSpPr>
          <p:spPr>
            <a:xfrm>
              <a:off x="9587915" y="3774427"/>
              <a:ext cx="691399" cy="693228"/>
            </a:xfrm>
            <a:custGeom>
              <a:avLst/>
              <a:gdLst/>
              <a:ahLst/>
              <a:cxnLst/>
              <a:rect l="l" t="t" r="r" b="b"/>
              <a:pathLst>
                <a:path w="691399" h="693228">
                  <a:moveTo>
                    <a:pt x="0" y="0"/>
                  </a:moveTo>
                  <a:lnTo>
                    <a:pt x="691400" y="0"/>
                  </a:lnTo>
                  <a:lnTo>
                    <a:pt x="691400" y="693228"/>
                  </a:lnTo>
                  <a:lnTo>
                    <a:pt x="0" y="6932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6" name="Freeform 3">
              <a:extLst>
                <a:ext uri="{FF2B5EF4-FFF2-40B4-BE49-F238E27FC236}">
                  <a16:creationId xmlns:a16="http://schemas.microsoft.com/office/drawing/2014/main" id="{AE1FC822-2526-8F0A-E5F2-5389E3A58565}"/>
                </a:ext>
              </a:extLst>
            </p:cNvPr>
            <p:cNvSpPr/>
            <p:nvPr/>
          </p:nvSpPr>
          <p:spPr>
            <a:xfrm>
              <a:off x="7538953" y="3774427"/>
              <a:ext cx="1288589" cy="693228"/>
            </a:xfrm>
            <a:custGeom>
              <a:avLst/>
              <a:gdLst/>
              <a:ahLst/>
              <a:cxnLst/>
              <a:rect l="l" t="t" r="r" b="b"/>
              <a:pathLst>
                <a:path w="1288589" h="693228">
                  <a:moveTo>
                    <a:pt x="0" y="0"/>
                  </a:moveTo>
                  <a:lnTo>
                    <a:pt x="1288589" y="0"/>
                  </a:lnTo>
                  <a:lnTo>
                    <a:pt x="1288589" y="693228"/>
                  </a:lnTo>
                  <a:lnTo>
                    <a:pt x="0" y="6932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 l="-13427" t="-27357" r="-13641" b="-20704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3" name="AutoShape 13">
              <a:extLst>
                <a:ext uri="{FF2B5EF4-FFF2-40B4-BE49-F238E27FC236}">
                  <a16:creationId xmlns:a16="http://schemas.microsoft.com/office/drawing/2014/main" id="{B9C9B150-87B9-D05A-720D-889EEA303097}"/>
                </a:ext>
              </a:extLst>
            </p:cNvPr>
            <p:cNvSpPr/>
            <p:nvPr/>
          </p:nvSpPr>
          <p:spPr>
            <a:xfrm flipH="1">
              <a:off x="9157434" y="3817031"/>
              <a:ext cx="0" cy="608021"/>
            </a:xfrm>
            <a:prstGeom prst="line">
              <a:avLst/>
            </a:prstGeom>
            <a:ln w="19050" cap="flat">
              <a:solidFill>
                <a:srgbClr val="FFF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5" name="TextBox 17">
              <a:extLst>
                <a:ext uri="{FF2B5EF4-FFF2-40B4-BE49-F238E27FC236}">
                  <a16:creationId xmlns:a16="http://schemas.microsoft.com/office/drawing/2014/main" id="{805D367B-2F29-2ED2-4246-4A5CA5E526D3}"/>
                </a:ext>
              </a:extLst>
            </p:cNvPr>
            <p:cNvSpPr txBox="1"/>
            <p:nvPr/>
          </p:nvSpPr>
          <p:spPr>
            <a:xfrm>
              <a:off x="7508495" y="3252956"/>
              <a:ext cx="1734926" cy="32817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316"/>
                </a:lnSpc>
              </a:pPr>
              <a:r>
                <a:rPr lang="en-US" sz="1200">
                  <a:solidFill>
                    <a:srgbClr val="FFFFFF"/>
                  </a:solidFill>
                  <a:ea typeface="Poppins"/>
                  <a:cs typeface="Poppins"/>
                  <a:sym typeface="Poppins"/>
                </a:rPr>
                <a:t>Led by:</a:t>
              </a:r>
            </a:p>
          </p:txBody>
        </p:sp>
      </p:grpSp>
      <p:sp>
        <p:nvSpPr>
          <p:cNvPr id="58" name="Subtitle 6">
            <a:extLst>
              <a:ext uri="{FF2B5EF4-FFF2-40B4-BE49-F238E27FC236}">
                <a16:creationId xmlns:a16="http://schemas.microsoft.com/office/drawing/2014/main" id="{80581D64-1F19-BA93-2DB7-5611BEF1E5AE}"/>
              </a:ext>
            </a:extLst>
          </p:cNvPr>
          <p:cNvSpPr txBox="1">
            <a:spLocks/>
          </p:cNvSpPr>
          <p:nvPr/>
        </p:nvSpPr>
        <p:spPr>
          <a:xfrm>
            <a:off x="532219" y="2108834"/>
            <a:ext cx="5473490" cy="8758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noProof="0"/>
              <a:t>Practical action to support health in a changing climat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F03198B-709F-5DBA-5A48-A83B0496861D}"/>
              </a:ext>
            </a:extLst>
          </p:cNvPr>
          <p:cNvGrpSpPr/>
          <p:nvPr/>
        </p:nvGrpSpPr>
        <p:grpSpPr>
          <a:xfrm>
            <a:off x="8349837" y="5103601"/>
            <a:ext cx="3408889" cy="950899"/>
            <a:chOff x="7378821" y="5001057"/>
            <a:chExt cx="4471268" cy="1247245"/>
          </a:xfrm>
        </p:grpSpPr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id="{D8C45BAC-2DA4-A5A5-23FB-79BE8694BBD7}"/>
                </a:ext>
              </a:extLst>
            </p:cNvPr>
            <p:cNvSpPr/>
            <p:nvPr/>
          </p:nvSpPr>
          <p:spPr>
            <a:xfrm>
              <a:off x="9086938" y="5452160"/>
              <a:ext cx="849286" cy="796142"/>
            </a:xfrm>
            <a:custGeom>
              <a:avLst/>
              <a:gdLst/>
              <a:ahLst/>
              <a:cxnLst/>
              <a:rect l="l" t="t" r="r" b="b"/>
              <a:pathLst>
                <a:path w="1042570" h="977331">
                  <a:moveTo>
                    <a:pt x="0" y="0"/>
                  </a:moveTo>
                  <a:lnTo>
                    <a:pt x="1042570" y="0"/>
                  </a:lnTo>
                  <a:lnTo>
                    <a:pt x="1042570" y="977330"/>
                  </a:lnTo>
                  <a:lnTo>
                    <a:pt x="0" y="9773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2" name="AutoShape 15">
              <a:extLst>
                <a:ext uri="{FF2B5EF4-FFF2-40B4-BE49-F238E27FC236}">
                  <a16:creationId xmlns:a16="http://schemas.microsoft.com/office/drawing/2014/main" id="{AD18426F-A821-F270-5871-7029F51993D3}"/>
                </a:ext>
              </a:extLst>
            </p:cNvPr>
            <p:cNvSpPr/>
            <p:nvPr/>
          </p:nvSpPr>
          <p:spPr>
            <a:xfrm flipH="1">
              <a:off x="10061709" y="5636814"/>
              <a:ext cx="0" cy="608021"/>
            </a:xfrm>
            <a:prstGeom prst="line">
              <a:avLst/>
            </a:prstGeom>
            <a:ln w="19050" cap="flat">
              <a:solidFill>
                <a:srgbClr val="FFF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3" name="TextBox 19">
              <a:extLst>
                <a:ext uri="{FF2B5EF4-FFF2-40B4-BE49-F238E27FC236}">
                  <a16:creationId xmlns:a16="http://schemas.microsoft.com/office/drawing/2014/main" id="{EE70B194-F587-4F2A-A74D-5D671F05224B}"/>
                </a:ext>
              </a:extLst>
            </p:cNvPr>
            <p:cNvSpPr txBox="1"/>
            <p:nvPr/>
          </p:nvSpPr>
          <p:spPr>
            <a:xfrm>
              <a:off x="7544788" y="5001057"/>
              <a:ext cx="2414426" cy="38088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70"/>
                </a:lnSpc>
                <a:spcBef>
                  <a:spcPct val="0"/>
                </a:spcBef>
              </a:pPr>
              <a:r>
                <a:rPr lang="en-US" sz="1200">
                  <a:solidFill>
                    <a:srgbClr val="FFFFFF"/>
                  </a:solidFill>
                  <a:ea typeface="Poppins"/>
                  <a:cs typeface="Poppins"/>
                </a:rPr>
                <a:t>With support from:</a:t>
              </a:r>
              <a:endParaRPr lang="en-US" sz="1200">
                <a:solidFill>
                  <a:srgbClr val="FFFFFF"/>
                </a:solidFill>
                <a:ea typeface="Poppins"/>
                <a:cs typeface="Poppins"/>
                <a:sym typeface="Poppins"/>
              </a:endParaRPr>
            </a:p>
          </p:txBody>
        </p:sp>
        <p:pic>
          <p:nvPicPr>
            <p:cNvPr id="3" name="Picture 2" descr="A white and black logo&#10;&#10;AI-generated content may be incorrect.">
              <a:extLst>
                <a:ext uri="{FF2B5EF4-FFF2-40B4-BE49-F238E27FC236}">
                  <a16:creationId xmlns:a16="http://schemas.microsoft.com/office/drawing/2014/main" id="{98FA4D31-BB87-EDC7-311E-BF83ABF97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7195" y="5760567"/>
              <a:ext cx="916622" cy="293679"/>
            </a:xfrm>
            <a:prstGeom prst="rect">
              <a:avLst/>
            </a:prstGeom>
          </p:spPr>
        </p:pic>
        <p:sp>
          <p:nvSpPr>
            <p:cNvPr id="5" name="AutoShape 15">
              <a:extLst>
                <a:ext uri="{FF2B5EF4-FFF2-40B4-BE49-F238E27FC236}">
                  <a16:creationId xmlns:a16="http://schemas.microsoft.com/office/drawing/2014/main" id="{10AF1F81-11A5-37A7-B16D-403F0690B05D}"/>
                </a:ext>
              </a:extLst>
            </p:cNvPr>
            <p:cNvSpPr/>
            <p:nvPr/>
          </p:nvSpPr>
          <p:spPr>
            <a:xfrm flipH="1">
              <a:off x="8961452" y="5636814"/>
              <a:ext cx="0" cy="608021"/>
            </a:xfrm>
            <a:prstGeom prst="line">
              <a:avLst/>
            </a:prstGeom>
            <a:ln w="19050" cap="flat">
              <a:solidFill>
                <a:srgbClr val="FFF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sz="120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1826EE89-E1D6-B98D-02B3-98B941B12EE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354789" y="5636814"/>
              <a:ext cx="495300" cy="4953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4163355-A62C-46BA-4499-D5C77F33E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8821" y="5609767"/>
              <a:ext cx="1457146" cy="539365"/>
            </a:xfrm>
            <a:prstGeom prst="rect">
              <a:avLst/>
            </a:prstGeom>
          </p:spPr>
        </p:pic>
        <p:sp>
          <p:nvSpPr>
            <p:cNvPr id="12" name="AutoShape 15">
              <a:extLst>
                <a:ext uri="{FF2B5EF4-FFF2-40B4-BE49-F238E27FC236}">
                  <a16:creationId xmlns:a16="http://schemas.microsoft.com/office/drawing/2014/main" id="{5867F606-5DD9-7C2A-6B89-BBF5F4C3E946}"/>
                </a:ext>
              </a:extLst>
            </p:cNvPr>
            <p:cNvSpPr/>
            <p:nvPr/>
          </p:nvSpPr>
          <p:spPr>
            <a:xfrm flipH="1">
              <a:off x="11229302" y="5636814"/>
              <a:ext cx="0" cy="608021"/>
            </a:xfrm>
            <a:prstGeom prst="line">
              <a:avLst/>
            </a:prstGeom>
            <a:ln w="19050" cap="flat">
              <a:solidFill>
                <a:srgbClr val="FFF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CD0B9A7-D0C3-9C5A-6D8E-559ED5D398AB}"/>
              </a:ext>
            </a:extLst>
          </p:cNvPr>
          <p:cNvSpPr txBox="1"/>
          <p:nvPr/>
        </p:nvSpPr>
        <p:spPr>
          <a:xfrm>
            <a:off x="3143426" y="4680418"/>
            <a:ext cx="24079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endParaRPr lang="en-GB">
              <a:solidFill>
                <a:schemeClr val="bg1"/>
              </a:solidFill>
            </a:endParaRPr>
          </a:p>
          <a:p>
            <a:pPr algn="r">
              <a:defRPr/>
            </a:pPr>
            <a:r>
              <a:rPr lang="en-GB" b="1">
                <a:solidFill>
                  <a:schemeClr val="bg1"/>
                </a:solidFill>
              </a:rPr>
              <a:t>Watch video </a:t>
            </a:r>
            <a:r>
              <a:rPr lang="en-GB" b="1">
                <a:solidFill>
                  <a:schemeClr val="accent3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E058F0E-66EB-ECB7-A885-78C828914576}"/>
              </a:ext>
            </a:extLst>
          </p:cNvPr>
          <p:cNvSpPr txBox="1">
            <a:spLocks/>
          </p:cNvSpPr>
          <p:nvPr/>
        </p:nvSpPr>
        <p:spPr>
          <a:xfrm>
            <a:off x="433274" y="828000"/>
            <a:ext cx="6418262" cy="543600"/>
          </a:xfrm>
          <a:prstGeom prst="rect">
            <a:avLst/>
          </a:prstGeom>
        </p:spPr>
        <p:txBody>
          <a:bodyPr vert="horz" rIns="0"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Oscine Trial" panose="020B0506040202020204" pitchFamily="34" charset="0"/>
                <a:ea typeface="+mj-ea"/>
                <a:cs typeface="Oscine Trial" panose="020B0506040202020204" pitchFamily="34" charset="0"/>
              </a:defRPr>
            </a:lvl1pPr>
          </a:lstStyle>
          <a:p>
            <a:r>
              <a:rPr lang="en-GB" sz="4800">
                <a:solidFill>
                  <a:schemeClr val="bg2"/>
                </a:solidFill>
                <a:latin typeface="Oscine" panose="020B0806040202020204" pitchFamily="34" charset="0"/>
                <a:cs typeface="Oscine" panose="020B0806040202020204" pitchFamily="34" charset="0"/>
              </a:rPr>
              <a:t>Resilient Cities, Reimagining Health</a:t>
            </a:r>
          </a:p>
        </p:txBody>
      </p:sp>
    </p:spTree>
    <p:extLst>
      <p:ext uri="{BB962C8B-B14F-4D97-AF65-F5344CB8AC3E}">
        <p14:creationId xmlns:p14="http://schemas.microsoft.com/office/powerpoint/2010/main" val="1211007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06B751-C5D5-DD61-02C0-BDF5A54BE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4380217-8F4E-4144-0217-623CC3B2376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380217-8F4E-4144-0217-623CC3B237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BA3EAE17-00D5-B88E-2D21-294FD75BE7A7}"/>
              </a:ext>
            </a:extLst>
          </p:cNvPr>
          <p:cNvSpPr/>
          <p:nvPr/>
        </p:nvSpPr>
        <p:spPr>
          <a:xfrm>
            <a:off x="0" y="0"/>
            <a:ext cx="3976371" cy="685799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1DCE522-2658-614A-9DCE-15802F3D7270}"/>
              </a:ext>
            </a:extLst>
          </p:cNvPr>
          <p:cNvSpPr/>
          <p:nvPr/>
        </p:nvSpPr>
        <p:spPr>
          <a:xfrm>
            <a:off x="4187585" y="2178438"/>
            <a:ext cx="7587527" cy="25090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400" noProof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43C9FD-4CC6-BE15-3CFE-0B4820BF6579}"/>
              </a:ext>
            </a:extLst>
          </p:cNvPr>
          <p:cNvSpPr/>
          <p:nvPr/>
        </p:nvSpPr>
        <p:spPr>
          <a:xfrm>
            <a:off x="3546640" y="1720152"/>
            <a:ext cx="5201955" cy="63017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i="0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4BA4B9-1123-C61A-FDE1-7C357FC768D2}"/>
              </a:ext>
            </a:extLst>
          </p:cNvPr>
          <p:cNvSpPr/>
          <p:nvPr/>
        </p:nvSpPr>
        <p:spPr>
          <a:xfrm>
            <a:off x="560484" y="1707796"/>
            <a:ext cx="2700000" cy="89252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i="0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8B116B-1614-88F5-7887-11F644B46BDA}"/>
              </a:ext>
            </a:extLst>
          </p:cNvPr>
          <p:cNvSpPr/>
          <p:nvPr/>
        </p:nvSpPr>
        <p:spPr>
          <a:xfrm>
            <a:off x="4733384" y="866706"/>
            <a:ext cx="6348666" cy="39706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artnership with citi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13952D-A3DF-CE19-BD84-80219077D6CF}"/>
              </a:ext>
            </a:extLst>
          </p:cNvPr>
          <p:cNvSpPr/>
          <p:nvPr/>
        </p:nvSpPr>
        <p:spPr>
          <a:xfrm>
            <a:off x="4316949" y="3736452"/>
            <a:ext cx="6348666" cy="37126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ractical tools and resources to drive implementation</a:t>
            </a:r>
          </a:p>
        </p:txBody>
      </p:sp>
      <p:pic>
        <p:nvPicPr>
          <p:cNvPr id="28" name="Graphic 27" descr="Badge with solid fill">
            <a:extLst>
              <a:ext uri="{FF2B5EF4-FFF2-40B4-BE49-F238E27FC236}">
                <a16:creationId xmlns:a16="http://schemas.microsoft.com/office/drawing/2014/main" id="{83351141-5B41-A6FE-0F2C-0617C6A1D86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16949" y="2223883"/>
            <a:ext cx="397068" cy="39706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77B54B3-D823-40DB-A2C8-1676CDA64F8A}"/>
              </a:ext>
            </a:extLst>
          </p:cNvPr>
          <p:cNvSpPr/>
          <p:nvPr/>
        </p:nvSpPr>
        <p:spPr>
          <a:xfrm>
            <a:off x="4733384" y="4890878"/>
            <a:ext cx="6348666" cy="39706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Wider advocacy, thought leadership, and amplification</a:t>
            </a:r>
            <a:endParaRPr lang="en-GB" sz="1400" b="1" i="0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C5DDF42-C992-89AE-5C3C-79B6B9AEC937}"/>
              </a:ext>
            </a:extLst>
          </p:cNvPr>
          <p:cNvSpPr/>
          <p:nvPr/>
        </p:nvSpPr>
        <p:spPr>
          <a:xfrm>
            <a:off x="4316949" y="2623722"/>
            <a:ext cx="6348666" cy="33244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he case for prevention &amp; roadmap for action</a:t>
            </a:r>
          </a:p>
        </p:txBody>
      </p:sp>
      <p:pic>
        <p:nvPicPr>
          <p:cNvPr id="33" name="Graphic 32" descr="Badge 1 with solid fill">
            <a:extLst>
              <a:ext uri="{FF2B5EF4-FFF2-40B4-BE49-F238E27FC236}">
                <a16:creationId xmlns:a16="http://schemas.microsoft.com/office/drawing/2014/main" id="{9DC1106F-8429-1727-CA96-FB727ACC5D0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16949" y="833402"/>
            <a:ext cx="397068" cy="397068"/>
          </a:xfrm>
          <a:prstGeom prst="rect">
            <a:avLst/>
          </a:prstGeom>
        </p:spPr>
      </p:pic>
      <p:pic>
        <p:nvPicPr>
          <p:cNvPr id="35" name="Graphic 34" descr="Badge 3 with solid fill">
            <a:extLst>
              <a:ext uri="{FF2B5EF4-FFF2-40B4-BE49-F238E27FC236}">
                <a16:creationId xmlns:a16="http://schemas.microsoft.com/office/drawing/2014/main" id="{FF699D02-71B7-C92B-3B02-96782BC59A7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16949" y="4888008"/>
            <a:ext cx="397068" cy="397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CADC2C6-69B9-70DD-A357-BB246FD4A319}"/>
              </a:ext>
            </a:extLst>
          </p:cNvPr>
          <p:cNvSpPr/>
          <p:nvPr/>
        </p:nvSpPr>
        <p:spPr>
          <a:xfrm>
            <a:off x="4316949" y="1329987"/>
            <a:ext cx="6348666" cy="8299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dentify, convene and partner with committed cities, creating a ‘community of practice’ to understand and respond to their priorities and needs</a:t>
            </a:r>
            <a:endParaRPr lang="en-GB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F803FE-03A8-CEDA-29AA-5AFF1D8C18C2}"/>
              </a:ext>
            </a:extLst>
          </p:cNvPr>
          <p:cNvSpPr/>
          <p:nvPr/>
        </p:nvSpPr>
        <p:spPr>
          <a:xfrm>
            <a:off x="4316949" y="4091785"/>
            <a:ext cx="6348666" cy="8949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o-create highly-practical tools &amp; resources, that respond to cities’ needs.  Embed in city-level decision making, to deliver real-world chan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75D4A6-8665-3181-C862-0C7A947F2871}"/>
              </a:ext>
            </a:extLst>
          </p:cNvPr>
          <p:cNvSpPr/>
          <p:nvPr/>
        </p:nvSpPr>
        <p:spPr>
          <a:xfrm>
            <a:off x="4316949" y="5420370"/>
            <a:ext cx="6348666" cy="8252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J</a:t>
            </a:r>
            <a:r>
              <a:rPr lang="en-GB" sz="1400" err="1">
                <a:solidFill>
                  <a:schemeClr val="tx1"/>
                </a:solidFill>
              </a:rPr>
              <a:t>oin</a:t>
            </a:r>
            <a:r>
              <a:rPr lang="en-GB" sz="1400">
                <a:solidFill>
                  <a:schemeClr val="tx1"/>
                </a:solidFill>
              </a:rPr>
              <a:t> with cohort of cities, to showcase success and advocate for wider global action, including demonstrating the role of the private secto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FCC2C9-E174-D9E1-33E2-5927CA2543B9}"/>
              </a:ext>
            </a:extLst>
          </p:cNvPr>
          <p:cNvSpPr/>
          <p:nvPr/>
        </p:nvSpPr>
        <p:spPr>
          <a:xfrm>
            <a:off x="4316949" y="2940229"/>
            <a:ext cx="6348666" cy="81215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‘Make the case’ for preventative healthcare approaches in cities </a:t>
            </a:r>
            <a:endParaRPr lang="en-GB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o support health in a changing climate, build resilience and decarbonize health systems</a:t>
            </a:r>
            <a:endParaRPr lang="en-GB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7C6972-EAE8-A0DF-B5E6-BF5B6A069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177000"/>
            <a:ext cx="3076213" cy="504000"/>
          </a:xfrm>
        </p:spPr>
        <p:txBody>
          <a:bodyPr vert="horz" rIns="0" anchor="ctr"/>
          <a:lstStyle/>
          <a:p>
            <a:r>
              <a:rPr lang="en-US">
                <a:solidFill>
                  <a:schemeClr val="bg1"/>
                </a:solidFill>
              </a:rPr>
              <a:t>The </a:t>
            </a:r>
            <a:r>
              <a:rPr lang="en-US" err="1">
                <a:solidFill>
                  <a:schemeClr val="bg1"/>
                </a:solidFill>
              </a:rPr>
              <a:t>programme</a:t>
            </a:r>
            <a:r>
              <a:rPr lang="en-US">
                <a:solidFill>
                  <a:schemeClr val="bg1"/>
                </a:solidFill>
              </a:rPr>
              <a:t> has three workstream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79FA35A-91D3-3187-E45E-FB5180FEE054}"/>
              </a:ext>
            </a:extLst>
          </p:cNvPr>
          <p:cNvSpPr/>
          <p:nvPr/>
        </p:nvSpPr>
        <p:spPr>
          <a:xfrm>
            <a:off x="4733384" y="2258523"/>
            <a:ext cx="6348666" cy="39706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Knowledge product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4AD79FF-9924-29F7-6E69-D1B646576D56}"/>
              </a:ext>
            </a:extLst>
          </p:cNvPr>
          <p:cNvCxnSpPr>
            <a:cxnSpLocks/>
          </p:cNvCxnSpPr>
          <p:nvPr/>
        </p:nvCxnSpPr>
        <p:spPr>
          <a:xfrm>
            <a:off x="4316949" y="1277646"/>
            <a:ext cx="723497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7F2A6F-1FC8-CDC0-786D-BD073E0F762F}"/>
              </a:ext>
            </a:extLst>
          </p:cNvPr>
          <p:cNvCxnSpPr>
            <a:cxnSpLocks/>
          </p:cNvCxnSpPr>
          <p:nvPr/>
        </p:nvCxnSpPr>
        <p:spPr>
          <a:xfrm>
            <a:off x="4316949" y="2639656"/>
            <a:ext cx="723497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AF1281D-2700-4AF9-6C2D-47DBE7757F97}"/>
              </a:ext>
            </a:extLst>
          </p:cNvPr>
          <p:cNvCxnSpPr>
            <a:cxnSpLocks/>
          </p:cNvCxnSpPr>
          <p:nvPr/>
        </p:nvCxnSpPr>
        <p:spPr>
          <a:xfrm>
            <a:off x="4316949" y="5354158"/>
            <a:ext cx="723497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48DAFF-5685-682E-8438-71ADE4F954C9}"/>
              </a:ext>
            </a:extLst>
          </p:cNvPr>
          <p:cNvGrpSpPr/>
          <p:nvPr/>
        </p:nvGrpSpPr>
        <p:grpSpPr>
          <a:xfrm>
            <a:off x="10347561" y="614332"/>
            <a:ext cx="1972791" cy="184666"/>
            <a:chOff x="8890000" y="1270000"/>
            <a:chExt cx="1972791" cy="184666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A1D7261-AC7E-1B5B-F6D4-3669F6368115}"/>
                </a:ext>
              </a:extLst>
            </p:cNvPr>
            <p:cNvSpPr txBox="1"/>
            <p:nvPr/>
          </p:nvSpPr>
          <p:spPr>
            <a:xfrm>
              <a:off x="9105900" y="1270000"/>
              <a:ext cx="1756891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l"/>
              <a:r>
                <a:rPr lang="en-GB" sz="1200" dirty="0"/>
                <a:t>Detailed next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93576FE-B755-3C05-FA8F-E5FEF960676A}"/>
                </a:ext>
              </a:extLst>
            </p:cNvPr>
            <p:cNvSpPr/>
            <p:nvPr/>
          </p:nvSpPr>
          <p:spPr>
            <a:xfrm>
              <a:off x="8890000" y="1286133"/>
              <a:ext cx="152400" cy="1524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1200" noProof="0" err="1"/>
            </a:p>
          </p:txBody>
        </p:sp>
      </p:grp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965C309B-8186-8F94-E8C8-2534A5F97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238" y="268915"/>
            <a:ext cx="3560762" cy="126000"/>
          </a:xfrm>
        </p:spPr>
        <p:txBody>
          <a:bodyPr/>
          <a:lstStyle/>
          <a:p>
            <a:r>
              <a:rPr lang="en-GB"/>
              <a:t>1. City focus group materials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991CB284-5C66-2A35-E23E-DE0C08495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3957" y="269875"/>
            <a:ext cx="265671" cy="126000"/>
          </a:xfrm>
        </p:spPr>
        <p:txBody>
          <a:bodyPr/>
          <a:lstStyle/>
          <a:p>
            <a:fld id="{23AA811B-2EBD-4900-905E-5BE206449611}" type="slidenum">
              <a:rPr lang="en-GB" noProof="0" smtClean="0"/>
              <a:pPr/>
              <a:t>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74290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15760-6A68-6BDE-6E19-B6043FDF4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866D18-4240-63E1-4B75-66A7C3540EC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66D18-4240-63E1-4B75-66A7C3540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0F6EBD-1A66-CAD7-84E9-BA500E2CF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596283"/>
            <a:ext cx="11183936" cy="504000"/>
          </a:xfrm>
        </p:spPr>
        <p:txBody>
          <a:bodyPr vert="horz"/>
          <a:lstStyle/>
          <a:p>
            <a:r>
              <a:rPr lang="en-GB"/>
              <a:t>We engaged two cities to build fit-for-purpose tools, and will continue this in 2026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C33205-91CA-75BB-7CB0-08DF26919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October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4779FF-8DC0-17D9-0DFE-019221D19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E6AFF2-8B41-B6C1-DC86-DA8E7C2F5E31}"/>
              </a:ext>
            </a:extLst>
          </p:cNvPr>
          <p:cNvSpPr txBox="1"/>
          <p:nvPr/>
        </p:nvSpPr>
        <p:spPr>
          <a:xfrm>
            <a:off x="503238" y="1692069"/>
            <a:ext cx="6313197" cy="2141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City selection</a:t>
            </a:r>
            <a:endParaRPr lang="en-GB" sz="14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F1F71E0-C484-2F2C-51EB-0E3FF1B85CEF}"/>
              </a:ext>
            </a:extLst>
          </p:cNvPr>
          <p:cNvCxnSpPr>
            <a:cxnSpLocks/>
          </p:cNvCxnSpPr>
          <p:nvPr/>
        </p:nvCxnSpPr>
        <p:spPr>
          <a:xfrm>
            <a:off x="503238" y="1984969"/>
            <a:ext cx="62371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BE16F30-3E02-9DAD-9301-8D8EB262CADE}"/>
              </a:ext>
            </a:extLst>
          </p:cNvPr>
          <p:cNvGrpSpPr/>
          <p:nvPr/>
        </p:nvGrpSpPr>
        <p:grpSpPr>
          <a:xfrm>
            <a:off x="7606983" y="1692062"/>
            <a:ext cx="4080190" cy="292899"/>
            <a:chOff x="503238" y="2056140"/>
            <a:chExt cx="3482881" cy="29476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8738D54-830A-12DC-25E7-3579DCA7BC71}"/>
                </a:ext>
              </a:extLst>
            </p:cNvPr>
            <p:cNvSpPr txBox="1"/>
            <p:nvPr/>
          </p:nvSpPr>
          <p:spPr>
            <a:xfrm>
              <a:off x="503238" y="2056140"/>
              <a:ext cx="3482881" cy="2154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1400" b="1"/>
                <a:t>Scope of city-specific decision-support tools</a:t>
              </a:r>
              <a:endParaRPr lang="en-GB" sz="1400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60E6A7B-5477-C91D-A35F-E56D6023B398}"/>
                </a:ext>
              </a:extLst>
            </p:cNvPr>
            <p:cNvCxnSpPr>
              <a:cxnSpLocks/>
            </p:cNvCxnSpPr>
            <p:nvPr/>
          </p:nvCxnSpPr>
          <p:spPr>
            <a:xfrm>
              <a:off x="503238" y="2350908"/>
              <a:ext cx="344091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83CF598E-92FB-3AC4-D20C-EB264FDF4CC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7070397" y="1653359"/>
            <a:ext cx="282624" cy="2929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FF610E7A-D3C2-6BD0-C1A6-1B75BD79143F}"/>
              </a:ext>
            </a:extLst>
          </p:cNvPr>
          <p:cNvSpPr txBox="1"/>
          <p:nvPr/>
        </p:nvSpPr>
        <p:spPr>
          <a:xfrm>
            <a:off x="503237" y="2129747"/>
            <a:ext cx="623712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We co-created city decision-support tools with two of the lead cities from the Community of Practice</a:t>
            </a:r>
            <a:r>
              <a:rPr lang="en-GB" sz="1400"/>
              <a:t>, representing two of the archetypes described in the Case for Action repor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48EE4B5-5BB6-3BED-36D9-F67867A00E37}"/>
              </a:ext>
            </a:extLst>
          </p:cNvPr>
          <p:cNvSpPr txBox="1"/>
          <p:nvPr/>
        </p:nvSpPr>
        <p:spPr>
          <a:xfrm>
            <a:off x="8042564" y="2225863"/>
            <a:ext cx="3387436" cy="215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Appraisal tool: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D037919-8D6A-7927-EDF2-198776BB2F6C}"/>
              </a:ext>
            </a:extLst>
          </p:cNvPr>
          <p:cNvSpPr txBox="1"/>
          <p:nvPr/>
        </p:nvSpPr>
        <p:spPr>
          <a:xfrm>
            <a:off x="8042565" y="2533449"/>
            <a:ext cx="3557064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 b="1"/>
              <a:t>Hazards: </a:t>
            </a:r>
            <a:r>
              <a:rPr lang="en-GB" sz="1400"/>
              <a:t>Heat and flood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 b="1"/>
              <a:t>Interventions: </a:t>
            </a:r>
            <a:r>
              <a:rPr lang="en-GB" sz="1400"/>
              <a:t>Cool roofs, urban greening, community education, early warning systems, WAS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 b="1"/>
              <a:t>Health outcomes: </a:t>
            </a:r>
            <a:r>
              <a:rPr lang="en-GB" sz="1400"/>
              <a:t>Hospitalisations and mortali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799A596-58B6-A1E0-D088-3D852965D823}"/>
              </a:ext>
            </a:extLst>
          </p:cNvPr>
          <p:cNvSpPr txBox="1"/>
          <p:nvPr/>
        </p:nvSpPr>
        <p:spPr>
          <a:xfrm>
            <a:off x="8042564" y="4067004"/>
            <a:ext cx="32627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Playbook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05C9EE-3AE2-F064-9C85-EC927A155E31}"/>
              </a:ext>
            </a:extLst>
          </p:cNvPr>
          <p:cNvSpPr txBox="1"/>
          <p:nvPr/>
        </p:nvSpPr>
        <p:spPr>
          <a:xfrm>
            <a:off x="8042564" y="4374590"/>
            <a:ext cx="3557064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rgbClr val="000000"/>
                </a:solidFill>
              </a:rPr>
              <a:t>Health-relevant guidance </a:t>
            </a:r>
            <a:r>
              <a:rPr lang="en-GB" sz="1400">
                <a:solidFill>
                  <a:srgbClr val="000000"/>
                </a:solidFill>
              </a:rPr>
              <a:t>in the context of the end-to-end resilience planning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rgbClr val="000000"/>
                </a:solidFill>
              </a:rPr>
              <a:t>Key messages from the appraisal tool analysis </a:t>
            </a:r>
            <a:r>
              <a:rPr lang="en-GB" sz="1400">
                <a:solidFill>
                  <a:srgbClr val="000000"/>
                </a:solidFill>
              </a:rPr>
              <a:t>for the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rgbClr val="000000"/>
                </a:solidFill>
              </a:rPr>
              <a:t>Collection of relevant sources of insight </a:t>
            </a:r>
            <a:r>
              <a:rPr lang="en-GB" sz="1400">
                <a:solidFill>
                  <a:srgbClr val="000000"/>
                </a:solidFill>
              </a:rPr>
              <a:t>e.g., reports and data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E0DA07D-3C0D-FCAE-DEC7-2DC61C8BD790}"/>
              </a:ext>
            </a:extLst>
          </p:cNvPr>
          <p:cNvSpPr/>
          <p:nvPr/>
        </p:nvSpPr>
        <p:spPr>
          <a:xfrm>
            <a:off x="7668604" y="2172752"/>
            <a:ext cx="287128" cy="2793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cs typeface="Arial" panose="020B0604020202020204" pitchFamily="34" charset="0"/>
              </a:rPr>
              <a:t>1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21800090-D69F-76DD-C2EC-0A3822FFAE8C}"/>
              </a:ext>
            </a:extLst>
          </p:cNvPr>
          <p:cNvSpPr/>
          <p:nvPr/>
        </p:nvSpPr>
        <p:spPr>
          <a:xfrm>
            <a:off x="7668604" y="4003082"/>
            <a:ext cx="287128" cy="279366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E6F4231-ADCD-6C72-DC78-18B9B6BB72C2}"/>
              </a:ext>
            </a:extLst>
          </p:cNvPr>
          <p:cNvCxnSpPr>
            <a:cxnSpLocks/>
          </p:cNvCxnSpPr>
          <p:nvPr/>
        </p:nvCxnSpPr>
        <p:spPr>
          <a:xfrm>
            <a:off x="7194984" y="2172752"/>
            <a:ext cx="0" cy="390593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13" descr="brasilien mf">
            <a:extLst>
              <a:ext uri="{FF2B5EF4-FFF2-40B4-BE49-F238E27FC236}">
                <a16:creationId xmlns:a16="http://schemas.microsoft.com/office/drawing/2014/main" id="{4B17C6D1-29F0-D248-2342-B93691565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68" b="2087"/>
          <a:stretch>
            <a:fillRect/>
          </a:stretch>
        </p:blipFill>
        <p:spPr bwMode="auto">
          <a:xfrm>
            <a:off x="503237" y="3181949"/>
            <a:ext cx="791914" cy="527942"/>
          </a:xfrm>
          <a:prstGeom prst="rect">
            <a:avLst/>
          </a:prstGeom>
          <a:noFill/>
        </p:spPr>
      </p:pic>
      <p:pic>
        <p:nvPicPr>
          <p:cNvPr id="43" name="flag_nigeria">
            <a:extLst>
              <a:ext uri="{FF2B5EF4-FFF2-40B4-BE49-F238E27FC236}">
                <a16:creationId xmlns:a16="http://schemas.microsoft.com/office/drawing/2014/main" id="{F4886E4E-7B4E-2B2A-FE72-8F440B4C1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985944" y="3181949"/>
            <a:ext cx="788102" cy="524464"/>
          </a:xfrm>
          <a:prstGeom prst="rect">
            <a:avLst/>
          </a:prstGeom>
          <a:noFill/>
          <a:ln w="3175">
            <a:noFill/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1C0818F-C0C9-2EED-89E9-8156772D661B}"/>
              </a:ext>
            </a:extLst>
          </p:cNvPr>
          <p:cNvSpPr txBox="1"/>
          <p:nvPr/>
        </p:nvSpPr>
        <p:spPr>
          <a:xfrm>
            <a:off x="1430083" y="3181949"/>
            <a:ext cx="24209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b="1"/>
              <a:t>Rio de Janeiro, Brazil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64A09EE-A24B-5439-05E8-942CC3423465}"/>
              </a:ext>
            </a:extLst>
          </p:cNvPr>
          <p:cNvSpPr txBox="1"/>
          <p:nvPr/>
        </p:nvSpPr>
        <p:spPr>
          <a:xfrm>
            <a:off x="4908979" y="3181949"/>
            <a:ext cx="19663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b="1"/>
              <a:t>Lagos, Nigeria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B981EDD-9B68-DEAF-1B3E-40C2BAD812AC}"/>
              </a:ext>
            </a:extLst>
          </p:cNvPr>
          <p:cNvSpPr txBox="1"/>
          <p:nvPr/>
        </p:nvSpPr>
        <p:spPr>
          <a:xfrm>
            <a:off x="1430083" y="3471812"/>
            <a:ext cx="22379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/>
              <a:t>Transitioning cit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CC8A2C8-06E6-F5DF-4234-F08DBD413C8C}"/>
              </a:ext>
            </a:extLst>
          </p:cNvPr>
          <p:cNvSpPr txBox="1"/>
          <p:nvPr/>
        </p:nvSpPr>
        <p:spPr>
          <a:xfrm>
            <a:off x="4908979" y="3471812"/>
            <a:ext cx="19663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/>
              <a:t>Fast-growing c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91AADC1-F27B-0DE4-9C66-D6F2F7BD01D2}"/>
              </a:ext>
            </a:extLst>
          </p:cNvPr>
          <p:cNvSpPr txBox="1"/>
          <p:nvPr/>
        </p:nvSpPr>
        <p:spPr>
          <a:xfrm>
            <a:off x="503238" y="3991122"/>
            <a:ext cx="6313197" cy="2141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City engagement</a:t>
            </a:r>
            <a:endParaRPr lang="en-GB" sz="140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E5C5D33-0F61-5B20-EFF0-82D71DB7259D}"/>
              </a:ext>
            </a:extLst>
          </p:cNvPr>
          <p:cNvCxnSpPr>
            <a:cxnSpLocks/>
          </p:cNvCxnSpPr>
          <p:nvPr/>
        </p:nvCxnSpPr>
        <p:spPr>
          <a:xfrm>
            <a:off x="503238" y="4284022"/>
            <a:ext cx="62371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A0528AD0-E60D-46D7-5353-97CCE29E22AE}"/>
              </a:ext>
            </a:extLst>
          </p:cNvPr>
          <p:cNvSpPr txBox="1"/>
          <p:nvPr/>
        </p:nvSpPr>
        <p:spPr>
          <a:xfrm>
            <a:off x="503237" y="4441234"/>
            <a:ext cx="62371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solidFill>
                  <a:srgbClr val="000000"/>
                </a:solidFill>
              </a:rPr>
              <a:t>We engaged these cities during the 10-week effort through a series of meetings to understand the relevant…</a:t>
            </a:r>
          </a:p>
        </p:txBody>
      </p:sp>
      <p:sp>
        <p:nvSpPr>
          <p:cNvPr id="55" name="17.3">
            <a:extLst>
              <a:ext uri="{FF2B5EF4-FFF2-40B4-BE49-F238E27FC236}">
                <a16:creationId xmlns:a16="http://schemas.microsoft.com/office/drawing/2014/main" id="{29689731-D543-D305-C1B8-53871B378004}"/>
              </a:ext>
            </a:extLst>
          </p:cNvPr>
          <p:cNvSpPr/>
          <p:nvPr/>
        </p:nvSpPr>
        <p:spPr>
          <a:xfrm>
            <a:off x="518673" y="5079933"/>
            <a:ext cx="457200" cy="548640"/>
          </a:xfrm>
          <a:custGeom>
            <a:avLst/>
            <a:gdLst/>
            <a:ahLst/>
            <a:cxnLst/>
            <a:rect l="0" t="0" r="0" b="0"/>
            <a:pathLst>
              <a:path w="508000" h="609600">
                <a:moveTo>
                  <a:pt x="495300" y="50800"/>
                </a:moveTo>
                <a:lnTo>
                  <a:pt x="342900" y="50800"/>
                </a:lnTo>
                <a:cubicBezTo>
                  <a:pt x="342900" y="43776"/>
                  <a:pt x="337223" y="38100"/>
                  <a:pt x="330200" y="38100"/>
                </a:cubicBezTo>
                <a:lnTo>
                  <a:pt x="317500" y="38100"/>
                </a:lnTo>
                <a:lnTo>
                  <a:pt x="317500" y="12700"/>
                </a:lnTo>
                <a:cubicBezTo>
                  <a:pt x="317500" y="5676"/>
                  <a:pt x="311823" y="0"/>
                  <a:pt x="304800" y="0"/>
                </a:cubicBezTo>
                <a:lnTo>
                  <a:pt x="203200" y="0"/>
                </a:lnTo>
                <a:cubicBezTo>
                  <a:pt x="196176" y="0"/>
                  <a:pt x="190500" y="5676"/>
                  <a:pt x="190500" y="12700"/>
                </a:cubicBezTo>
                <a:lnTo>
                  <a:pt x="190500" y="38100"/>
                </a:lnTo>
                <a:lnTo>
                  <a:pt x="177800" y="38100"/>
                </a:lnTo>
                <a:cubicBezTo>
                  <a:pt x="170776" y="38100"/>
                  <a:pt x="165100" y="43776"/>
                  <a:pt x="165100" y="50800"/>
                </a:cubicBezTo>
                <a:lnTo>
                  <a:pt x="12700" y="50800"/>
                </a:lnTo>
                <a:cubicBezTo>
                  <a:pt x="5676" y="50800"/>
                  <a:pt x="0" y="56476"/>
                  <a:pt x="0" y="63500"/>
                </a:cubicBezTo>
                <a:lnTo>
                  <a:pt x="0" y="596900"/>
                </a:lnTo>
                <a:cubicBezTo>
                  <a:pt x="0" y="603923"/>
                  <a:pt x="5676" y="609600"/>
                  <a:pt x="12700" y="609600"/>
                </a:cubicBezTo>
                <a:lnTo>
                  <a:pt x="495300" y="609600"/>
                </a:lnTo>
                <a:cubicBezTo>
                  <a:pt x="502323" y="609600"/>
                  <a:pt x="508000" y="603923"/>
                  <a:pt x="508000" y="596900"/>
                </a:cubicBezTo>
                <a:lnTo>
                  <a:pt x="508000" y="63500"/>
                </a:lnTo>
                <a:cubicBezTo>
                  <a:pt x="508000" y="56476"/>
                  <a:pt x="502323" y="50800"/>
                  <a:pt x="495300" y="50800"/>
                </a:cubicBezTo>
                <a:close/>
                <a:moveTo>
                  <a:pt x="482600" y="584200"/>
                </a:moveTo>
                <a:lnTo>
                  <a:pt x="25400" y="584200"/>
                </a:lnTo>
                <a:lnTo>
                  <a:pt x="25400" y="76200"/>
                </a:lnTo>
                <a:lnTo>
                  <a:pt x="50800" y="76200"/>
                </a:lnTo>
                <a:lnTo>
                  <a:pt x="50800" y="546100"/>
                </a:lnTo>
                <a:cubicBezTo>
                  <a:pt x="50800" y="553123"/>
                  <a:pt x="56476" y="558800"/>
                  <a:pt x="63500" y="558800"/>
                </a:cubicBezTo>
                <a:lnTo>
                  <a:pt x="444500" y="558800"/>
                </a:lnTo>
                <a:cubicBezTo>
                  <a:pt x="451523" y="558800"/>
                  <a:pt x="457200" y="553123"/>
                  <a:pt x="457200" y="546100"/>
                </a:cubicBezTo>
                <a:lnTo>
                  <a:pt x="457200" y="76200"/>
                </a:lnTo>
                <a:lnTo>
                  <a:pt x="482600" y="76200"/>
                </a:lnTo>
                <a:close/>
                <a:moveTo>
                  <a:pt x="76200" y="76200"/>
                </a:moveTo>
                <a:lnTo>
                  <a:pt x="165100" y="76200"/>
                </a:lnTo>
                <a:lnTo>
                  <a:pt x="165100" y="101600"/>
                </a:lnTo>
                <a:cubicBezTo>
                  <a:pt x="165100" y="108623"/>
                  <a:pt x="170776" y="114300"/>
                  <a:pt x="177800" y="114300"/>
                </a:cubicBezTo>
                <a:lnTo>
                  <a:pt x="330200" y="114300"/>
                </a:lnTo>
                <a:cubicBezTo>
                  <a:pt x="337223" y="114300"/>
                  <a:pt x="342900" y="108623"/>
                  <a:pt x="342900" y="101600"/>
                </a:cubicBezTo>
                <a:lnTo>
                  <a:pt x="342900" y="76200"/>
                </a:lnTo>
                <a:lnTo>
                  <a:pt x="431800" y="76200"/>
                </a:lnTo>
                <a:lnTo>
                  <a:pt x="431800" y="533400"/>
                </a:lnTo>
                <a:lnTo>
                  <a:pt x="76200" y="533400"/>
                </a:lnTo>
                <a:close/>
                <a:moveTo>
                  <a:pt x="241300" y="330200"/>
                </a:moveTo>
                <a:cubicBezTo>
                  <a:pt x="241300" y="302183"/>
                  <a:pt x="218516" y="279400"/>
                  <a:pt x="190500" y="279400"/>
                </a:cubicBezTo>
                <a:cubicBezTo>
                  <a:pt x="162483" y="279400"/>
                  <a:pt x="139700" y="302183"/>
                  <a:pt x="139700" y="330200"/>
                </a:cubicBezTo>
                <a:cubicBezTo>
                  <a:pt x="139700" y="358216"/>
                  <a:pt x="162483" y="381000"/>
                  <a:pt x="190500" y="381000"/>
                </a:cubicBezTo>
                <a:cubicBezTo>
                  <a:pt x="218516" y="381000"/>
                  <a:pt x="241300" y="358216"/>
                  <a:pt x="241300" y="330200"/>
                </a:cubicBezTo>
                <a:close/>
                <a:moveTo>
                  <a:pt x="351878" y="321221"/>
                </a:moveTo>
                <a:lnTo>
                  <a:pt x="195757" y="165100"/>
                </a:lnTo>
                <a:lnTo>
                  <a:pt x="228600" y="165100"/>
                </a:lnTo>
                <a:cubicBezTo>
                  <a:pt x="235623" y="165100"/>
                  <a:pt x="241300" y="159423"/>
                  <a:pt x="241300" y="152400"/>
                </a:cubicBezTo>
                <a:cubicBezTo>
                  <a:pt x="241300" y="145376"/>
                  <a:pt x="235623" y="139700"/>
                  <a:pt x="228600" y="139700"/>
                </a:cubicBezTo>
                <a:lnTo>
                  <a:pt x="165100" y="139700"/>
                </a:lnTo>
                <a:cubicBezTo>
                  <a:pt x="163449" y="139700"/>
                  <a:pt x="161798" y="140030"/>
                  <a:pt x="160248" y="140677"/>
                </a:cubicBezTo>
                <a:cubicBezTo>
                  <a:pt x="157137" y="141960"/>
                  <a:pt x="154660" y="144437"/>
                  <a:pt x="153377" y="147548"/>
                </a:cubicBezTo>
                <a:cubicBezTo>
                  <a:pt x="152730" y="149098"/>
                  <a:pt x="152400" y="150749"/>
                  <a:pt x="152400" y="152400"/>
                </a:cubicBezTo>
                <a:lnTo>
                  <a:pt x="152400" y="215900"/>
                </a:lnTo>
                <a:cubicBezTo>
                  <a:pt x="152400" y="222923"/>
                  <a:pt x="158076" y="228600"/>
                  <a:pt x="165100" y="228600"/>
                </a:cubicBezTo>
                <a:cubicBezTo>
                  <a:pt x="172123" y="228600"/>
                  <a:pt x="177800" y="222923"/>
                  <a:pt x="177800" y="215900"/>
                </a:cubicBezTo>
                <a:lnTo>
                  <a:pt x="177800" y="183057"/>
                </a:lnTo>
                <a:lnTo>
                  <a:pt x="324942" y="330200"/>
                </a:lnTo>
                <a:lnTo>
                  <a:pt x="162471" y="492671"/>
                </a:lnTo>
                <a:cubicBezTo>
                  <a:pt x="157505" y="497636"/>
                  <a:pt x="157505" y="505663"/>
                  <a:pt x="162471" y="510628"/>
                </a:cubicBezTo>
                <a:cubicBezTo>
                  <a:pt x="164947" y="513105"/>
                  <a:pt x="168198" y="514350"/>
                  <a:pt x="171450" y="514350"/>
                </a:cubicBezTo>
                <a:cubicBezTo>
                  <a:pt x="174701" y="514350"/>
                  <a:pt x="177952" y="513105"/>
                  <a:pt x="180428" y="510628"/>
                </a:cubicBezTo>
                <a:lnTo>
                  <a:pt x="351878" y="339178"/>
                </a:lnTo>
                <a:cubicBezTo>
                  <a:pt x="356844" y="334213"/>
                  <a:pt x="356844" y="326186"/>
                  <a:pt x="351878" y="321221"/>
                </a:cubicBezTo>
                <a:close/>
                <a:moveTo>
                  <a:pt x="377278" y="156121"/>
                </a:moveTo>
                <a:cubicBezTo>
                  <a:pt x="372313" y="151155"/>
                  <a:pt x="364286" y="151155"/>
                  <a:pt x="359321" y="156121"/>
                </a:cubicBezTo>
                <a:lnTo>
                  <a:pt x="342900" y="172542"/>
                </a:lnTo>
                <a:lnTo>
                  <a:pt x="326478" y="156121"/>
                </a:lnTo>
                <a:cubicBezTo>
                  <a:pt x="321513" y="151155"/>
                  <a:pt x="313486" y="151155"/>
                  <a:pt x="308521" y="156121"/>
                </a:cubicBezTo>
                <a:cubicBezTo>
                  <a:pt x="303555" y="161086"/>
                  <a:pt x="303555" y="169113"/>
                  <a:pt x="308521" y="174078"/>
                </a:cubicBezTo>
                <a:lnTo>
                  <a:pt x="324942" y="190500"/>
                </a:lnTo>
                <a:lnTo>
                  <a:pt x="308521" y="206921"/>
                </a:lnTo>
                <a:cubicBezTo>
                  <a:pt x="303555" y="211886"/>
                  <a:pt x="303555" y="219913"/>
                  <a:pt x="308521" y="224878"/>
                </a:cubicBezTo>
                <a:cubicBezTo>
                  <a:pt x="310997" y="227355"/>
                  <a:pt x="314248" y="228600"/>
                  <a:pt x="317500" y="228600"/>
                </a:cubicBezTo>
                <a:cubicBezTo>
                  <a:pt x="320751" y="228600"/>
                  <a:pt x="324002" y="227355"/>
                  <a:pt x="326478" y="224878"/>
                </a:cubicBezTo>
                <a:lnTo>
                  <a:pt x="342900" y="208457"/>
                </a:lnTo>
                <a:lnTo>
                  <a:pt x="359321" y="224878"/>
                </a:lnTo>
                <a:cubicBezTo>
                  <a:pt x="361797" y="227355"/>
                  <a:pt x="365048" y="228600"/>
                  <a:pt x="368300" y="228600"/>
                </a:cubicBezTo>
                <a:cubicBezTo>
                  <a:pt x="371551" y="228600"/>
                  <a:pt x="374802" y="227355"/>
                  <a:pt x="377278" y="224878"/>
                </a:cubicBezTo>
                <a:cubicBezTo>
                  <a:pt x="382244" y="219913"/>
                  <a:pt x="382244" y="211886"/>
                  <a:pt x="377278" y="206921"/>
                </a:cubicBezTo>
                <a:lnTo>
                  <a:pt x="360857" y="190500"/>
                </a:lnTo>
                <a:lnTo>
                  <a:pt x="377278" y="174078"/>
                </a:lnTo>
                <a:cubicBezTo>
                  <a:pt x="382244" y="169113"/>
                  <a:pt x="382244" y="161086"/>
                  <a:pt x="377278" y="156121"/>
                </a:cubicBezTo>
                <a:close/>
                <a:moveTo>
                  <a:pt x="165100" y="330200"/>
                </a:moveTo>
                <a:cubicBezTo>
                  <a:pt x="165100" y="316191"/>
                  <a:pt x="176491" y="304800"/>
                  <a:pt x="190500" y="304800"/>
                </a:cubicBezTo>
                <a:cubicBezTo>
                  <a:pt x="204508" y="304800"/>
                  <a:pt x="215900" y="316191"/>
                  <a:pt x="215900" y="330200"/>
                </a:cubicBezTo>
                <a:cubicBezTo>
                  <a:pt x="215900" y="344208"/>
                  <a:pt x="204508" y="355600"/>
                  <a:pt x="190500" y="355600"/>
                </a:cubicBezTo>
                <a:cubicBezTo>
                  <a:pt x="176491" y="355600"/>
                  <a:pt x="165100" y="344208"/>
                  <a:pt x="165100" y="330200"/>
                </a:cubicBezTo>
                <a:close/>
                <a:moveTo>
                  <a:pt x="190500" y="63500"/>
                </a:moveTo>
                <a:lnTo>
                  <a:pt x="203200" y="63500"/>
                </a:lnTo>
                <a:cubicBezTo>
                  <a:pt x="210223" y="63500"/>
                  <a:pt x="215900" y="57823"/>
                  <a:pt x="215900" y="50800"/>
                </a:cubicBezTo>
                <a:lnTo>
                  <a:pt x="215900" y="25400"/>
                </a:lnTo>
                <a:lnTo>
                  <a:pt x="292100" y="25400"/>
                </a:lnTo>
                <a:lnTo>
                  <a:pt x="292100" y="50800"/>
                </a:lnTo>
                <a:cubicBezTo>
                  <a:pt x="292100" y="57823"/>
                  <a:pt x="297776" y="63500"/>
                  <a:pt x="304800" y="63500"/>
                </a:cubicBezTo>
                <a:lnTo>
                  <a:pt x="317500" y="63500"/>
                </a:lnTo>
                <a:lnTo>
                  <a:pt x="317500" y="88900"/>
                </a:lnTo>
                <a:lnTo>
                  <a:pt x="190500" y="88900"/>
                </a:lnTo>
                <a:close/>
                <a:moveTo>
                  <a:pt x="377278" y="435521"/>
                </a:moveTo>
                <a:cubicBezTo>
                  <a:pt x="372313" y="430555"/>
                  <a:pt x="364286" y="430555"/>
                  <a:pt x="359321" y="435521"/>
                </a:cubicBezTo>
                <a:lnTo>
                  <a:pt x="342900" y="451942"/>
                </a:lnTo>
                <a:lnTo>
                  <a:pt x="326478" y="435521"/>
                </a:lnTo>
                <a:cubicBezTo>
                  <a:pt x="321513" y="430555"/>
                  <a:pt x="313486" y="430555"/>
                  <a:pt x="308521" y="435521"/>
                </a:cubicBezTo>
                <a:cubicBezTo>
                  <a:pt x="303555" y="440486"/>
                  <a:pt x="303555" y="448513"/>
                  <a:pt x="308521" y="453478"/>
                </a:cubicBezTo>
                <a:lnTo>
                  <a:pt x="324942" y="469900"/>
                </a:lnTo>
                <a:lnTo>
                  <a:pt x="308521" y="486321"/>
                </a:lnTo>
                <a:cubicBezTo>
                  <a:pt x="303555" y="491286"/>
                  <a:pt x="303555" y="499313"/>
                  <a:pt x="308521" y="504278"/>
                </a:cubicBezTo>
                <a:cubicBezTo>
                  <a:pt x="310997" y="506755"/>
                  <a:pt x="314248" y="508000"/>
                  <a:pt x="317500" y="508000"/>
                </a:cubicBezTo>
                <a:cubicBezTo>
                  <a:pt x="320751" y="508000"/>
                  <a:pt x="324002" y="506755"/>
                  <a:pt x="326478" y="504278"/>
                </a:cubicBezTo>
                <a:lnTo>
                  <a:pt x="342900" y="487857"/>
                </a:lnTo>
                <a:lnTo>
                  <a:pt x="359321" y="504278"/>
                </a:lnTo>
                <a:cubicBezTo>
                  <a:pt x="361797" y="506755"/>
                  <a:pt x="365048" y="508000"/>
                  <a:pt x="368300" y="508000"/>
                </a:cubicBezTo>
                <a:cubicBezTo>
                  <a:pt x="371551" y="508000"/>
                  <a:pt x="374802" y="506755"/>
                  <a:pt x="377278" y="504278"/>
                </a:cubicBezTo>
                <a:cubicBezTo>
                  <a:pt x="382244" y="499313"/>
                  <a:pt x="382244" y="491286"/>
                  <a:pt x="377278" y="486321"/>
                </a:cubicBezTo>
                <a:lnTo>
                  <a:pt x="360857" y="469900"/>
                </a:lnTo>
                <a:lnTo>
                  <a:pt x="377278" y="453478"/>
                </a:lnTo>
                <a:cubicBezTo>
                  <a:pt x="382244" y="448513"/>
                  <a:pt x="382244" y="440486"/>
                  <a:pt x="377278" y="435521"/>
                </a:cubicBezTo>
                <a:close/>
                <a:moveTo>
                  <a:pt x="254000" y="50800"/>
                </a:moveTo>
                <a:cubicBezTo>
                  <a:pt x="246976" y="50800"/>
                  <a:pt x="241300" y="56476"/>
                  <a:pt x="241300" y="63500"/>
                </a:cubicBezTo>
                <a:cubicBezTo>
                  <a:pt x="241300" y="70523"/>
                  <a:pt x="246976" y="76200"/>
                  <a:pt x="254000" y="76200"/>
                </a:cubicBezTo>
                <a:cubicBezTo>
                  <a:pt x="261023" y="76200"/>
                  <a:pt x="266700" y="70523"/>
                  <a:pt x="266700" y="63500"/>
                </a:cubicBezTo>
                <a:cubicBezTo>
                  <a:pt x="266700" y="56476"/>
                  <a:pt x="261023" y="50800"/>
                  <a:pt x="254000" y="50800"/>
                </a:cubicBezTo>
                <a:close/>
              </a:path>
            </a:pathLst>
          </a:custGeom>
          <a:solidFill>
            <a:schemeClr val="accent3"/>
          </a:solidFill>
          <a:ln w="12700" cap="flat" cmpd="sng">
            <a:noFill/>
            <a:prstDash val="solid"/>
            <a:miter lim="800000"/>
          </a:ln>
        </p:spPr>
        <p:txBody>
          <a:bodyPr anchor="ctr">
            <a:spAutoFit/>
          </a:bodyPr>
          <a:lstStyle/>
          <a:p>
            <a:pPr algn="ctr"/>
            <a:endParaRPr lang="en-GB" sz="1080"/>
          </a:p>
        </p:txBody>
      </p:sp>
      <p:sp>
        <p:nvSpPr>
          <p:cNvPr id="57" name="27.13">
            <a:extLst>
              <a:ext uri="{FF2B5EF4-FFF2-40B4-BE49-F238E27FC236}">
                <a16:creationId xmlns:a16="http://schemas.microsoft.com/office/drawing/2014/main" id="{12F3100A-7993-A786-8C6A-0E24707B4531}"/>
              </a:ext>
            </a:extLst>
          </p:cNvPr>
          <p:cNvSpPr/>
          <p:nvPr/>
        </p:nvSpPr>
        <p:spPr>
          <a:xfrm>
            <a:off x="4720769" y="5079933"/>
            <a:ext cx="547680" cy="549714"/>
          </a:xfrm>
          <a:custGeom>
            <a:avLst/>
            <a:gdLst/>
            <a:ahLst/>
            <a:cxnLst/>
            <a:rect l="0" t="0" r="0" b="0"/>
            <a:pathLst>
              <a:path w="608533" h="610793">
                <a:moveTo>
                  <a:pt x="317500" y="235051"/>
                </a:moveTo>
                <a:lnTo>
                  <a:pt x="364578" y="187972"/>
                </a:lnTo>
                <a:cubicBezTo>
                  <a:pt x="369544" y="183007"/>
                  <a:pt x="369544" y="174967"/>
                  <a:pt x="364578" y="170014"/>
                </a:cubicBezTo>
                <a:cubicBezTo>
                  <a:pt x="359613" y="165049"/>
                  <a:pt x="351586" y="165049"/>
                  <a:pt x="346621" y="170014"/>
                </a:cubicBezTo>
                <a:lnTo>
                  <a:pt x="317500" y="199136"/>
                </a:lnTo>
                <a:lnTo>
                  <a:pt x="317500" y="102793"/>
                </a:lnTo>
                <a:cubicBezTo>
                  <a:pt x="317500" y="95770"/>
                  <a:pt x="311823" y="90093"/>
                  <a:pt x="304800" y="90093"/>
                </a:cubicBezTo>
                <a:cubicBezTo>
                  <a:pt x="297776" y="90093"/>
                  <a:pt x="292100" y="95770"/>
                  <a:pt x="292100" y="102793"/>
                </a:cubicBezTo>
                <a:lnTo>
                  <a:pt x="292100" y="148336"/>
                </a:lnTo>
                <a:lnTo>
                  <a:pt x="275678" y="131914"/>
                </a:lnTo>
                <a:cubicBezTo>
                  <a:pt x="270713" y="126949"/>
                  <a:pt x="262686" y="126949"/>
                  <a:pt x="257721" y="131914"/>
                </a:cubicBezTo>
                <a:cubicBezTo>
                  <a:pt x="252755" y="136867"/>
                  <a:pt x="252755" y="144907"/>
                  <a:pt x="257721" y="149872"/>
                </a:cubicBezTo>
                <a:lnTo>
                  <a:pt x="292100" y="184251"/>
                </a:lnTo>
                <a:lnTo>
                  <a:pt x="292100" y="238747"/>
                </a:lnTo>
                <a:cubicBezTo>
                  <a:pt x="275158" y="218351"/>
                  <a:pt x="253403" y="202107"/>
                  <a:pt x="228600" y="191731"/>
                </a:cubicBezTo>
                <a:lnTo>
                  <a:pt x="228600" y="153670"/>
                </a:lnTo>
                <a:cubicBezTo>
                  <a:pt x="228600" y="132118"/>
                  <a:pt x="236410" y="111340"/>
                  <a:pt x="250596" y="95123"/>
                </a:cubicBezTo>
                <a:lnTo>
                  <a:pt x="304800" y="33172"/>
                </a:lnTo>
                <a:lnTo>
                  <a:pt x="359016" y="95123"/>
                </a:lnTo>
                <a:cubicBezTo>
                  <a:pt x="373189" y="111340"/>
                  <a:pt x="381000" y="132118"/>
                  <a:pt x="381000" y="153670"/>
                </a:cubicBezTo>
                <a:lnTo>
                  <a:pt x="381000" y="229793"/>
                </a:lnTo>
                <a:cubicBezTo>
                  <a:pt x="381000" y="236816"/>
                  <a:pt x="386676" y="242493"/>
                  <a:pt x="393700" y="242493"/>
                </a:cubicBezTo>
                <a:cubicBezTo>
                  <a:pt x="400723" y="242493"/>
                  <a:pt x="406400" y="236816"/>
                  <a:pt x="406400" y="229793"/>
                </a:cubicBezTo>
                <a:lnTo>
                  <a:pt x="406400" y="153670"/>
                </a:lnTo>
                <a:cubicBezTo>
                  <a:pt x="406400" y="125971"/>
                  <a:pt x="396354" y="99237"/>
                  <a:pt x="378117" y="78409"/>
                </a:cubicBezTo>
                <a:lnTo>
                  <a:pt x="314363" y="5537"/>
                </a:lnTo>
                <a:cubicBezTo>
                  <a:pt x="309524" y="0"/>
                  <a:pt x="300075" y="0"/>
                  <a:pt x="295236" y="5537"/>
                </a:cubicBezTo>
                <a:lnTo>
                  <a:pt x="231495" y="78409"/>
                </a:lnTo>
                <a:cubicBezTo>
                  <a:pt x="213245" y="99237"/>
                  <a:pt x="203200" y="125971"/>
                  <a:pt x="203200" y="153670"/>
                </a:cubicBezTo>
                <a:lnTo>
                  <a:pt x="203200" y="183603"/>
                </a:lnTo>
                <a:cubicBezTo>
                  <a:pt x="190944" y="180708"/>
                  <a:pt x="178231" y="178993"/>
                  <a:pt x="165100" y="178993"/>
                </a:cubicBezTo>
                <a:cubicBezTo>
                  <a:pt x="74066" y="178993"/>
                  <a:pt x="0" y="253060"/>
                  <a:pt x="0" y="344093"/>
                </a:cubicBezTo>
                <a:cubicBezTo>
                  <a:pt x="0" y="430834"/>
                  <a:pt x="67297" y="502018"/>
                  <a:pt x="152400" y="508546"/>
                </a:cubicBezTo>
                <a:lnTo>
                  <a:pt x="152400" y="598093"/>
                </a:lnTo>
                <a:cubicBezTo>
                  <a:pt x="152400" y="605116"/>
                  <a:pt x="158076" y="610793"/>
                  <a:pt x="165100" y="610793"/>
                </a:cubicBezTo>
                <a:cubicBezTo>
                  <a:pt x="172123" y="610793"/>
                  <a:pt x="177800" y="605116"/>
                  <a:pt x="177800" y="598093"/>
                </a:cubicBezTo>
                <a:lnTo>
                  <a:pt x="177800" y="508546"/>
                </a:lnTo>
                <a:cubicBezTo>
                  <a:pt x="262902" y="502018"/>
                  <a:pt x="330200" y="430834"/>
                  <a:pt x="330200" y="344093"/>
                </a:cubicBezTo>
                <a:cubicBezTo>
                  <a:pt x="330200" y="321640"/>
                  <a:pt x="325666" y="300240"/>
                  <a:pt x="317500" y="280695"/>
                </a:cubicBezTo>
                <a:close/>
                <a:moveTo>
                  <a:pt x="177800" y="483146"/>
                </a:moveTo>
                <a:lnTo>
                  <a:pt x="177800" y="374751"/>
                </a:lnTo>
                <a:lnTo>
                  <a:pt x="218528" y="334022"/>
                </a:lnTo>
                <a:cubicBezTo>
                  <a:pt x="223494" y="329057"/>
                  <a:pt x="223494" y="321017"/>
                  <a:pt x="218528" y="316064"/>
                </a:cubicBezTo>
                <a:cubicBezTo>
                  <a:pt x="213563" y="311099"/>
                  <a:pt x="205536" y="311099"/>
                  <a:pt x="200571" y="316064"/>
                </a:cubicBezTo>
                <a:lnTo>
                  <a:pt x="177800" y="338836"/>
                </a:lnTo>
                <a:lnTo>
                  <a:pt x="177800" y="293293"/>
                </a:lnTo>
                <a:cubicBezTo>
                  <a:pt x="177800" y="286270"/>
                  <a:pt x="172123" y="280593"/>
                  <a:pt x="165100" y="280593"/>
                </a:cubicBezTo>
                <a:cubicBezTo>
                  <a:pt x="158076" y="280593"/>
                  <a:pt x="152400" y="286270"/>
                  <a:pt x="152400" y="293293"/>
                </a:cubicBezTo>
                <a:lnTo>
                  <a:pt x="152400" y="402335"/>
                </a:lnTo>
                <a:lnTo>
                  <a:pt x="104228" y="354164"/>
                </a:lnTo>
                <a:cubicBezTo>
                  <a:pt x="99263" y="349199"/>
                  <a:pt x="91236" y="349199"/>
                  <a:pt x="86271" y="354164"/>
                </a:cubicBezTo>
                <a:cubicBezTo>
                  <a:pt x="81305" y="359117"/>
                  <a:pt x="81305" y="367157"/>
                  <a:pt x="86271" y="372122"/>
                </a:cubicBezTo>
                <a:lnTo>
                  <a:pt x="152400" y="438251"/>
                </a:lnTo>
                <a:lnTo>
                  <a:pt x="152400" y="483146"/>
                </a:lnTo>
                <a:cubicBezTo>
                  <a:pt x="81305" y="476694"/>
                  <a:pt x="25400" y="416839"/>
                  <a:pt x="25400" y="344093"/>
                </a:cubicBezTo>
                <a:cubicBezTo>
                  <a:pt x="25400" y="267055"/>
                  <a:pt x="88074" y="204393"/>
                  <a:pt x="165100" y="204393"/>
                </a:cubicBezTo>
                <a:cubicBezTo>
                  <a:pt x="242125" y="204393"/>
                  <a:pt x="304800" y="267055"/>
                  <a:pt x="304800" y="344093"/>
                </a:cubicBezTo>
                <a:cubicBezTo>
                  <a:pt x="304800" y="416839"/>
                  <a:pt x="248894" y="476694"/>
                  <a:pt x="177800" y="483146"/>
                </a:cubicBezTo>
                <a:close/>
                <a:moveTo>
                  <a:pt x="602576" y="479450"/>
                </a:moveTo>
                <a:lnTo>
                  <a:pt x="547598" y="369493"/>
                </a:lnTo>
                <a:lnTo>
                  <a:pt x="550951" y="369493"/>
                </a:lnTo>
                <a:cubicBezTo>
                  <a:pt x="559815" y="369493"/>
                  <a:pt x="567893" y="364985"/>
                  <a:pt x="572554" y="357454"/>
                </a:cubicBezTo>
                <a:cubicBezTo>
                  <a:pt x="577214" y="349910"/>
                  <a:pt x="577634" y="340664"/>
                  <a:pt x="573671" y="332727"/>
                </a:cubicBezTo>
                <a:lnTo>
                  <a:pt x="481266" y="147916"/>
                </a:lnTo>
                <a:cubicBezTo>
                  <a:pt x="476948" y="139306"/>
                  <a:pt x="462851" y="139306"/>
                  <a:pt x="458533" y="147916"/>
                </a:cubicBezTo>
                <a:lnTo>
                  <a:pt x="366128" y="332739"/>
                </a:lnTo>
                <a:cubicBezTo>
                  <a:pt x="362165" y="340664"/>
                  <a:pt x="362585" y="349910"/>
                  <a:pt x="367245" y="357454"/>
                </a:cubicBezTo>
                <a:cubicBezTo>
                  <a:pt x="371906" y="364985"/>
                  <a:pt x="379983" y="369493"/>
                  <a:pt x="388848" y="369493"/>
                </a:cubicBezTo>
                <a:lnTo>
                  <a:pt x="392201" y="369493"/>
                </a:lnTo>
                <a:lnTo>
                  <a:pt x="337223" y="479450"/>
                </a:lnTo>
                <a:cubicBezTo>
                  <a:pt x="331266" y="491350"/>
                  <a:pt x="331901" y="505206"/>
                  <a:pt x="338886" y="516521"/>
                </a:cubicBezTo>
                <a:cubicBezTo>
                  <a:pt x="345871" y="527837"/>
                  <a:pt x="357987" y="534593"/>
                  <a:pt x="371297" y="534593"/>
                </a:cubicBezTo>
                <a:lnTo>
                  <a:pt x="457200" y="534593"/>
                </a:lnTo>
                <a:lnTo>
                  <a:pt x="457200" y="598093"/>
                </a:lnTo>
                <a:cubicBezTo>
                  <a:pt x="457200" y="605116"/>
                  <a:pt x="462876" y="610793"/>
                  <a:pt x="469900" y="610793"/>
                </a:cubicBezTo>
                <a:cubicBezTo>
                  <a:pt x="476923" y="610793"/>
                  <a:pt x="482600" y="605116"/>
                  <a:pt x="482600" y="598093"/>
                </a:cubicBezTo>
                <a:lnTo>
                  <a:pt x="482600" y="534593"/>
                </a:lnTo>
                <a:lnTo>
                  <a:pt x="568502" y="534593"/>
                </a:lnTo>
                <a:cubicBezTo>
                  <a:pt x="581812" y="534593"/>
                  <a:pt x="593928" y="527837"/>
                  <a:pt x="600913" y="516521"/>
                </a:cubicBezTo>
                <a:cubicBezTo>
                  <a:pt x="607898" y="505206"/>
                  <a:pt x="608533" y="491350"/>
                  <a:pt x="602576" y="479450"/>
                </a:cubicBezTo>
                <a:close/>
                <a:moveTo>
                  <a:pt x="579297" y="503161"/>
                </a:moveTo>
                <a:cubicBezTo>
                  <a:pt x="578180" y="504977"/>
                  <a:pt x="574903" y="509193"/>
                  <a:pt x="568502" y="509193"/>
                </a:cubicBezTo>
                <a:lnTo>
                  <a:pt x="482600" y="509193"/>
                </a:lnTo>
                <a:lnTo>
                  <a:pt x="482600" y="322541"/>
                </a:lnTo>
                <a:lnTo>
                  <a:pt x="484733" y="325729"/>
                </a:lnTo>
                <a:cubicBezTo>
                  <a:pt x="487172" y="329412"/>
                  <a:pt x="491210" y="331393"/>
                  <a:pt x="495312" y="331393"/>
                </a:cubicBezTo>
                <a:cubicBezTo>
                  <a:pt x="497725" y="331393"/>
                  <a:pt x="500176" y="330695"/>
                  <a:pt x="502348" y="329260"/>
                </a:cubicBezTo>
                <a:cubicBezTo>
                  <a:pt x="508190" y="325361"/>
                  <a:pt x="509765" y="317487"/>
                  <a:pt x="505866" y="311645"/>
                </a:cubicBezTo>
                <a:lnTo>
                  <a:pt x="482600" y="276745"/>
                </a:lnTo>
                <a:lnTo>
                  <a:pt x="482600" y="242493"/>
                </a:lnTo>
                <a:cubicBezTo>
                  <a:pt x="482600" y="235470"/>
                  <a:pt x="476923" y="229793"/>
                  <a:pt x="469900" y="229793"/>
                </a:cubicBezTo>
                <a:cubicBezTo>
                  <a:pt x="462876" y="229793"/>
                  <a:pt x="457200" y="235470"/>
                  <a:pt x="457200" y="242493"/>
                </a:cubicBezTo>
                <a:lnTo>
                  <a:pt x="457200" y="391883"/>
                </a:lnTo>
                <a:lnTo>
                  <a:pt x="420433" y="465416"/>
                </a:lnTo>
                <a:cubicBezTo>
                  <a:pt x="417296" y="471690"/>
                  <a:pt x="419849" y="479310"/>
                  <a:pt x="426123" y="482447"/>
                </a:cubicBezTo>
                <a:cubicBezTo>
                  <a:pt x="427939" y="483362"/>
                  <a:pt x="429882" y="483793"/>
                  <a:pt x="431787" y="483793"/>
                </a:cubicBezTo>
                <a:cubicBezTo>
                  <a:pt x="436448" y="483793"/>
                  <a:pt x="440931" y="481228"/>
                  <a:pt x="443166" y="476770"/>
                </a:cubicBezTo>
                <a:lnTo>
                  <a:pt x="457200" y="448691"/>
                </a:lnTo>
                <a:lnTo>
                  <a:pt x="457200" y="509193"/>
                </a:lnTo>
                <a:lnTo>
                  <a:pt x="371297" y="509193"/>
                </a:lnTo>
                <a:cubicBezTo>
                  <a:pt x="364896" y="509193"/>
                  <a:pt x="361619" y="504977"/>
                  <a:pt x="360502" y="503161"/>
                </a:cubicBezTo>
                <a:cubicBezTo>
                  <a:pt x="359371" y="501357"/>
                  <a:pt x="357073" y="496531"/>
                  <a:pt x="359943" y="490816"/>
                </a:cubicBezTo>
                <a:lnTo>
                  <a:pt x="424116" y="362470"/>
                </a:lnTo>
                <a:cubicBezTo>
                  <a:pt x="426085" y="358533"/>
                  <a:pt x="425869" y="353860"/>
                  <a:pt x="423557" y="350113"/>
                </a:cubicBezTo>
                <a:cubicBezTo>
                  <a:pt x="421233" y="346367"/>
                  <a:pt x="417156" y="344093"/>
                  <a:pt x="412750" y="344093"/>
                </a:cubicBezTo>
                <a:lnTo>
                  <a:pt x="388848" y="344093"/>
                </a:lnTo>
                <a:lnTo>
                  <a:pt x="469900" y="181990"/>
                </a:lnTo>
                <a:lnTo>
                  <a:pt x="550951" y="344093"/>
                </a:lnTo>
                <a:lnTo>
                  <a:pt x="527050" y="344093"/>
                </a:lnTo>
                <a:cubicBezTo>
                  <a:pt x="522643" y="344093"/>
                  <a:pt x="518566" y="346367"/>
                  <a:pt x="516242" y="350113"/>
                </a:cubicBezTo>
                <a:cubicBezTo>
                  <a:pt x="513930" y="353860"/>
                  <a:pt x="513714" y="358533"/>
                  <a:pt x="515683" y="362470"/>
                </a:cubicBezTo>
                <a:lnTo>
                  <a:pt x="579856" y="490816"/>
                </a:lnTo>
                <a:cubicBezTo>
                  <a:pt x="582726" y="496531"/>
                  <a:pt x="580428" y="501357"/>
                  <a:pt x="579297" y="503161"/>
                </a:cubicBezTo>
                <a:close/>
              </a:path>
            </a:pathLst>
          </a:custGeom>
          <a:solidFill>
            <a:schemeClr val="accent3"/>
          </a:solidFill>
          <a:ln w="12700" cap="flat" cmpd="sng">
            <a:noFill/>
            <a:prstDash val="solid"/>
            <a:miter lim="800000"/>
          </a:ln>
        </p:spPr>
        <p:txBody>
          <a:bodyPr anchor="ctr">
            <a:spAutoFit/>
          </a:bodyPr>
          <a:lstStyle/>
          <a:p>
            <a:pPr algn="ctr"/>
            <a:endParaRPr lang="en-GB" sz="1080"/>
          </a:p>
        </p:txBody>
      </p:sp>
      <p:pic>
        <p:nvPicPr>
          <p:cNvPr id="59" name="Graphic 58" descr="Warning outline">
            <a:extLst>
              <a:ext uri="{FF2B5EF4-FFF2-40B4-BE49-F238E27FC236}">
                <a16:creationId xmlns:a16="http://schemas.microsoft.com/office/drawing/2014/main" id="{3397C419-7D2A-F1B9-5788-A6F5CA4F07E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62967" y="5079933"/>
            <a:ext cx="570708" cy="570708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C168FAC2-B7B7-31E3-F1F3-1CAA994B0848}"/>
              </a:ext>
            </a:extLst>
          </p:cNvPr>
          <p:cNvSpPr txBox="1"/>
          <p:nvPr/>
        </p:nvSpPr>
        <p:spPr>
          <a:xfrm>
            <a:off x="1091052" y="5079933"/>
            <a:ext cx="135673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>
                <a:solidFill>
                  <a:srgbClr val="000000"/>
                </a:solidFill>
              </a:rPr>
              <a:t>Strategies</a:t>
            </a:r>
            <a:r>
              <a:rPr lang="en-GB" sz="1400">
                <a:solidFill>
                  <a:srgbClr val="000000"/>
                </a:solidFill>
              </a:rPr>
              <a:t>, goals, and sources of current insigh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EE2681-AEBC-16E0-DB85-D8A96BE68D87}"/>
              </a:ext>
            </a:extLst>
          </p:cNvPr>
          <p:cNvSpPr txBox="1"/>
          <p:nvPr/>
        </p:nvSpPr>
        <p:spPr>
          <a:xfrm>
            <a:off x="3248854" y="5079933"/>
            <a:ext cx="135673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>
                <a:solidFill>
                  <a:srgbClr val="000000"/>
                </a:solidFill>
              </a:rPr>
              <a:t>Climate-health risks </a:t>
            </a:r>
            <a:r>
              <a:rPr lang="en-GB" sz="1400">
                <a:solidFill>
                  <a:srgbClr val="000000"/>
                </a:solidFill>
              </a:rPr>
              <a:t>i.e.,  hazards and key condi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43C4A1D-3E88-DE45-23CE-C7E230A45CC4}"/>
              </a:ext>
            </a:extLst>
          </p:cNvPr>
          <p:cNvSpPr txBox="1"/>
          <p:nvPr/>
        </p:nvSpPr>
        <p:spPr>
          <a:xfrm>
            <a:off x="5383629" y="5079933"/>
            <a:ext cx="135673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>
                <a:solidFill>
                  <a:srgbClr val="000000"/>
                </a:solidFill>
              </a:rPr>
              <a:t>Interventions of interest </a:t>
            </a:r>
            <a:r>
              <a:rPr lang="en-GB" sz="1400">
                <a:solidFill>
                  <a:srgbClr val="000000"/>
                </a:solidFill>
              </a:rPr>
              <a:t>and progress on thes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592A920-3CB2-2761-3890-5DD09E85C981}"/>
              </a:ext>
            </a:extLst>
          </p:cNvPr>
          <p:cNvSpPr/>
          <p:nvPr/>
        </p:nvSpPr>
        <p:spPr>
          <a:xfrm>
            <a:off x="454077" y="6211389"/>
            <a:ext cx="11183936" cy="4443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Building on this experience, we are generalising these tools to apply to all three city archetypes in 2026 </a:t>
            </a:r>
          </a:p>
        </p:txBody>
      </p:sp>
    </p:spTree>
    <p:extLst>
      <p:ext uri="{BB962C8B-B14F-4D97-AF65-F5344CB8AC3E}">
        <p14:creationId xmlns:p14="http://schemas.microsoft.com/office/powerpoint/2010/main" val="1720429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584AC-8AEE-19E0-377F-2D15B87FB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F61508B-3655-DEF9-A6F3-1B6D0333066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675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1508B-3655-DEF9-A6F3-1B6D03330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FEAC28-64CA-56A4-76A8-493051B5C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543458"/>
            <a:ext cx="11183936" cy="818718"/>
          </a:xfrm>
        </p:spPr>
        <p:txBody>
          <a:bodyPr vert="horz"/>
          <a:lstStyle/>
          <a:p>
            <a:r>
              <a:rPr lang="en-GB"/>
              <a:t>After a pilot phase of building city-specific tools, we are now designing widely usable decision-support tools</a:t>
            </a:r>
            <a:endParaRPr lang="en-GB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235CA2-14FC-E555-BA2A-96436A9410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" y="7147793"/>
            <a:ext cx="45719" cy="0"/>
          </a:xfrm>
        </p:spPr>
        <p:txBody>
          <a:bodyPr/>
          <a:lstStyle/>
          <a:p>
            <a:fld id="{5DF71D11-4670-4A62-B017-AFAD289DC00E}" type="datetime6">
              <a:rPr lang="en-GB" noProof="0" smtClean="0"/>
              <a:pPr/>
              <a:t>March 26</a:t>
            </a:fld>
            <a:endParaRPr lang="en-GB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C195BF-B345-B023-A1BC-1FD6F7C9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noProof="0" smtClean="0"/>
              <a:pPr/>
              <a:t>5</a:t>
            </a:fld>
            <a:endParaRPr lang="en-GB" noProof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7CA02F-4C3E-D629-6AAF-09EB09260E72}"/>
              </a:ext>
            </a:extLst>
          </p:cNvPr>
          <p:cNvSpPr/>
          <p:nvPr/>
        </p:nvSpPr>
        <p:spPr>
          <a:xfrm>
            <a:off x="1821258" y="2078804"/>
            <a:ext cx="3139362" cy="34502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FB192F-BD85-A23B-6B6E-BA9D3213C9AB}"/>
              </a:ext>
            </a:extLst>
          </p:cNvPr>
          <p:cNvSpPr txBox="1"/>
          <p:nvPr/>
        </p:nvSpPr>
        <p:spPr>
          <a:xfrm>
            <a:off x="613429" y="2887234"/>
            <a:ext cx="11106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Objectiv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3E20753-7A24-2521-4BFA-2C69AA6793BC}"/>
              </a:ext>
            </a:extLst>
          </p:cNvPr>
          <p:cNvSpPr txBox="1"/>
          <p:nvPr/>
        </p:nvSpPr>
        <p:spPr>
          <a:xfrm>
            <a:off x="613429" y="3851744"/>
            <a:ext cx="11106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Deliverab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72C966F-1CFD-0954-FF5D-A94029F20207}"/>
              </a:ext>
            </a:extLst>
          </p:cNvPr>
          <p:cNvSpPr txBox="1"/>
          <p:nvPr/>
        </p:nvSpPr>
        <p:spPr>
          <a:xfrm>
            <a:off x="2046296" y="2332369"/>
            <a:ext cx="21015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1: Case for A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4563E62-B4C8-4A6D-82E6-5F87B1C7E9FE}"/>
              </a:ext>
            </a:extLst>
          </p:cNvPr>
          <p:cNvSpPr txBox="1"/>
          <p:nvPr/>
        </p:nvSpPr>
        <p:spPr>
          <a:xfrm>
            <a:off x="1985555" y="2887234"/>
            <a:ext cx="279529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‘Make the case’ for preventative healthcare approaches in citi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DC2DFD3-0E99-C551-3FCB-74965038C230}"/>
              </a:ext>
            </a:extLst>
          </p:cNvPr>
          <p:cNvSpPr txBox="1"/>
          <p:nvPr/>
        </p:nvSpPr>
        <p:spPr>
          <a:xfrm>
            <a:off x="1985555" y="3851744"/>
            <a:ext cx="27952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>
                    <a:lumMod val="50000"/>
                    <a:lumOff val="50000"/>
                  </a:schemeClr>
                </a:solidFill>
              </a:rPr>
              <a:t>The Case for Action Repor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sz="14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A4E4999-4EA3-91E5-F753-C2611B77BA9D}"/>
              </a:ext>
            </a:extLst>
          </p:cNvPr>
          <p:cNvSpPr/>
          <p:nvPr/>
        </p:nvSpPr>
        <p:spPr>
          <a:xfrm>
            <a:off x="5065475" y="2078804"/>
            <a:ext cx="3139362" cy="34502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844E7BA-CD54-4ED4-3E60-6871AF5215DE}"/>
              </a:ext>
            </a:extLst>
          </p:cNvPr>
          <p:cNvSpPr txBox="1"/>
          <p:nvPr/>
        </p:nvSpPr>
        <p:spPr>
          <a:xfrm>
            <a:off x="5290513" y="2332369"/>
            <a:ext cx="22399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2: City-specific tool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0FFCE4A-A127-4369-9664-F1CC7F8579E2}"/>
              </a:ext>
            </a:extLst>
          </p:cNvPr>
          <p:cNvSpPr txBox="1"/>
          <p:nvPr/>
        </p:nvSpPr>
        <p:spPr>
          <a:xfrm>
            <a:off x="5229772" y="2887234"/>
            <a:ext cx="279529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Co-create highly-practical tools &amp; resources and embed in city-level decision mak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CEC93C7-80C9-4927-8241-F0CF6EBE6BD5}"/>
              </a:ext>
            </a:extLst>
          </p:cNvPr>
          <p:cNvSpPr txBox="1"/>
          <p:nvPr/>
        </p:nvSpPr>
        <p:spPr>
          <a:xfrm>
            <a:off x="5229772" y="3851744"/>
            <a:ext cx="2795295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A strategic appraisal tool 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focusing on the health impacts of interven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A playbook 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on the process for formulating, financing and implementing health-related adaptation</a:t>
            </a:r>
            <a:r>
              <a:rPr lang="en-GB" sz="1400">
                <a:solidFill>
                  <a:schemeClr val="tx1">
                    <a:lumMod val="50000"/>
                    <a:lumOff val="50000"/>
                  </a:schemeClr>
                </a:solidFill>
              </a:rPr>
              <a:t> project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B35003-FF71-32A1-F743-DAD3C2BF1837}"/>
              </a:ext>
            </a:extLst>
          </p:cNvPr>
          <p:cNvSpPr/>
          <p:nvPr/>
        </p:nvSpPr>
        <p:spPr>
          <a:xfrm>
            <a:off x="8309692" y="2078804"/>
            <a:ext cx="3139362" cy="3450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8AD3CC1-EE3E-517F-6428-99EBC5595A67}"/>
              </a:ext>
            </a:extLst>
          </p:cNvPr>
          <p:cNvSpPr txBox="1"/>
          <p:nvPr/>
        </p:nvSpPr>
        <p:spPr>
          <a:xfrm>
            <a:off x="8534729" y="2332369"/>
            <a:ext cx="26095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3: Generalised tool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C6CD5CD-3C06-59CD-76FF-D1D539457FA6}"/>
              </a:ext>
            </a:extLst>
          </p:cNvPr>
          <p:cNvSpPr txBox="1"/>
          <p:nvPr/>
        </p:nvSpPr>
        <p:spPr>
          <a:xfrm>
            <a:off x="8473989" y="3851744"/>
            <a:ext cx="2795295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/>
              <a:t>A </a:t>
            </a:r>
            <a:r>
              <a:rPr lang="en-US" sz="1400" b="1" dirty="0" err="1"/>
              <a:t>generalised</a:t>
            </a:r>
            <a:r>
              <a:rPr lang="en-US" sz="1400" b="1" dirty="0"/>
              <a:t> appraisal tool </a:t>
            </a:r>
            <a:r>
              <a:rPr lang="en-US" sz="1400" dirty="0"/>
              <a:t>and </a:t>
            </a:r>
            <a:r>
              <a:rPr lang="en-US" sz="1400" b="1" dirty="0"/>
              <a:t>implementation playbook </a:t>
            </a:r>
            <a:r>
              <a:rPr lang="en-US" sz="1400" dirty="0"/>
              <a:t>aimed at all the cities in the Community of Practice</a:t>
            </a:r>
            <a:endParaRPr lang="en-GB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CADB5FA-D7FD-3392-0E8B-44603A2FB14E}"/>
              </a:ext>
            </a:extLst>
          </p:cNvPr>
          <p:cNvCxnSpPr>
            <a:cxnSpLocks/>
          </p:cNvCxnSpPr>
          <p:nvPr/>
        </p:nvCxnSpPr>
        <p:spPr>
          <a:xfrm>
            <a:off x="613429" y="2807335"/>
            <a:ext cx="108356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2A2F31-71A8-A21F-E98B-7C5AF4922DD1}"/>
              </a:ext>
            </a:extLst>
          </p:cNvPr>
          <p:cNvCxnSpPr>
            <a:cxnSpLocks/>
          </p:cNvCxnSpPr>
          <p:nvPr/>
        </p:nvCxnSpPr>
        <p:spPr>
          <a:xfrm>
            <a:off x="613429" y="3702808"/>
            <a:ext cx="108356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1.27">
            <a:extLst>
              <a:ext uri="{FF2B5EF4-FFF2-40B4-BE49-F238E27FC236}">
                <a16:creationId xmlns:a16="http://schemas.microsoft.com/office/drawing/2014/main" id="{245FAD5E-C2EE-EB7F-62F9-E68E1F56C485}"/>
              </a:ext>
            </a:extLst>
          </p:cNvPr>
          <p:cNvSpPr/>
          <p:nvPr/>
        </p:nvSpPr>
        <p:spPr>
          <a:xfrm>
            <a:off x="7661258" y="2231722"/>
            <a:ext cx="386118" cy="353942"/>
          </a:xfrm>
          <a:custGeom>
            <a:avLst/>
            <a:gdLst/>
            <a:ahLst/>
            <a:cxnLst/>
            <a:rect l="0" t="0" r="0" b="0"/>
            <a:pathLst>
              <a:path w="609600" h="558800">
                <a:moveTo>
                  <a:pt x="571500" y="177800"/>
                </a:moveTo>
                <a:cubicBezTo>
                  <a:pt x="592505" y="177800"/>
                  <a:pt x="609600" y="160705"/>
                  <a:pt x="609600" y="139700"/>
                </a:cubicBezTo>
                <a:cubicBezTo>
                  <a:pt x="609600" y="123164"/>
                  <a:pt x="598944" y="109207"/>
                  <a:pt x="584200" y="103936"/>
                </a:cubicBezTo>
                <a:lnTo>
                  <a:pt x="584200" y="12700"/>
                </a:lnTo>
                <a:cubicBezTo>
                  <a:pt x="584200" y="5676"/>
                  <a:pt x="578523" y="0"/>
                  <a:pt x="571500" y="0"/>
                </a:cubicBezTo>
                <a:lnTo>
                  <a:pt x="38100" y="0"/>
                </a:lnTo>
                <a:cubicBezTo>
                  <a:pt x="31076" y="0"/>
                  <a:pt x="25400" y="5676"/>
                  <a:pt x="25400" y="12700"/>
                </a:cubicBezTo>
                <a:lnTo>
                  <a:pt x="25400" y="393700"/>
                </a:lnTo>
                <a:cubicBezTo>
                  <a:pt x="25400" y="400723"/>
                  <a:pt x="31076" y="406400"/>
                  <a:pt x="38100" y="406400"/>
                </a:cubicBezTo>
                <a:cubicBezTo>
                  <a:pt x="45123" y="406400"/>
                  <a:pt x="50800" y="400723"/>
                  <a:pt x="50800" y="393700"/>
                </a:cubicBezTo>
                <a:lnTo>
                  <a:pt x="50800" y="76200"/>
                </a:lnTo>
                <a:lnTo>
                  <a:pt x="558800" y="76200"/>
                </a:lnTo>
                <a:lnTo>
                  <a:pt x="558800" y="103936"/>
                </a:lnTo>
                <a:cubicBezTo>
                  <a:pt x="544055" y="109207"/>
                  <a:pt x="533400" y="123164"/>
                  <a:pt x="533400" y="139700"/>
                </a:cubicBezTo>
                <a:cubicBezTo>
                  <a:pt x="533400" y="145567"/>
                  <a:pt x="534835" y="151066"/>
                  <a:pt x="537222" y="156019"/>
                </a:cubicBezTo>
                <a:lnTo>
                  <a:pt x="384619" y="308622"/>
                </a:lnTo>
                <a:cubicBezTo>
                  <a:pt x="379666" y="306235"/>
                  <a:pt x="374167" y="304800"/>
                  <a:pt x="368300" y="304800"/>
                </a:cubicBezTo>
                <a:cubicBezTo>
                  <a:pt x="362432" y="304800"/>
                  <a:pt x="356933" y="306235"/>
                  <a:pt x="351980" y="308622"/>
                </a:cubicBezTo>
                <a:lnTo>
                  <a:pt x="300977" y="257619"/>
                </a:lnTo>
                <a:cubicBezTo>
                  <a:pt x="303364" y="252666"/>
                  <a:pt x="304800" y="247167"/>
                  <a:pt x="304800" y="241300"/>
                </a:cubicBezTo>
                <a:cubicBezTo>
                  <a:pt x="304800" y="220294"/>
                  <a:pt x="287705" y="203200"/>
                  <a:pt x="266700" y="203200"/>
                </a:cubicBezTo>
                <a:cubicBezTo>
                  <a:pt x="245694" y="203200"/>
                  <a:pt x="228600" y="220294"/>
                  <a:pt x="228600" y="241300"/>
                </a:cubicBezTo>
                <a:cubicBezTo>
                  <a:pt x="228600" y="247167"/>
                  <a:pt x="230035" y="252666"/>
                  <a:pt x="232422" y="257619"/>
                </a:cubicBezTo>
                <a:lnTo>
                  <a:pt x="54419" y="435622"/>
                </a:lnTo>
                <a:cubicBezTo>
                  <a:pt x="49466" y="433235"/>
                  <a:pt x="43967" y="431800"/>
                  <a:pt x="38100" y="431800"/>
                </a:cubicBezTo>
                <a:cubicBezTo>
                  <a:pt x="17094" y="431800"/>
                  <a:pt x="0" y="448894"/>
                  <a:pt x="0" y="469900"/>
                </a:cubicBezTo>
                <a:cubicBezTo>
                  <a:pt x="0" y="486435"/>
                  <a:pt x="10655" y="500392"/>
                  <a:pt x="25400" y="505650"/>
                </a:cubicBezTo>
                <a:lnTo>
                  <a:pt x="25400" y="546100"/>
                </a:lnTo>
                <a:cubicBezTo>
                  <a:pt x="25400" y="553123"/>
                  <a:pt x="31076" y="558800"/>
                  <a:pt x="38100" y="558800"/>
                </a:cubicBezTo>
                <a:lnTo>
                  <a:pt x="571500" y="558800"/>
                </a:lnTo>
                <a:cubicBezTo>
                  <a:pt x="578523" y="558800"/>
                  <a:pt x="584200" y="553123"/>
                  <a:pt x="584200" y="546100"/>
                </a:cubicBezTo>
                <a:lnTo>
                  <a:pt x="584200" y="215900"/>
                </a:lnTo>
                <a:cubicBezTo>
                  <a:pt x="584200" y="208876"/>
                  <a:pt x="578523" y="203200"/>
                  <a:pt x="571500" y="203200"/>
                </a:cubicBezTo>
                <a:cubicBezTo>
                  <a:pt x="564476" y="203200"/>
                  <a:pt x="558800" y="208876"/>
                  <a:pt x="558800" y="215900"/>
                </a:cubicBezTo>
                <a:lnTo>
                  <a:pt x="558800" y="533400"/>
                </a:lnTo>
                <a:lnTo>
                  <a:pt x="50800" y="533400"/>
                </a:lnTo>
                <a:lnTo>
                  <a:pt x="50800" y="505663"/>
                </a:lnTo>
                <a:cubicBezTo>
                  <a:pt x="65544" y="500392"/>
                  <a:pt x="76200" y="486435"/>
                  <a:pt x="76200" y="469900"/>
                </a:cubicBezTo>
                <a:cubicBezTo>
                  <a:pt x="76200" y="464032"/>
                  <a:pt x="74764" y="458533"/>
                  <a:pt x="72377" y="453580"/>
                </a:cubicBezTo>
                <a:lnTo>
                  <a:pt x="250380" y="275577"/>
                </a:lnTo>
                <a:cubicBezTo>
                  <a:pt x="255333" y="277964"/>
                  <a:pt x="260832" y="279400"/>
                  <a:pt x="266700" y="279400"/>
                </a:cubicBezTo>
                <a:cubicBezTo>
                  <a:pt x="272567" y="279400"/>
                  <a:pt x="278066" y="277964"/>
                  <a:pt x="283019" y="275577"/>
                </a:cubicBezTo>
                <a:lnTo>
                  <a:pt x="334022" y="326580"/>
                </a:lnTo>
                <a:cubicBezTo>
                  <a:pt x="331635" y="331533"/>
                  <a:pt x="330200" y="337032"/>
                  <a:pt x="330200" y="342900"/>
                </a:cubicBezTo>
                <a:cubicBezTo>
                  <a:pt x="330200" y="363905"/>
                  <a:pt x="347294" y="381000"/>
                  <a:pt x="368300" y="381000"/>
                </a:cubicBezTo>
                <a:cubicBezTo>
                  <a:pt x="389305" y="381000"/>
                  <a:pt x="406400" y="363905"/>
                  <a:pt x="406400" y="342900"/>
                </a:cubicBezTo>
                <a:cubicBezTo>
                  <a:pt x="406400" y="337032"/>
                  <a:pt x="404964" y="331533"/>
                  <a:pt x="402577" y="326580"/>
                </a:cubicBezTo>
                <a:lnTo>
                  <a:pt x="555180" y="173977"/>
                </a:lnTo>
                <a:cubicBezTo>
                  <a:pt x="560133" y="176364"/>
                  <a:pt x="565632" y="177800"/>
                  <a:pt x="571500" y="177800"/>
                </a:cubicBezTo>
                <a:close/>
                <a:moveTo>
                  <a:pt x="469900" y="317500"/>
                </a:moveTo>
                <a:cubicBezTo>
                  <a:pt x="469900" y="324523"/>
                  <a:pt x="475576" y="330200"/>
                  <a:pt x="482600" y="330200"/>
                </a:cubicBezTo>
                <a:cubicBezTo>
                  <a:pt x="489623" y="330200"/>
                  <a:pt x="495300" y="324523"/>
                  <a:pt x="495300" y="317500"/>
                </a:cubicBezTo>
                <a:cubicBezTo>
                  <a:pt x="495300" y="310476"/>
                  <a:pt x="489623" y="304800"/>
                  <a:pt x="482600" y="304800"/>
                </a:cubicBezTo>
                <a:cubicBezTo>
                  <a:pt x="475576" y="304800"/>
                  <a:pt x="469900" y="310476"/>
                  <a:pt x="469900" y="317500"/>
                </a:cubicBezTo>
                <a:close/>
                <a:moveTo>
                  <a:pt x="431800" y="355600"/>
                </a:moveTo>
                <a:cubicBezTo>
                  <a:pt x="431800" y="362623"/>
                  <a:pt x="437476" y="368300"/>
                  <a:pt x="444500" y="368300"/>
                </a:cubicBezTo>
                <a:cubicBezTo>
                  <a:pt x="451523" y="368300"/>
                  <a:pt x="457200" y="362623"/>
                  <a:pt x="457200" y="355600"/>
                </a:cubicBezTo>
                <a:cubicBezTo>
                  <a:pt x="457200" y="348576"/>
                  <a:pt x="451523" y="342900"/>
                  <a:pt x="444500" y="342900"/>
                </a:cubicBezTo>
                <a:cubicBezTo>
                  <a:pt x="437476" y="342900"/>
                  <a:pt x="431800" y="348576"/>
                  <a:pt x="431800" y="355600"/>
                </a:cubicBezTo>
                <a:close/>
                <a:moveTo>
                  <a:pt x="393700" y="393700"/>
                </a:moveTo>
                <a:cubicBezTo>
                  <a:pt x="393700" y="400723"/>
                  <a:pt x="399376" y="406400"/>
                  <a:pt x="406400" y="406400"/>
                </a:cubicBezTo>
                <a:cubicBezTo>
                  <a:pt x="413423" y="406400"/>
                  <a:pt x="419100" y="400723"/>
                  <a:pt x="419100" y="393700"/>
                </a:cubicBezTo>
                <a:cubicBezTo>
                  <a:pt x="419100" y="386676"/>
                  <a:pt x="413423" y="381000"/>
                  <a:pt x="406400" y="381000"/>
                </a:cubicBezTo>
                <a:cubicBezTo>
                  <a:pt x="399376" y="381000"/>
                  <a:pt x="393700" y="386676"/>
                  <a:pt x="393700" y="393700"/>
                </a:cubicBezTo>
                <a:close/>
                <a:moveTo>
                  <a:pt x="241300" y="317500"/>
                </a:moveTo>
                <a:cubicBezTo>
                  <a:pt x="241300" y="324523"/>
                  <a:pt x="246976" y="330200"/>
                  <a:pt x="254000" y="330200"/>
                </a:cubicBezTo>
                <a:cubicBezTo>
                  <a:pt x="261023" y="330200"/>
                  <a:pt x="266700" y="324523"/>
                  <a:pt x="266700" y="317500"/>
                </a:cubicBezTo>
                <a:cubicBezTo>
                  <a:pt x="266700" y="310476"/>
                  <a:pt x="261023" y="304800"/>
                  <a:pt x="254000" y="304800"/>
                </a:cubicBezTo>
                <a:cubicBezTo>
                  <a:pt x="246976" y="304800"/>
                  <a:pt x="241300" y="310476"/>
                  <a:pt x="241300" y="317500"/>
                </a:cubicBezTo>
                <a:close/>
                <a:moveTo>
                  <a:pt x="88900" y="469900"/>
                </a:moveTo>
                <a:cubicBezTo>
                  <a:pt x="88900" y="476923"/>
                  <a:pt x="94576" y="482600"/>
                  <a:pt x="101600" y="482600"/>
                </a:cubicBezTo>
                <a:cubicBezTo>
                  <a:pt x="108623" y="482600"/>
                  <a:pt x="114300" y="476923"/>
                  <a:pt x="114300" y="469900"/>
                </a:cubicBezTo>
                <a:cubicBezTo>
                  <a:pt x="114300" y="462876"/>
                  <a:pt x="108623" y="457200"/>
                  <a:pt x="101600" y="457200"/>
                </a:cubicBezTo>
                <a:cubicBezTo>
                  <a:pt x="94576" y="457200"/>
                  <a:pt x="88900" y="462876"/>
                  <a:pt x="88900" y="469900"/>
                </a:cubicBezTo>
                <a:close/>
                <a:moveTo>
                  <a:pt x="127000" y="431800"/>
                </a:moveTo>
                <a:cubicBezTo>
                  <a:pt x="127000" y="438823"/>
                  <a:pt x="132676" y="444500"/>
                  <a:pt x="139700" y="444500"/>
                </a:cubicBezTo>
                <a:cubicBezTo>
                  <a:pt x="146723" y="444500"/>
                  <a:pt x="152400" y="438823"/>
                  <a:pt x="152400" y="431800"/>
                </a:cubicBezTo>
                <a:cubicBezTo>
                  <a:pt x="152400" y="424776"/>
                  <a:pt x="146723" y="419100"/>
                  <a:pt x="139700" y="419100"/>
                </a:cubicBezTo>
                <a:cubicBezTo>
                  <a:pt x="132676" y="419100"/>
                  <a:pt x="127000" y="424776"/>
                  <a:pt x="127000" y="431800"/>
                </a:cubicBezTo>
                <a:close/>
                <a:moveTo>
                  <a:pt x="165100" y="393700"/>
                </a:moveTo>
                <a:cubicBezTo>
                  <a:pt x="165100" y="400723"/>
                  <a:pt x="170776" y="406400"/>
                  <a:pt x="177800" y="406400"/>
                </a:cubicBezTo>
                <a:cubicBezTo>
                  <a:pt x="184823" y="406400"/>
                  <a:pt x="190500" y="400723"/>
                  <a:pt x="190500" y="393700"/>
                </a:cubicBezTo>
                <a:cubicBezTo>
                  <a:pt x="190500" y="386676"/>
                  <a:pt x="184823" y="381000"/>
                  <a:pt x="177800" y="381000"/>
                </a:cubicBezTo>
                <a:cubicBezTo>
                  <a:pt x="170776" y="381000"/>
                  <a:pt x="165100" y="386676"/>
                  <a:pt x="165100" y="393700"/>
                </a:cubicBezTo>
                <a:close/>
                <a:moveTo>
                  <a:pt x="203200" y="355600"/>
                </a:moveTo>
                <a:cubicBezTo>
                  <a:pt x="203200" y="362623"/>
                  <a:pt x="208876" y="368300"/>
                  <a:pt x="215900" y="368300"/>
                </a:cubicBezTo>
                <a:cubicBezTo>
                  <a:pt x="222923" y="368300"/>
                  <a:pt x="228600" y="362623"/>
                  <a:pt x="228600" y="355600"/>
                </a:cubicBezTo>
                <a:cubicBezTo>
                  <a:pt x="228600" y="348576"/>
                  <a:pt x="222923" y="342900"/>
                  <a:pt x="215900" y="342900"/>
                </a:cubicBezTo>
                <a:cubicBezTo>
                  <a:pt x="208876" y="342900"/>
                  <a:pt x="203200" y="348576"/>
                  <a:pt x="203200" y="355600"/>
                </a:cubicBezTo>
                <a:close/>
                <a:moveTo>
                  <a:pt x="279400" y="355600"/>
                </a:moveTo>
                <a:cubicBezTo>
                  <a:pt x="279400" y="362623"/>
                  <a:pt x="285076" y="368300"/>
                  <a:pt x="292100" y="368300"/>
                </a:cubicBezTo>
                <a:cubicBezTo>
                  <a:pt x="299123" y="368300"/>
                  <a:pt x="304800" y="362623"/>
                  <a:pt x="304800" y="355600"/>
                </a:cubicBezTo>
                <a:cubicBezTo>
                  <a:pt x="304800" y="348576"/>
                  <a:pt x="299123" y="342900"/>
                  <a:pt x="292100" y="342900"/>
                </a:cubicBezTo>
                <a:cubicBezTo>
                  <a:pt x="285076" y="342900"/>
                  <a:pt x="279400" y="348576"/>
                  <a:pt x="279400" y="355600"/>
                </a:cubicBezTo>
                <a:close/>
                <a:moveTo>
                  <a:pt x="330200" y="381000"/>
                </a:moveTo>
                <a:cubicBezTo>
                  <a:pt x="323176" y="381000"/>
                  <a:pt x="317500" y="386676"/>
                  <a:pt x="317500" y="393700"/>
                </a:cubicBezTo>
                <a:cubicBezTo>
                  <a:pt x="317500" y="400723"/>
                  <a:pt x="323176" y="406400"/>
                  <a:pt x="330200" y="406400"/>
                </a:cubicBezTo>
                <a:cubicBezTo>
                  <a:pt x="337223" y="406400"/>
                  <a:pt x="342900" y="400723"/>
                  <a:pt x="342900" y="393700"/>
                </a:cubicBezTo>
                <a:cubicBezTo>
                  <a:pt x="342900" y="386676"/>
                  <a:pt x="337223" y="381000"/>
                  <a:pt x="330200" y="381000"/>
                </a:cubicBezTo>
                <a:close/>
                <a:moveTo>
                  <a:pt x="355600" y="431800"/>
                </a:moveTo>
                <a:cubicBezTo>
                  <a:pt x="355600" y="438823"/>
                  <a:pt x="361276" y="444500"/>
                  <a:pt x="368300" y="444500"/>
                </a:cubicBezTo>
                <a:cubicBezTo>
                  <a:pt x="375323" y="444500"/>
                  <a:pt x="381000" y="438823"/>
                  <a:pt x="381000" y="431800"/>
                </a:cubicBezTo>
                <a:cubicBezTo>
                  <a:pt x="381000" y="424776"/>
                  <a:pt x="375323" y="419100"/>
                  <a:pt x="368300" y="419100"/>
                </a:cubicBezTo>
                <a:cubicBezTo>
                  <a:pt x="361276" y="419100"/>
                  <a:pt x="355600" y="424776"/>
                  <a:pt x="355600" y="431800"/>
                </a:cubicBezTo>
                <a:close/>
                <a:moveTo>
                  <a:pt x="368300" y="355600"/>
                </a:moveTo>
                <a:cubicBezTo>
                  <a:pt x="361302" y="355600"/>
                  <a:pt x="355600" y="349910"/>
                  <a:pt x="355600" y="342900"/>
                </a:cubicBezTo>
                <a:cubicBezTo>
                  <a:pt x="355600" y="335889"/>
                  <a:pt x="361302" y="330200"/>
                  <a:pt x="368300" y="330200"/>
                </a:cubicBezTo>
                <a:cubicBezTo>
                  <a:pt x="375297" y="330200"/>
                  <a:pt x="381000" y="335889"/>
                  <a:pt x="381000" y="342900"/>
                </a:cubicBezTo>
                <a:cubicBezTo>
                  <a:pt x="381000" y="349910"/>
                  <a:pt x="375297" y="355600"/>
                  <a:pt x="368300" y="355600"/>
                </a:cubicBezTo>
                <a:close/>
                <a:moveTo>
                  <a:pt x="266700" y="254000"/>
                </a:moveTo>
                <a:cubicBezTo>
                  <a:pt x="259702" y="254000"/>
                  <a:pt x="254000" y="248310"/>
                  <a:pt x="254000" y="241300"/>
                </a:cubicBezTo>
                <a:cubicBezTo>
                  <a:pt x="254000" y="234289"/>
                  <a:pt x="259702" y="228600"/>
                  <a:pt x="266700" y="228600"/>
                </a:cubicBezTo>
                <a:cubicBezTo>
                  <a:pt x="273697" y="228600"/>
                  <a:pt x="279400" y="234289"/>
                  <a:pt x="279400" y="241300"/>
                </a:cubicBezTo>
                <a:cubicBezTo>
                  <a:pt x="279400" y="248310"/>
                  <a:pt x="273697" y="254000"/>
                  <a:pt x="266700" y="254000"/>
                </a:cubicBezTo>
                <a:close/>
                <a:moveTo>
                  <a:pt x="38100" y="482600"/>
                </a:moveTo>
                <a:cubicBezTo>
                  <a:pt x="31102" y="482600"/>
                  <a:pt x="25400" y="476910"/>
                  <a:pt x="25400" y="469900"/>
                </a:cubicBezTo>
                <a:cubicBezTo>
                  <a:pt x="25400" y="462889"/>
                  <a:pt x="31102" y="457200"/>
                  <a:pt x="38100" y="457200"/>
                </a:cubicBezTo>
                <a:cubicBezTo>
                  <a:pt x="45097" y="457200"/>
                  <a:pt x="50800" y="462889"/>
                  <a:pt x="50800" y="469900"/>
                </a:cubicBezTo>
                <a:cubicBezTo>
                  <a:pt x="50800" y="476910"/>
                  <a:pt x="45097" y="482600"/>
                  <a:pt x="38100" y="482600"/>
                </a:cubicBezTo>
                <a:close/>
                <a:moveTo>
                  <a:pt x="571500" y="127000"/>
                </a:moveTo>
                <a:cubicBezTo>
                  <a:pt x="578497" y="127000"/>
                  <a:pt x="584200" y="132689"/>
                  <a:pt x="584200" y="139700"/>
                </a:cubicBezTo>
                <a:cubicBezTo>
                  <a:pt x="584200" y="146710"/>
                  <a:pt x="578497" y="152400"/>
                  <a:pt x="571500" y="152400"/>
                </a:cubicBezTo>
                <a:cubicBezTo>
                  <a:pt x="564502" y="152400"/>
                  <a:pt x="558800" y="146710"/>
                  <a:pt x="558800" y="139700"/>
                </a:cubicBezTo>
                <a:cubicBezTo>
                  <a:pt x="558800" y="132689"/>
                  <a:pt x="564502" y="127000"/>
                  <a:pt x="571500" y="127000"/>
                </a:cubicBezTo>
                <a:close/>
                <a:moveTo>
                  <a:pt x="50800" y="50800"/>
                </a:moveTo>
                <a:lnTo>
                  <a:pt x="50800" y="25400"/>
                </a:lnTo>
                <a:lnTo>
                  <a:pt x="558800" y="25400"/>
                </a:lnTo>
                <a:lnTo>
                  <a:pt x="558800" y="50800"/>
                </a:lnTo>
                <a:close/>
                <a:moveTo>
                  <a:pt x="508000" y="279400"/>
                </a:moveTo>
                <a:cubicBezTo>
                  <a:pt x="508000" y="286423"/>
                  <a:pt x="513676" y="292100"/>
                  <a:pt x="520700" y="292100"/>
                </a:cubicBezTo>
                <a:cubicBezTo>
                  <a:pt x="527723" y="292100"/>
                  <a:pt x="533400" y="286423"/>
                  <a:pt x="533400" y="279400"/>
                </a:cubicBezTo>
                <a:cubicBezTo>
                  <a:pt x="533400" y="272376"/>
                  <a:pt x="527723" y="266700"/>
                  <a:pt x="520700" y="266700"/>
                </a:cubicBezTo>
                <a:cubicBezTo>
                  <a:pt x="513676" y="266700"/>
                  <a:pt x="508000" y="272376"/>
                  <a:pt x="508000" y="27940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 cmpd="sng">
            <a:noFill/>
            <a:prstDash val="solid"/>
            <a:miter lim="800000"/>
          </a:ln>
        </p:spPr>
        <p:txBody>
          <a:bodyPr wrap="square" anchor="ctr">
            <a:spAutoFit/>
          </a:bodyPr>
          <a:lstStyle/>
          <a:p>
            <a:pPr algn="ctr"/>
            <a:endParaRPr lang="en-GB" sz="108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7F7A0EF-6C41-B4B1-FFC3-317E5E1F64BF}"/>
              </a:ext>
            </a:extLst>
          </p:cNvPr>
          <p:cNvSpPr txBox="1"/>
          <p:nvPr/>
        </p:nvSpPr>
        <p:spPr>
          <a:xfrm>
            <a:off x="503237" y="1518175"/>
            <a:ext cx="11183936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sz="1400" noProof="0"/>
              <a:t>Phases of work within </a:t>
            </a:r>
            <a:r>
              <a:rPr lang="en-GB" sz="1400" i="1" noProof="0"/>
              <a:t>Resilient Cities, Reimagining Health</a:t>
            </a:r>
          </a:p>
        </p:txBody>
      </p:sp>
      <p:sp>
        <p:nvSpPr>
          <p:cNvPr id="63" name="18.27">
            <a:extLst>
              <a:ext uri="{FF2B5EF4-FFF2-40B4-BE49-F238E27FC236}">
                <a16:creationId xmlns:a16="http://schemas.microsoft.com/office/drawing/2014/main" id="{180428C4-8B79-F58A-D99A-73D1CC298E25}"/>
              </a:ext>
            </a:extLst>
          </p:cNvPr>
          <p:cNvSpPr/>
          <p:nvPr/>
        </p:nvSpPr>
        <p:spPr>
          <a:xfrm>
            <a:off x="10940018" y="2197042"/>
            <a:ext cx="373856" cy="417296"/>
          </a:xfrm>
          <a:custGeom>
            <a:avLst/>
            <a:gdLst/>
            <a:ahLst/>
            <a:cxnLst/>
            <a:rect l="0" t="0" r="0" b="0"/>
            <a:pathLst>
              <a:path w="546138" h="609600">
                <a:moveTo>
                  <a:pt x="279400" y="330200"/>
                </a:moveTo>
                <a:lnTo>
                  <a:pt x="279476" y="330200"/>
                </a:lnTo>
                <a:lnTo>
                  <a:pt x="279514" y="330200"/>
                </a:lnTo>
                <a:cubicBezTo>
                  <a:pt x="279590" y="330200"/>
                  <a:pt x="279679" y="330174"/>
                  <a:pt x="279768" y="330174"/>
                </a:cubicBezTo>
                <a:cubicBezTo>
                  <a:pt x="370624" y="329971"/>
                  <a:pt x="444500" y="256006"/>
                  <a:pt x="444500" y="165100"/>
                </a:cubicBezTo>
                <a:cubicBezTo>
                  <a:pt x="444500" y="74066"/>
                  <a:pt x="370433" y="0"/>
                  <a:pt x="279400" y="0"/>
                </a:cubicBezTo>
                <a:cubicBezTo>
                  <a:pt x="188366" y="0"/>
                  <a:pt x="114300" y="74066"/>
                  <a:pt x="114300" y="165100"/>
                </a:cubicBezTo>
                <a:cubicBezTo>
                  <a:pt x="114300" y="256133"/>
                  <a:pt x="188366" y="330200"/>
                  <a:pt x="279400" y="330200"/>
                </a:cubicBezTo>
                <a:close/>
                <a:moveTo>
                  <a:pt x="174510" y="73126"/>
                </a:moveTo>
                <a:cubicBezTo>
                  <a:pt x="179552" y="77495"/>
                  <a:pt x="184746" y="81584"/>
                  <a:pt x="190093" y="85293"/>
                </a:cubicBezTo>
                <a:cubicBezTo>
                  <a:pt x="183400" y="105346"/>
                  <a:pt x="179273" y="128079"/>
                  <a:pt x="178180" y="152400"/>
                </a:cubicBezTo>
                <a:lnTo>
                  <a:pt x="140347" y="152400"/>
                </a:lnTo>
                <a:cubicBezTo>
                  <a:pt x="143078" y="122161"/>
                  <a:pt x="155536" y="94729"/>
                  <a:pt x="174510" y="73126"/>
                </a:cubicBezTo>
                <a:close/>
                <a:moveTo>
                  <a:pt x="199643" y="268287"/>
                </a:moveTo>
                <a:cubicBezTo>
                  <a:pt x="202742" y="274624"/>
                  <a:pt x="206120" y="280517"/>
                  <a:pt x="209740" y="286016"/>
                </a:cubicBezTo>
                <a:cubicBezTo>
                  <a:pt x="203606" y="282473"/>
                  <a:pt x="197738" y="278511"/>
                  <a:pt x="192227" y="274091"/>
                </a:cubicBezTo>
                <a:cubicBezTo>
                  <a:pt x="194652" y="272059"/>
                  <a:pt x="197129" y="270141"/>
                  <a:pt x="199643" y="268287"/>
                </a:cubicBezTo>
                <a:close/>
                <a:moveTo>
                  <a:pt x="209854" y="44119"/>
                </a:moveTo>
                <a:cubicBezTo>
                  <a:pt x="206349" y="49415"/>
                  <a:pt x="203047" y="55041"/>
                  <a:pt x="200050" y="61112"/>
                </a:cubicBezTo>
                <a:cubicBezTo>
                  <a:pt x="197650" y="59334"/>
                  <a:pt x="195287" y="57505"/>
                  <a:pt x="192951" y="55562"/>
                </a:cubicBezTo>
                <a:cubicBezTo>
                  <a:pt x="198285" y="51346"/>
                  <a:pt x="203936" y="47523"/>
                  <a:pt x="209854" y="44119"/>
                </a:cubicBezTo>
                <a:close/>
                <a:moveTo>
                  <a:pt x="266700" y="113626"/>
                </a:moveTo>
                <a:lnTo>
                  <a:pt x="266700" y="152400"/>
                </a:lnTo>
                <a:lnTo>
                  <a:pt x="203542" y="152400"/>
                </a:lnTo>
                <a:cubicBezTo>
                  <a:pt x="204508" y="132956"/>
                  <a:pt x="207632" y="114642"/>
                  <a:pt x="212521" y="98323"/>
                </a:cubicBezTo>
                <a:cubicBezTo>
                  <a:pt x="229844" y="106743"/>
                  <a:pt x="248119" y="112001"/>
                  <a:pt x="266700" y="113626"/>
                </a:cubicBezTo>
                <a:close/>
                <a:moveTo>
                  <a:pt x="266700" y="27660"/>
                </a:moveTo>
                <a:lnTo>
                  <a:pt x="266700" y="88214"/>
                </a:lnTo>
                <a:cubicBezTo>
                  <a:pt x="251244" y="86575"/>
                  <a:pt x="236042" y="81826"/>
                  <a:pt x="221576" y="74498"/>
                </a:cubicBezTo>
                <a:cubicBezTo>
                  <a:pt x="232943" y="50228"/>
                  <a:pt x="248767" y="33235"/>
                  <a:pt x="266700" y="27660"/>
                </a:cubicBezTo>
                <a:close/>
                <a:moveTo>
                  <a:pt x="266700" y="216547"/>
                </a:moveTo>
                <a:cubicBezTo>
                  <a:pt x="247878" y="218097"/>
                  <a:pt x="229565" y="223151"/>
                  <a:pt x="212318" y="231292"/>
                </a:cubicBezTo>
                <a:cubicBezTo>
                  <a:pt x="207556" y="215112"/>
                  <a:pt x="204495" y="197002"/>
                  <a:pt x="203542" y="177800"/>
                </a:cubicBezTo>
                <a:lnTo>
                  <a:pt x="266700" y="177800"/>
                </a:lnTo>
                <a:close/>
                <a:moveTo>
                  <a:pt x="266700" y="302666"/>
                </a:moveTo>
                <a:cubicBezTo>
                  <a:pt x="248589" y="297027"/>
                  <a:pt x="232638" y="279768"/>
                  <a:pt x="221259" y="255143"/>
                </a:cubicBezTo>
                <a:cubicBezTo>
                  <a:pt x="235661" y="248069"/>
                  <a:pt x="250977" y="243509"/>
                  <a:pt x="266700" y="241947"/>
                </a:cubicBezTo>
                <a:close/>
                <a:moveTo>
                  <a:pt x="292100" y="241947"/>
                </a:moveTo>
                <a:cubicBezTo>
                  <a:pt x="307860" y="243484"/>
                  <a:pt x="323202" y="248043"/>
                  <a:pt x="337616" y="255092"/>
                </a:cubicBezTo>
                <a:cubicBezTo>
                  <a:pt x="326224" y="279844"/>
                  <a:pt x="310235" y="297141"/>
                  <a:pt x="292100" y="302729"/>
                </a:cubicBezTo>
                <a:close/>
                <a:moveTo>
                  <a:pt x="292100" y="177800"/>
                </a:moveTo>
                <a:lnTo>
                  <a:pt x="355244" y="177800"/>
                </a:lnTo>
                <a:cubicBezTo>
                  <a:pt x="354304" y="196976"/>
                  <a:pt x="351256" y="215061"/>
                  <a:pt x="346519" y="231216"/>
                </a:cubicBezTo>
                <a:cubicBezTo>
                  <a:pt x="329272" y="223113"/>
                  <a:pt x="310934" y="218084"/>
                  <a:pt x="292100" y="216534"/>
                </a:cubicBezTo>
                <a:close/>
                <a:moveTo>
                  <a:pt x="292100" y="113626"/>
                </a:moveTo>
                <a:cubicBezTo>
                  <a:pt x="310705" y="112013"/>
                  <a:pt x="328993" y="106781"/>
                  <a:pt x="346316" y="98386"/>
                </a:cubicBezTo>
                <a:cubicBezTo>
                  <a:pt x="351180" y="114693"/>
                  <a:pt x="354279" y="132994"/>
                  <a:pt x="355244" y="152400"/>
                </a:cubicBezTo>
                <a:lnTo>
                  <a:pt x="292100" y="152400"/>
                </a:lnTo>
                <a:close/>
                <a:moveTo>
                  <a:pt x="292100" y="27597"/>
                </a:moveTo>
                <a:cubicBezTo>
                  <a:pt x="310083" y="33108"/>
                  <a:pt x="325932" y="50165"/>
                  <a:pt x="337299" y="74561"/>
                </a:cubicBezTo>
                <a:cubicBezTo>
                  <a:pt x="322833" y="81851"/>
                  <a:pt x="307568" y="86588"/>
                  <a:pt x="292100" y="88226"/>
                </a:cubicBezTo>
                <a:close/>
                <a:moveTo>
                  <a:pt x="365975" y="55676"/>
                </a:moveTo>
                <a:cubicBezTo>
                  <a:pt x="363778" y="57492"/>
                  <a:pt x="361543" y="59207"/>
                  <a:pt x="359295" y="60896"/>
                </a:cubicBezTo>
                <a:cubicBezTo>
                  <a:pt x="356539" y="55245"/>
                  <a:pt x="353542" y="49936"/>
                  <a:pt x="350342" y="44970"/>
                </a:cubicBezTo>
                <a:cubicBezTo>
                  <a:pt x="355790" y="48196"/>
                  <a:pt x="361022" y="51752"/>
                  <a:pt x="365975" y="55676"/>
                </a:cubicBezTo>
                <a:close/>
                <a:moveTo>
                  <a:pt x="350431" y="285165"/>
                </a:moveTo>
                <a:cubicBezTo>
                  <a:pt x="353758" y="279996"/>
                  <a:pt x="356844" y="274434"/>
                  <a:pt x="359689" y="268516"/>
                </a:cubicBezTo>
                <a:cubicBezTo>
                  <a:pt x="362064" y="270268"/>
                  <a:pt x="364401" y="272072"/>
                  <a:pt x="366699" y="273989"/>
                </a:cubicBezTo>
                <a:cubicBezTo>
                  <a:pt x="361568" y="278104"/>
                  <a:pt x="356120" y="281800"/>
                  <a:pt x="350431" y="285165"/>
                </a:cubicBezTo>
                <a:close/>
                <a:moveTo>
                  <a:pt x="384390" y="73266"/>
                </a:moveTo>
                <a:cubicBezTo>
                  <a:pt x="403313" y="94856"/>
                  <a:pt x="415721" y="122212"/>
                  <a:pt x="418452" y="152400"/>
                </a:cubicBezTo>
                <a:lnTo>
                  <a:pt x="380618" y="152400"/>
                </a:lnTo>
                <a:cubicBezTo>
                  <a:pt x="379577" y="127888"/>
                  <a:pt x="375615" y="105143"/>
                  <a:pt x="369112" y="85153"/>
                </a:cubicBezTo>
                <a:cubicBezTo>
                  <a:pt x="374370" y="81533"/>
                  <a:pt x="379450" y="77520"/>
                  <a:pt x="384390" y="73266"/>
                </a:cubicBezTo>
                <a:close/>
                <a:moveTo>
                  <a:pt x="384987" y="256286"/>
                </a:moveTo>
                <a:cubicBezTo>
                  <a:pt x="379958" y="251942"/>
                  <a:pt x="374764" y="247878"/>
                  <a:pt x="369379" y="244195"/>
                </a:cubicBezTo>
                <a:cubicBezTo>
                  <a:pt x="375716" y="224408"/>
                  <a:pt x="379590" y="201955"/>
                  <a:pt x="380618" y="177800"/>
                </a:cubicBezTo>
                <a:lnTo>
                  <a:pt x="418452" y="177800"/>
                </a:lnTo>
                <a:cubicBezTo>
                  <a:pt x="415747" y="207670"/>
                  <a:pt x="403567" y="234797"/>
                  <a:pt x="384987" y="256286"/>
                </a:cubicBezTo>
                <a:close/>
                <a:moveTo>
                  <a:pt x="178180" y="177800"/>
                </a:moveTo>
                <a:cubicBezTo>
                  <a:pt x="179260" y="201790"/>
                  <a:pt x="183273" y="224231"/>
                  <a:pt x="189801" y="244094"/>
                </a:cubicBezTo>
                <a:cubicBezTo>
                  <a:pt x="184302" y="247827"/>
                  <a:pt x="179031" y="251993"/>
                  <a:pt x="173913" y="256413"/>
                </a:cubicBezTo>
                <a:cubicBezTo>
                  <a:pt x="155270" y="234911"/>
                  <a:pt x="143052" y="207733"/>
                  <a:pt x="140347" y="177800"/>
                </a:cubicBezTo>
                <a:close/>
                <a:moveTo>
                  <a:pt x="541604" y="307809"/>
                </a:moveTo>
                <a:cubicBezTo>
                  <a:pt x="530009" y="297967"/>
                  <a:pt x="501180" y="283362"/>
                  <a:pt x="475030" y="298361"/>
                </a:cubicBezTo>
                <a:cubicBezTo>
                  <a:pt x="457796" y="308254"/>
                  <a:pt x="433857" y="325170"/>
                  <a:pt x="414629" y="338747"/>
                </a:cubicBezTo>
                <a:cubicBezTo>
                  <a:pt x="411225" y="341160"/>
                  <a:pt x="408089" y="343369"/>
                  <a:pt x="405117" y="345452"/>
                </a:cubicBezTo>
                <a:cubicBezTo>
                  <a:pt x="392125" y="340283"/>
                  <a:pt x="376199" y="339051"/>
                  <a:pt x="360603" y="345884"/>
                </a:cubicBezTo>
                <a:cubicBezTo>
                  <a:pt x="341261" y="354329"/>
                  <a:pt x="323024" y="363956"/>
                  <a:pt x="302285" y="376694"/>
                </a:cubicBezTo>
                <a:cubicBezTo>
                  <a:pt x="273570" y="361175"/>
                  <a:pt x="247929" y="355028"/>
                  <a:pt x="215900" y="355600"/>
                </a:cubicBezTo>
                <a:lnTo>
                  <a:pt x="152400" y="355600"/>
                </a:lnTo>
                <a:cubicBezTo>
                  <a:pt x="111861" y="355600"/>
                  <a:pt x="73748" y="371043"/>
                  <a:pt x="45097" y="399084"/>
                </a:cubicBezTo>
                <a:cubicBezTo>
                  <a:pt x="16001" y="427532"/>
                  <a:pt x="0" y="465874"/>
                  <a:pt x="12" y="507022"/>
                </a:cubicBezTo>
                <a:lnTo>
                  <a:pt x="0" y="546061"/>
                </a:lnTo>
                <a:lnTo>
                  <a:pt x="0" y="546100"/>
                </a:lnTo>
                <a:lnTo>
                  <a:pt x="0" y="546138"/>
                </a:lnTo>
                <a:lnTo>
                  <a:pt x="0" y="596900"/>
                </a:lnTo>
                <a:cubicBezTo>
                  <a:pt x="0" y="603923"/>
                  <a:pt x="5676" y="609600"/>
                  <a:pt x="12700" y="609600"/>
                </a:cubicBezTo>
                <a:cubicBezTo>
                  <a:pt x="19710" y="609600"/>
                  <a:pt x="25400" y="603923"/>
                  <a:pt x="25400" y="596900"/>
                </a:cubicBezTo>
                <a:lnTo>
                  <a:pt x="25400" y="558800"/>
                </a:lnTo>
                <a:lnTo>
                  <a:pt x="177800" y="558800"/>
                </a:lnTo>
                <a:lnTo>
                  <a:pt x="177800" y="596900"/>
                </a:lnTo>
                <a:cubicBezTo>
                  <a:pt x="177800" y="603923"/>
                  <a:pt x="183476" y="609600"/>
                  <a:pt x="190500" y="609600"/>
                </a:cubicBezTo>
                <a:cubicBezTo>
                  <a:pt x="197510" y="609600"/>
                  <a:pt x="203200" y="603923"/>
                  <a:pt x="203200" y="596900"/>
                </a:cubicBezTo>
                <a:lnTo>
                  <a:pt x="203200" y="546061"/>
                </a:lnTo>
                <a:cubicBezTo>
                  <a:pt x="203136" y="523227"/>
                  <a:pt x="209334" y="521665"/>
                  <a:pt x="242290" y="517245"/>
                </a:cubicBezTo>
                <a:cubicBezTo>
                  <a:pt x="276059" y="512699"/>
                  <a:pt x="327088" y="505853"/>
                  <a:pt x="384746" y="455295"/>
                </a:cubicBezTo>
                <a:lnTo>
                  <a:pt x="541439" y="327329"/>
                </a:lnTo>
                <a:cubicBezTo>
                  <a:pt x="544347" y="324954"/>
                  <a:pt x="546061" y="321386"/>
                  <a:pt x="546100" y="317614"/>
                </a:cubicBezTo>
                <a:cubicBezTo>
                  <a:pt x="546138" y="313842"/>
                  <a:pt x="544487" y="310248"/>
                  <a:pt x="541604" y="307809"/>
                </a:cubicBezTo>
                <a:close/>
                <a:moveTo>
                  <a:pt x="368338" y="435902"/>
                </a:moveTo>
                <a:cubicBezTo>
                  <a:pt x="316102" y="481698"/>
                  <a:pt x="271487" y="487692"/>
                  <a:pt x="238899" y="492061"/>
                </a:cubicBezTo>
                <a:cubicBezTo>
                  <a:pt x="210642" y="495871"/>
                  <a:pt x="183845" y="499579"/>
                  <a:pt x="178739" y="533400"/>
                </a:cubicBezTo>
                <a:lnTo>
                  <a:pt x="25400" y="533400"/>
                </a:lnTo>
                <a:lnTo>
                  <a:pt x="25400" y="507022"/>
                </a:lnTo>
                <a:cubicBezTo>
                  <a:pt x="25400" y="436346"/>
                  <a:pt x="81178" y="381000"/>
                  <a:pt x="152400" y="381000"/>
                </a:cubicBezTo>
                <a:lnTo>
                  <a:pt x="216128" y="381000"/>
                </a:lnTo>
                <a:cubicBezTo>
                  <a:pt x="246087" y="380479"/>
                  <a:pt x="268731" y="386448"/>
                  <a:pt x="296252" y="402424"/>
                </a:cubicBezTo>
                <a:cubicBezTo>
                  <a:pt x="300329" y="404799"/>
                  <a:pt x="305409" y="404685"/>
                  <a:pt x="309384" y="402196"/>
                </a:cubicBezTo>
                <a:cubicBezTo>
                  <a:pt x="331723" y="388137"/>
                  <a:pt x="350659" y="377951"/>
                  <a:pt x="370789" y="369150"/>
                </a:cubicBezTo>
                <a:cubicBezTo>
                  <a:pt x="378434" y="365810"/>
                  <a:pt x="385673" y="366052"/>
                  <a:pt x="391680" y="367690"/>
                </a:cubicBezTo>
                <a:lnTo>
                  <a:pt x="310438" y="423913"/>
                </a:lnTo>
                <a:cubicBezTo>
                  <a:pt x="292023" y="434289"/>
                  <a:pt x="257898" y="434289"/>
                  <a:pt x="235330" y="434289"/>
                </a:cubicBezTo>
                <a:cubicBezTo>
                  <a:pt x="208610" y="434289"/>
                  <a:pt x="185851" y="445325"/>
                  <a:pt x="184886" y="445808"/>
                </a:cubicBezTo>
                <a:cubicBezTo>
                  <a:pt x="178600" y="448906"/>
                  <a:pt x="176009" y="456514"/>
                  <a:pt x="179095" y="462800"/>
                </a:cubicBezTo>
                <a:cubicBezTo>
                  <a:pt x="182181" y="469099"/>
                  <a:pt x="189826" y="471677"/>
                  <a:pt x="196100" y="468591"/>
                </a:cubicBezTo>
                <a:cubicBezTo>
                  <a:pt x="196291" y="468515"/>
                  <a:pt x="214782" y="459689"/>
                  <a:pt x="235330" y="459689"/>
                </a:cubicBezTo>
                <a:cubicBezTo>
                  <a:pt x="260553" y="459689"/>
                  <a:pt x="298691" y="459689"/>
                  <a:pt x="323900" y="445414"/>
                </a:cubicBezTo>
                <a:lnTo>
                  <a:pt x="422541" y="377215"/>
                </a:lnTo>
                <a:cubicBezTo>
                  <a:pt x="425640" y="375081"/>
                  <a:pt x="427634" y="371678"/>
                  <a:pt x="427977" y="367919"/>
                </a:cubicBezTo>
                <a:cubicBezTo>
                  <a:pt x="428180" y="365620"/>
                  <a:pt x="427570" y="363435"/>
                  <a:pt x="426592" y="361391"/>
                </a:cubicBezTo>
                <a:cubicBezTo>
                  <a:pt x="427520" y="360743"/>
                  <a:pt x="428345" y="360159"/>
                  <a:pt x="429285" y="359498"/>
                </a:cubicBezTo>
                <a:cubicBezTo>
                  <a:pt x="448081" y="346227"/>
                  <a:pt x="471474" y="329704"/>
                  <a:pt x="487679" y="320395"/>
                </a:cubicBezTo>
                <a:cubicBezTo>
                  <a:pt x="495236" y="316039"/>
                  <a:pt x="503796" y="316953"/>
                  <a:pt x="510971" y="319417"/>
                </a:cubicBezTo>
                <a:close/>
                <a:moveTo>
                  <a:pt x="63500" y="584200"/>
                </a:moveTo>
                <a:cubicBezTo>
                  <a:pt x="56476" y="584200"/>
                  <a:pt x="50800" y="589876"/>
                  <a:pt x="50800" y="596900"/>
                </a:cubicBezTo>
                <a:cubicBezTo>
                  <a:pt x="50800" y="603923"/>
                  <a:pt x="56476" y="609600"/>
                  <a:pt x="63500" y="609600"/>
                </a:cubicBezTo>
                <a:cubicBezTo>
                  <a:pt x="70510" y="609600"/>
                  <a:pt x="76200" y="603923"/>
                  <a:pt x="76200" y="596900"/>
                </a:cubicBezTo>
                <a:cubicBezTo>
                  <a:pt x="76200" y="589876"/>
                  <a:pt x="70510" y="584200"/>
                  <a:pt x="63500" y="584200"/>
                </a:cubicBezTo>
                <a:close/>
              </a:path>
            </a:pathLst>
          </a:custGeom>
          <a:solidFill>
            <a:schemeClr val="accent2"/>
          </a:solidFill>
          <a:ln w="12700" cap="flat" cmpd="sng">
            <a:noFill/>
            <a:prstDash val="solid"/>
            <a:miter lim="800000"/>
          </a:ln>
        </p:spPr>
        <p:txBody>
          <a:bodyPr wrap="square" anchor="ctr">
            <a:spAutoFit/>
          </a:bodyPr>
          <a:lstStyle/>
          <a:p>
            <a:pPr algn="ctr"/>
            <a:endParaRPr lang="en-GB" sz="1080"/>
          </a:p>
        </p:txBody>
      </p:sp>
      <p:sp>
        <p:nvSpPr>
          <p:cNvPr id="65" name="11.7">
            <a:extLst>
              <a:ext uri="{FF2B5EF4-FFF2-40B4-BE49-F238E27FC236}">
                <a16:creationId xmlns:a16="http://schemas.microsoft.com/office/drawing/2014/main" id="{2AB57BB3-8701-D0B5-EC16-6E33E849D38F}"/>
              </a:ext>
            </a:extLst>
          </p:cNvPr>
          <p:cNvSpPr/>
          <p:nvPr/>
        </p:nvSpPr>
        <p:spPr>
          <a:xfrm>
            <a:off x="4413731" y="2197042"/>
            <a:ext cx="345736" cy="417718"/>
          </a:xfrm>
          <a:custGeom>
            <a:avLst/>
            <a:gdLst/>
            <a:ahLst/>
            <a:cxnLst/>
            <a:rect l="0" t="0" r="0" b="0"/>
            <a:pathLst>
              <a:path w="504939" h="610069">
                <a:moveTo>
                  <a:pt x="492239" y="63969"/>
                </a:moveTo>
                <a:lnTo>
                  <a:pt x="406501" y="63969"/>
                </a:lnTo>
                <a:lnTo>
                  <a:pt x="390093" y="9512"/>
                </a:lnTo>
                <a:cubicBezTo>
                  <a:pt x="389128" y="6286"/>
                  <a:pt x="386918" y="3568"/>
                  <a:pt x="383946" y="1981"/>
                </a:cubicBezTo>
                <a:cubicBezTo>
                  <a:pt x="380974" y="380"/>
                  <a:pt x="377494" y="0"/>
                  <a:pt x="374269" y="1016"/>
                </a:cubicBezTo>
                <a:lnTo>
                  <a:pt x="165315" y="63969"/>
                </a:lnTo>
                <a:lnTo>
                  <a:pt x="111239" y="63969"/>
                </a:lnTo>
                <a:cubicBezTo>
                  <a:pt x="104216" y="63969"/>
                  <a:pt x="98539" y="69646"/>
                  <a:pt x="98539" y="76669"/>
                </a:cubicBezTo>
                <a:lnTo>
                  <a:pt x="98539" y="84086"/>
                </a:lnTo>
                <a:lnTo>
                  <a:pt x="9461" y="110921"/>
                </a:lnTo>
                <a:cubicBezTo>
                  <a:pt x="6235" y="111886"/>
                  <a:pt x="3543" y="114096"/>
                  <a:pt x="1955" y="117068"/>
                </a:cubicBezTo>
                <a:cubicBezTo>
                  <a:pt x="355" y="120040"/>
                  <a:pt x="0" y="123507"/>
                  <a:pt x="977" y="126733"/>
                </a:cubicBezTo>
                <a:lnTo>
                  <a:pt x="97955" y="448627"/>
                </a:lnTo>
                <a:cubicBezTo>
                  <a:pt x="98094" y="449059"/>
                  <a:pt x="98361" y="449402"/>
                  <a:pt x="98539" y="449808"/>
                </a:cubicBezTo>
                <a:lnTo>
                  <a:pt x="98539" y="597369"/>
                </a:lnTo>
                <a:cubicBezTo>
                  <a:pt x="98539" y="604380"/>
                  <a:pt x="104216" y="610069"/>
                  <a:pt x="111239" y="610069"/>
                </a:cubicBezTo>
                <a:lnTo>
                  <a:pt x="416039" y="610069"/>
                </a:lnTo>
                <a:cubicBezTo>
                  <a:pt x="419341" y="610069"/>
                  <a:pt x="422338" y="608812"/>
                  <a:pt x="424599" y="606755"/>
                </a:cubicBezTo>
                <a:cubicBezTo>
                  <a:pt x="424637" y="606793"/>
                  <a:pt x="424611" y="606742"/>
                  <a:pt x="424611" y="606742"/>
                </a:cubicBezTo>
                <a:cubicBezTo>
                  <a:pt x="424751" y="606602"/>
                  <a:pt x="424878" y="606475"/>
                  <a:pt x="425018" y="606348"/>
                </a:cubicBezTo>
                <a:lnTo>
                  <a:pt x="501218" y="530148"/>
                </a:lnTo>
                <a:cubicBezTo>
                  <a:pt x="501472" y="529894"/>
                  <a:pt x="501713" y="529640"/>
                  <a:pt x="501942" y="529361"/>
                </a:cubicBezTo>
                <a:cubicBezTo>
                  <a:pt x="501992" y="529323"/>
                  <a:pt x="501954" y="529348"/>
                  <a:pt x="501954" y="529348"/>
                </a:cubicBezTo>
                <a:cubicBezTo>
                  <a:pt x="503694" y="527265"/>
                  <a:pt x="504799" y="524624"/>
                  <a:pt x="504926" y="521741"/>
                </a:cubicBezTo>
                <a:cubicBezTo>
                  <a:pt x="504939" y="521512"/>
                  <a:pt x="504939" y="521284"/>
                  <a:pt x="504939" y="521068"/>
                </a:cubicBezTo>
                <a:lnTo>
                  <a:pt x="504939" y="76669"/>
                </a:lnTo>
                <a:cubicBezTo>
                  <a:pt x="504939" y="69646"/>
                  <a:pt x="499262" y="63969"/>
                  <a:pt x="492239" y="63969"/>
                </a:cubicBezTo>
                <a:close/>
                <a:moveTo>
                  <a:pt x="479539" y="508469"/>
                </a:moveTo>
                <a:lnTo>
                  <a:pt x="416039" y="508469"/>
                </a:lnTo>
                <a:cubicBezTo>
                  <a:pt x="409016" y="508469"/>
                  <a:pt x="403339" y="514146"/>
                  <a:pt x="403339" y="521169"/>
                </a:cubicBezTo>
                <a:lnTo>
                  <a:pt x="403339" y="584669"/>
                </a:lnTo>
                <a:lnTo>
                  <a:pt x="123939" y="584669"/>
                </a:lnTo>
                <a:lnTo>
                  <a:pt x="123939" y="89369"/>
                </a:lnTo>
                <a:lnTo>
                  <a:pt x="479539" y="89369"/>
                </a:lnTo>
                <a:close/>
                <a:moveTo>
                  <a:pt x="301739" y="432269"/>
                </a:moveTo>
                <a:cubicBezTo>
                  <a:pt x="371767" y="432269"/>
                  <a:pt x="428739" y="375285"/>
                  <a:pt x="428739" y="305269"/>
                </a:cubicBezTo>
                <a:cubicBezTo>
                  <a:pt x="428739" y="274815"/>
                  <a:pt x="417944" y="246849"/>
                  <a:pt x="400011" y="224942"/>
                </a:cubicBezTo>
                <a:lnTo>
                  <a:pt x="437718" y="187248"/>
                </a:lnTo>
                <a:cubicBezTo>
                  <a:pt x="442683" y="182283"/>
                  <a:pt x="442683" y="174244"/>
                  <a:pt x="437718" y="169291"/>
                </a:cubicBezTo>
                <a:cubicBezTo>
                  <a:pt x="432752" y="164325"/>
                  <a:pt x="424726" y="164325"/>
                  <a:pt x="419760" y="169291"/>
                </a:cubicBezTo>
                <a:lnTo>
                  <a:pt x="382054" y="206984"/>
                </a:lnTo>
                <a:cubicBezTo>
                  <a:pt x="360159" y="189052"/>
                  <a:pt x="332181" y="178269"/>
                  <a:pt x="301739" y="178269"/>
                </a:cubicBezTo>
                <a:cubicBezTo>
                  <a:pt x="231711" y="178269"/>
                  <a:pt x="174739" y="235242"/>
                  <a:pt x="174739" y="305269"/>
                </a:cubicBezTo>
                <a:cubicBezTo>
                  <a:pt x="174739" y="375285"/>
                  <a:pt x="231711" y="432269"/>
                  <a:pt x="301739" y="432269"/>
                </a:cubicBezTo>
                <a:close/>
                <a:moveTo>
                  <a:pt x="289039" y="204546"/>
                </a:moveTo>
                <a:lnTo>
                  <a:pt x="289039" y="305269"/>
                </a:lnTo>
                <a:cubicBezTo>
                  <a:pt x="289039" y="306933"/>
                  <a:pt x="289369" y="308559"/>
                  <a:pt x="290017" y="310121"/>
                </a:cubicBezTo>
                <a:cubicBezTo>
                  <a:pt x="291312" y="313232"/>
                  <a:pt x="293776" y="315696"/>
                  <a:pt x="296887" y="316991"/>
                </a:cubicBezTo>
                <a:cubicBezTo>
                  <a:pt x="298437" y="317626"/>
                  <a:pt x="300088" y="317969"/>
                  <a:pt x="301739" y="317969"/>
                </a:cubicBezTo>
                <a:lnTo>
                  <a:pt x="402463" y="317969"/>
                </a:lnTo>
                <a:cubicBezTo>
                  <a:pt x="396176" y="367995"/>
                  <a:pt x="353453" y="406869"/>
                  <a:pt x="301739" y="406869"/>
                </a:cubicBezTo>
                <a:cubicBezTo>
                  <a:pt x="245719" y="406869"/>
                  <a:pt x="200139" y="361289"/>
                  <a:pt x="200139" y="305269"/>
                </a:cubicBezTo>
                <a:cubicBezTo>
                  <a:pt x="200139" y="253542"/>
                  <a:pt x="239014" y="210832"/>
                  <a:pt x="289039" y="204546"/>
                </a:cubicBezTo>
                <a:close/>
                <a:moveTo>
                  <a:pt x="339839" y="508469"/>
                </a:moveTo>
                <a:lnTo>
                  <a:pt x="263639" y="508469"/>
                </a:lnTo>
                <a:cubicBezTo>
                  <a:pt x="256616" y="508469"/>
                  <a:pt x="250939" y="514146"/>
                  <a:pt x="250939" y="521169"/>
                </a:cubicBezTo>
                <a:cubicBezTo>
                  <a:pt x="250939" y="528180"/>
                  <a:pt x="256616" y="533869"/>
                  <a:pt x="263639" y="533869"/>
                </a:cubicBezTo>
                <a:lnTo>
                  <a:pt x="339839" y="533869"/>
                </a:lnTo>
                <a:cubicBezTo>
                  <a:pt x="346862" y="533869"/>
                  <a:pt x="352539" y="528180"/>
                  <a:pt x="352539" y="521169"/>
                </a:cubicBezTo>
                <a:cubicBezTo>
                  <a:pt x="352539" y="514146"/>
                  <a:pt x="346862" y="508469"/>
                  <a:pt x="339839" y="508469"/>
                </a:cubicBezTo>
                <a:close/>
                <a:moveTo>
                  <a:pt x="339839" y="457669"/>
                </a:moveTo>
                <a:lnTo>
                  <a:pt x="263639" y="457669"/>
                </a:lnTo>
                <a:cubicBezTo>
                  <a:pt x="256616" y="457669"/>
                  <a:pt x="250939" y="463346"/>
                  <a:pt x="250939" y="470369"/>
                </a:cubicBezTo>
                <a:cubicBezTo>
                  <a:pt x="250939" y="477380"/>
                  <a:pt x="256616" y="483069"/>
                  <a:pt x="263639" y="483069"/>
                </a:cubicBezTo>
                <a:lnTo>
                  <a:pt x="339839" y="483069"/>
                </a:lnTo>
                <a:cubicBezTo>
                  <a:pt x="346862" y="483069"/>
                  <a:pt x="352539" y="477380"/>
                  <a:pt x="352539" y="470369"/>
                </a:cubicBezTo>
                <a:cubicBezTo>
                  <a:pt x="352539" y="463346"/>
                  <a:pt x="346862" y="457669"/>
                  <a:pt x="339839" y="457669"/>
                </a:cubicBezTo>
                <a:close/>
                <a:moveTo>
                  <a:pt x="314439" y="204546"/>
                </a:moveTo>
                <a:cubicBezTo>
                  <a:pt x="332943" y="206870"/>
                  <a:pt x="349897" y="214185"/>
                  <a:pt x="363931" y="225107"/>
                </a:cubicBezTo>
                <a:lnTo>
                  <a:pt x="314439" y="274612"/>
                </a:lnTo>
                <a:close/>
                <a:moveTo>
                  <a:pt x="428739" y="566712"/>
                </a:moveTo>
                <a:lnTo>
                  <a:pt x="428739" y="533869"/>
                </a:lnTo>
                <a:lnTo>
                  <a:pt x="461581" y="533869"/>
                </a:lnTo>
                <a:close/>
                <a:moveTo>
                  <a:pt x="369443" y="28994"/>
                </a:moveTo>
                <a:lnTo>
                  <a:pt x="379984" y="63969"/>
                </a:lnTo>
                <a:lnTo>
                  <a:pt x="253339" y="63969"/>
                </a:lnTo>
                <a:close/>
                <a:moveTo>
                  <a:pt x="98539" y="362508"/>
                </a:moveTo>
                <a:lnTo>
                  <a:pt x="28956" y="131572"/>
                </a:lnTo>
                <a:lnTo>
                  <a:pt x="98539" y="110604"/>
                </a:lnTo>
                <a:close/>
                <a:moveTo>
                  <a:pt x="402463" y="292569"/>
                </a:moveTo>
                <a:lnTo>
                  <a:pt x="332397" y="292569"/>
                </a:lnTo>
                <a:lnTo>
                  <a:pt x="381901" y="243065"/>
                </a:lnTo>
                <a:cubicBezTo>
                  <a:pt x="392823" y="257124"/>
                  <a:pt x="400138" y="274065"/>
                  <a:pt x="402463" y="29256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 cmpd="sng">
            <a:noFill/>
            <a:prstDash val="solid"/>
            <a:miter lim="800000"/>
          </a:ln>
        </p:spPr>
        <p:txBody>
          <a:bodyPr wrap="square" anchor="ctr">
            <a:spAutoFit/>
          </a:bodyPr>
          <a:lstStyle/>
          <a:p>
            <a:pPr algn="ctr"/>
            <a:endParaRPr lang="en-GB" sz="108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F557543-863E-E0B6-D092-2D3199BB4047}"/>
              </a:ext>
            </a:extLst>
          </p:cNvPr>
          <p:cNvGrpSpPr/>
          <p:nvPr/>
        </p:nvGrpSpPr>
        <p:grpSpPr>
          <a:xfrm>
            <a:off x="4780850" y="2264199"/>
            <a:ext cx="464396" cy="464396"/>
            <a:chOff x="4348354" y="3399830"/>
            <a:chExt cx="464396" cy="464396"/>
          </a:xfrm>
        </p:grpSpPr>
        <p:sp>
          <p:nvSpPr>
            <p:cNvPr id="67" name="Flowchart: Connector 66">
              <a:extLst>
                <a:ext uri="{FF2B5EF4-FFF2-40B4-BE49-F238E27FC236}">
                  <a16:creationId xmlns:a16="http://schemas.microsoft.com/office/drawing/2014/main" id="{2C123314-3F18-D696-F5A8-2A488268AC3C}"/>
                </a:ext>
              </a:extLst>
            </p:cNvPr>
            <p:cNvSpPr/>
            <p:nvPr/>
          </p:nvSpPr>
          <p:spPr>
            <a:xfrm>
              <a:off x="4397103" y="3448580"/>
              <a:ext cx="366898" cy="366896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pic>
          <p:nvPicPr>
            <p:cNvPr id="68" name="Graphic 67" descr="Circle with left arrow outline">
              <a:extLst>
                <a:ext uri="{FF2B5EF4-FFF2-40B4-BE49-F238E27FC236}">
                  <a16:creationId xmlns:a16="http://schemas.microsoft.com/office/drawing/2014/main" id="{1E876578-C486-11F7-94E9-D559F97D1D5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48354" y="3399831"/>
              <a:ext cx="464396" cy="464394"/>
            </a:xfrm>
            <a:prstGeom prst="rect">
              <a:avLst/>
            </a:prstGeom>
          </p:spPr>
        </p:pic>
        <p:pic>
          <p:nvPicPr>
            <p:cNvPr id="69" name="Graphic 68" descr="Circle with left arrow outline">
              <a:extLst>
                <a:ext uri="{FF2B5EF4-FFF2-40B4-BE49-F238E27FC236}">
                  <a16:creationId xmlns:a16="http://schemas.microsoft.com/office/drawing/2014/main" id="{BD5A8570-8E89-EC11-1E49-24D53592D7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348354" y="3399830"/>
              <a:ext cx="464396" cy="464396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C386630-9EA3-CFCF-6598-2C187EC1FCE5}"/>
              </a:ext>
            </a:extLst>
          </p:cNvPr>
          <p:cNvGrpSpPr/>
          <p:nvPr/>
        </p:nvGrpSpPr>
        <p:grpSpPr>
          <a:xfrm>
            <a:off x="8025067" y="2264199"/>
            <a:ext cx="464396" cy="464396"/>
            <a:chOff x="4348354" y="3399830"/>
            <a:chExt cx="464396" cy="464396"/>
          </a:xfrm>
        </p:grpSpPr>
        <p:sp>
          <p:nvSpPr>
            <p:cNvPr id="71" name="Flowchart: Connector 70">
              <a:extLst>
                <a:ext uri="{FF2B5EF4-FFF2-40B4-BE49-F238E27FC236}">
                  <a16:creationId xmlns:a16="http://schemas.microsoft.com/office/drawing/2014/main" id="{5AC548E8-CDE0-7CB3-45F9-EC38297EFA37}"/>
                </a:ext>
              </a:extLst>
            </p:cNvPr>
            <p:cNvSpPr/>
            <p:nvPr/>
          </p:nvSpPr>
          <p:spPr>
            <a:xfrm>
              <a:off x="4397103" y="3448580"/>
              <a:ext cx="366898" cy="366896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pic>
          <p:nvPicPr>
            <p:cNvPr id="72" name="Graphic 71" descr="Circle with left arrow outline">
              <a:extLst>
                <a:ext uri="{FF2B5EF4-FFF2-40B4-BE49-F238E27FC236}">
                  <a16:creationId xmlns:a16="http://schemas.microsoft.com/office/drawing/2014/main" id="{7AEF7687-179A-7B79-5A88-8CF580647A2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48354" y="3399831"/>
              <a:ext cx="464396" cy="464394"/>
            </a:xfrm>
            <a:prstGeom prst="rect">
              <a:avLst/>
            </a:prstGeom>
          </p:spPr>
        </p:pic>
        <p:pic>
          <p:nvPicPr>
            <p:cNvPr id="73" name="Graphic 72" descr="Circle with left arrow outline">
              <a:extLst>
                <a:ext uri="{FF2B5EF4-FFF2-40B4-BE49-F238E27FC236}">
                  <a16:creationId xmlns:a16="http://schemas.microsoft.com/office/drawing/2014/main" id="{97A74728-D36F-5873-B494-4977277217F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348354" y="3399830"/>
              <a:ext cx="464396" cy="464396"/>
            </a:xfrm>
            <a:prstGeom prst="rect">
              <a:avLst/>
            </a:prstGeom>
          </p:spPr>
        </p:pic>
      </p:grp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11EB3A1A-103A-8156-6AFE-E65E869712FA}"/>
              </a:ext>
            </a:extLst>
          </p:cNvPr>
          <p:cNvSpPr/>
          <p:nvPr/>
        </p:nvSpPr>
        <p:spPr>
          <a:xfrm rot="10800000">
            <a:off x="8142097" y="1921647"/>
            <a:ext cx="243840" cy="97528"/>
          </a:xfrm>
          <a:prstGeom prst="triangl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19F4958-5D34-9D26-9085-CCA54AC5B058}"/>
              </a:ext>
            </a:extLst>
          </p:cNvPr>
          <p:cNvSpPr txBox="1"/>
          <p:nvPr/>
        </p:nvSpPr>
        <p:spPr>
          <a:xfrm>
            <a:off x="7714582" y="1627463"/>
            <a:ext cx="11199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i="1"/>
              <a:t>We ar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B51929-A592-C603-EA13-207C8F74C980}"/>
              </a:ext>
            </a:extLst>
          </p:cNvPr>
          <p:cNvSpPr txBox="1"/>
          <p:nvPr/>
        </p:nvSpPr>
        <p:spPr>
          <a:xfrm>
            <a:off x="8538661" y="2887234"/>
            <a:ext cx="279529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/>
              <a:t>Co-create highly-practical tools &amp; resources and embed in city-level decision making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179B67AE-5B5B-5977-69AA-F103EC045DE1}"/>
              </a:ext>
            </a:extLst>
          </p:cNvPr>
          <p:cNvSpPr/>
          <p:nvPr/>
        </p:nvSpPr>
        <p:spPr>
          <a:xfrm>
            <a:off x="2992324" y="5623034"/>
            <a:ext cx="7270190" cy="801441"/>
          </a:xfrm>
          <a:prstGeom prst="wedgeRectCallout">
            <a:avLst>
              <a:gd name="adj1" fmla="val 35279"/>
              <a:gd name="adj2" fmla="val -75125"/>
            </a:avLst>
          </a:prstGeom>
          <a:solidFill>
            <a:schemeClr val="bg2">
              <a:lumMod val="9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400">
                <a:solidFill>
                  <a:schemeClr val="accent2"/>
                </a:solidFill>
              </a:rPr>
              <a:t>City insights on common barriers and user needs will be crucial in designing tools that are fit for purpose across different contexts</a:t>
            </a:r>
            <a:endParaRPr lang="en-GB" sz="1400" noProof="0">
              <a:solidFill>
                <a:schemeClr val="accen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2025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2ED82C-D4CD-3BF6-D396-99F932616D0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2ED82C-D4CD-3BF6-D396-99F932616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D4FC8E-D1D3-5D4D-A8A2-1B72656BD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525636"/>
            <a:ext cx="11183936" cy="504000"/>
          </a:xfrm>
        </p:spPr>
        <p:txBody>
          <a:bodyPr vert="horz"/>
          <a:lstStyle/>
          <a:p>
            <a:r>
              <a:rPr lang="en-US"/>
              <a:t>The tools serve several use cases in urban decision-mak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B361DC-9D2D-9164-F4E7-B7E279BB7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/>
              <a:t>October 2025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FF6A75-DA72-064E-FC9F-728CA7E9B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CCE50B-7BB8-054C-5C22-A894471B9682}"/>
              </a:ext>
            </a:extLst>
          </p:cNvPr>
          <p:cNvSpPr/>
          <p:nvPr/>
        </p:nvSpPr>
        <p:spPr>
          <a:xfrm>
            <a:off x="688617" y="2354607"/>
            <a:ext cx="5188202" cy="3625166"/>
          </a:xfrm>
          <a:prstGeom prst="rect">
            <a:avLst/>
          </a:prstGeom>
          <a:solidFill>
            <a:srgbClr val="CDD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87062F-A194-BBF3-91E5-6DCACB312DE9}"/>
              </a:ext>
            </a:extLst>
          </p:cNvPr>
          <p:cNvSpPr/>
          <p:nvPr/>
        </p:nvSpPr>
        <p:spPr>
          <a:xfrm>
            <a:off x="6259287" y="2354607"/>
            <a:ext cx="5188202" cy="36251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F0DF6D9-D724-B1C8-3480-C3723DC9E94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10830122" y="5377863"/>
            <a:ext cx="802746" cy="78105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7CBD9767-AD32-9CDC-9B0F-D65D596ED13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3238" y="2180353"/>
            <a:ext cx="802746" cy="781050"/>
          </a:xfrm>
          <a:prstGeom prst="rect">
            <a:avLst/>
          </a:prstGeom>
        </p:spPr>
      </p:pic>
      <p:sp>
        <p:nvSpPr>
          <p:cNvPr id="22" name="11.27">
            <a:extLst>
              <a:ext uri="{FF2B5EF4-FFF2-40B4-BE49-F238E27FC236}">
                <a16:creationId xmlns:a16="http://schemas.microsoft.com/office/drawing/2014/main" id="{9467FE8C-69B2-BFEA-4932-C4B4F8228496}"/>
              </a:ext>
            </a:extLst>
          </p:cNvPr>
          <p:cNvSpPr/>
          <p:nvPr/>
        </p:nvSpPr>
        <p:spPr>
          <a:xfrm>
            <a:off x="5263836" y="2535323"/>
            <a:ext cx="386118" cy="353942"/>
          </a:xfrm>
          <a:custGeom>
            <a:avLst/>
            <a:gdLst/>
            <a:ahLst/>
            <a:cxnLst/>
            <a:rect l="0" t="0" r="0" b="0"/>
            <a:pathLst>
              <a:path w="609600" h="558800">
                <a:moveTo>
                  <a:pt x="571500" y="177800"/>
                </a:moveTo>
                <a:cubicBezTo>
                  <a:pt x="592505" y="177800"/>
                  <a:pt x="609600" y="160705"/>
                  <a:pt x="609600" y="139700"/>
                </a:cubicBezTo>
                <a:cubicBezTo>
                  <a:pt x="609600" y="123164"/>
                  <a:pt x="598944" y="109207"/>
                  <a:pt x="584200" y="103936"/>
                </a:cubicBezTo>
                <a:lnTo>
                  <a:pt x="584200" y="12700"/>
                </a:lnTo>
                <a:cubicBezTo>
                  <a:pt x="584200" y="5676"/>
                  <a:pt x="578523" y="0"/>
                  <a:pt x="571500" y="0"/>
                </a:cubicBezTo>
                <a:lnTo>
                  <a:pt x="38100" y="0"/>
                </a:lnTo>
                <a:cubicBezTo>
                  <a:pt x="31076" y="0"/>
                  <a:pt x="25400" y="5676"/>
                  <a:pt x="25400" y="12700"/>
                </a:cubicBezTo>
                <a:lnTo>
                  <a:pt x="25400" y="393700"/>
                </a:lnTo>
                <a:cubicBezTo>
                  <a:pt x="25400" y="400723"/>
                  <a:pt x="31076" y="406400"/>
                  <a:pt x="38100" y="406400"/>
                </a:cubicBezTo>
                <a:cubicBezTo>
                  <a:pt x="45123" y="406400"/>
                  <a:pt x="50800" y="400723"/>
                  <a:pt x="50800" y="393700"/>
                </a:cubicBezTo>
                <a:lnTo>
                  <a:pt x="50800" y="76200"/>
                </a:lnTo>
                <a:lnTo>
                  <a:pt x="558800" y="76200"/>
                </a:lnTo>
                <a:lnTo>
                  <a:pt x="558800" y="103936"/>
                </a:lnTo>
                <a:cubicBezTo>
                  <a:pt x="544055" y="109207"/>
                  <a:pt x="533400" y="123164"/>
                  <a:pt x="533400" y="139700"/>
                </a:cubicBezTo>
                <a:cubicBezTo>
                  <a:pt x="533400" y="145567"/>
                  <a:pt x="534835" y="151066"/>
                  <a:pt x="537222" y="156019"/>
                </a:cubicBezTo>
                <a:lnTo>
                  <a:pt x="384619" y="308622"/>
                </a:lnTo>
                <a:cubicBezTo>
                  <a:pt x="379666" y="306235"/>
                  <a:pt x="374167" y="304800"/>
                  <a:pt x="368300" y="304800"/>
                </a:cubicBezTo>
                <a:cubicBezTo>
                  <a:pt x="362432" y="304800"/>
                  <a:pt x="356933" y="306235"/>
                  <a:pt x="351980" y="308622"/>
                </a:cubicBezTo>
                <a:lnTo>
                  <a:pt x="300977" y="257619"/>
                </a:lnTo>
                <a:cubicBezTo>
                  <a:pt x="303364" y="252666"/>
                  <a:pt x="304800" y="247167"/>
                  <a:pt x="304800" y="241300"/>
                </a:cubicBezTo>
                <a:cubicBezTo>
                  <a:pt x="304800" y="220294"/>
                  <a:pt x="287705" y="203200"/>
                  <a:pt x="266700" y="203200"/>
                </a:cubicBezTo>
                <a:cubicBezTo>
                  <a:pt x="245694" y="203200"/>
                  <a:pt x="228600" y="220294"/>
                  <a:pt x="228600" y="241300"/>
                </a:cubicBezTo>
                <a:cubicBezTo>
                  <a:pt x="228600" y="247167"/>
                  <a:pt x="230035" y="252666"/>
                  <a:pt x="232422" y="257619"/>
                </a:cubicBezTo>
                <a:lnTo>
                  <a:pt x="54419" y="435622"/>
                </a:lnTo>
                <a:cubicBezTo>
                  <a:pt x="49466" y="433235"/>
                  <a:pt x="43967" y="431800"/>
                  <a:pt x="38100" y="431800"/>
                </a:cubicBezTo>
                <a:cubicBezTo>
                  <a:pt x="17094" y="431800"/>
                  <a:pt x="0" y="448894"/>
                  <a:pt x="0" y="469900"/>
                </a:cubicBezTo>
                <a:cubicBezTo>
                  <a:pt x="0" y="486435"/>
                  <a:pt x="10655" y="500392"/>
                  <a:pt x="25400" y="505650"/>
                </a:cubicBezTo>
                <a:lnTo>
                  <a:pt x="25400" y="546100"/>
                </a:lnTo>
                <a:cubicBezTo>
                  <a:pt x="25400" y="553123"/>
                  <a:pt x="31076" y="558800"/>
                  <a:pt x="38100" y="558800"/>
                </a:cubicBezTo>
                <a:lnTo>
                  <a:pt x="571500" y="558800"/>
                </a:lnTo>
                <a:cubicBezTo>
                  <a:pt x="578523" y="558800"/>
                  <a:pt x="584200" y="553123"/>
                  <a:pt x="584200" y="546100"/>
                </a:cubicBezTo>
                <a:lnTo>
                  <a:pt x="584200" y="215900"/>
                </a:lnTo>
                <a:cubicBezTo>
                  <a:pt x="584200" y="208876"/>
                  <a:pt x="578523" y="203200"/>
                  <a:pt x="571500" y="203200"/>
                </a:cubicBezTo>
                <a:cubicBezTo>
                  <a:pt x="564476" y="203200"/>
                  <a:pt x="558800" y="208876"/>
                  <a:pt x="558800" y="215900"/>
                </a:cubicBezTo>
                <a:lnTo>
                  <a:pt x="558800" y="533400"/>
                </a:lnTo>
                <a:lnTo>
                  <a:pt x="50800" y="533400"/>
                </a:lnTo>
                <a:lnTo>
                  <a:pt x="50800" y="505663"/>
                </a:lnTo>
                <a:cubicBezTo>
                  <a:pt x="65544" y="500392"/>
                  <a:pt x="76200" y="486435"/>
                  <a:pt x="76200" y="469900"/>
                </a:cubicBezTo>
                <a:cubicBezTo>
                  <a:pt x="76200" y="464032"/>
                  <a:pt x="74764" y="458533"/>
                  <a:pt x="72377" y="453580"/>
                </a:cubicBezTo>
                <a:lnTo>
                  <a:pt x="250380" y="275577"/>
                </a:lnTo>
                <a:cubicBezTo>
                  <a:pt x="255333" y="277964"/>
                  <a:pt x="260832" y="279400"/>
                  <a:pt x="266700" y="279400"/>
                </a:cubicBezTo>
                <a:cubicBezTo>
                  <a:pt x="272567" y="279400"/>
                  <a:pt x="278066" y="277964"/>
                  <a:pt x="283019" y="275577"/>
                </a:cubicBezTo>
                <a:lnTo>
                  <a:pt x="334022" y="326580"/>
                </a:lnTo>
                <a:cubicBezTo>
                  <a:pt x="331635" y="331533"/>
                  <a:pt x="330200" y="337032"/>
                  <a:pt x="330200" y="342900"/>
                </a:cubicBezTo>
                <a:cubicBezTo>
                  <a:pt x="330200" y="363905"/>
                  <a:pt x="347294" y="381000"/>
                  <a:pt x="368300" y="381000"/>
                </a:cubicBezTo>
                <a:cubicBezTo>
                  <a:pt x="389305" y="381000"/>
                  <a:pt x="406400" y="363905"/>
                  <a:pt x="406400" y="342900"/>
                </a:cubicBezTo>
                <a:cubicBezTo>
                  <a:pt x="406400" y="337032"/>
                  <a:pt x="404964" y="331533"/>
                  <a:pt x="402577" y="326580"/>
                </a:cubicBezTo>
                <a:lnTo>
                  <a:pt x="555180" y="173977"/>
                </a:lnTo>
                <a:cubicBezTo>
                  <a:pt x="560133" y="176364"/>
                  <a:pt x="565632" y="177800"/>
                  <a:pt x="571500" y="177800"/>
                </a:cubicBezTo>
                <a:close/>
                <a:moveTo>
                  <a:pt x="469900" y="317500"/>
                </a:moveTo>
                <a:cubicBezTo>
                  <a:pt x="469900" y="324523"/>
                  <a:pt x="475576" y="330200"/>
                  <a:pt x="482600" y="330200"/>
                </a:cubicBezTo>
                <a:cubicBezTo>
                  <a:pt x="489623" y="330200"/>
                  <a:pt x="495300" y="324523"/>
                  <a:pt x="495300" y="317500"/>
                </a:cubicBezTo>
                <a:cubicBezTo>
                  <a:pt x="495300" y="310476"/>
                  <a:pt x="489623" y="304800"/>
                  <a:pt x="482600" y="304800"/>
                </a:cubicBezTo>
                <a:cubicBezTo>
                  <a:pt x="475576" y="304800"/>
                  <a:pt x="469900" y="310476"/>
                  <a:pt x="469900" y="317500"/>
                </a:cubicBezTo>
                <a:close/>
                <a:moveTo>
                  <a:pt x="431800" y="355600"/>
                </a:moveTo>
                <a:cubicBezTo>
                  <a:pt x="431800" y="362623"/>
                  <a:pt x="437476" y="368300"/>
                  <a:pt x="444500" y="368300"/>
                </a:cubicBezTo>
                <a:cubicBezTo>
                  <a:pt x="451523" y="368300"/>
                  <a:pt x="457200" y="362623"/>
                  <a:pt x="457200" y="355600"/>
                </a:cubicBezTo>
                <a:cubicBezTo>
                  <a:pt x="457200" y="348576"/>
                  <a:pt x="451523" y="342900"/>
                  <a:pt x="444500" y="342900"/>
                </a:cubicBezTo>
                <a:cubicBezTo>
                  <a:pt x="437476" y="342900"/>
                  <a:pt x="431800" y="348576"/>
                  <a:pt x="431800" y="355600"/>
                </a:cubicBezTo>
                <a:close/>
                <a:moveTo>
                  <a:pt x="393700" y="393700"/>
                </a:moveTo>
                <a:cubicBezTo>
                  <a:pt x="393700" y="400723"/>
                  <a:pt x="399376" y="406400"/>
                  <a:pt x="406400" y="406400"/>
                </a:cubicBezTo>
                <a:cubicBezTo>
                  <a:pt x="413423" y="406400"/>
                  <a:pt x="419100" y="400723"/>
                  <a:pt x="419100" y="393700"/>
                </a:cubicBezTo>
                <a:cubicBezTo>
                  <a:pt x="419100" y="386676"/>
                  <a:pt x="413423" y="381000"/>
                  <a:pt x="406400" y="381000"/>
                </a:cubicBezTo>
                <a:cubicBezTo>
                  <a:pt x="399376" y="381000"/>
                  <a:pt x="393700" y="386676"/>
                  <a:pt x="393700" y="393700"/>
                </a:cubicBezTo>
                <a:close/>
                <a:moveTo>
                  <a:pt x="241300" y="317500"/>
                </a:moveTo>
                <a:cubicBezTo>
                  <a:pt x="241300" y="324523"/>
                  <a:pt x="246976" y="330200"/>
                  <a:pt x="254000" y="330200"/>
                </a:cubicBezTo>
                <a:cubicBezTo>
                  <a:pt x="261023" y="330200"/>
                  <a:pt x="266700" y="324523"/>
                  <a:pt x="266700" y="317500"/>
                </a:cubicBezTo>
                <a:cubicBezTo>
                  <a:pt x="266700" y="310476"/>
                  <a:pt x="261023" y="304800"/>
                  <a:pt x="254000" y="304800"/>
                </a:cubicBezTo>
                <a:cubicBezTo>
                  <a:pt x="246976" y="304800"/>
                  <a:pt x="241300" y="310476"/>
                  <a:pt x="241300" y="317500"/>
                </a:cubicBezTo>
                <a:close/>
                <a:moveTo>
                  <a:pt x="88900" y="469900"/>
                </a:moveTo>
                <a:cubicBezTo>
                  <a:pt x="88900" y="476923"/>
                  <a:pt x="94576" y="482600"/>
                  <a:pt x="101600" y="482600"/>
                </a:cubicBezTo>
                <a:cubicBezTo>
                  <a:pt x="108623" y="482600"/>
                  <a:pt x="114300" y="476923"/>
                  <a:pt x="114300" y="469900"/>
                </a:cubicBezTo>
                <a:cubicBezTo>
                  <a:pt x="114300" y="462876"/>
                  <a:pt x="108623" y="457200"/>
                  <a:pt x="101600" y="457200"/>
                </a:cubicBezTo>
                <a:cubicBezTo>
                  <a:pt x="94576" y="457200"/>
                  <a:pt x="88900" y="462876"/>
                  <a:pt x="88900" y="469900"/>
                </a:cubicBezTo>
                <a:close/>
                <a:moveTo>
                  <a:pt x="127000" y="431800"/>
                </a:moveTo>
                <a:cubicBezTo>
                  <a:pt x="127000" y="438823"/>
                  <a:pt x="132676" y="444500"/>
                  <a:pt x="139700" y="444500"/>
                </a:cubicBezTo>
                <a:cubicBezTo>
                  <a:pt x="146723" y="444500"/>
                  <a:pt x="152400" y="438823"/>
                  <a:pt x="152400" y="431800"/>
                </a:cubicBezTo>
                <a:cubicBezTo>
                  <a:pt x="152400" y="424776"/>
                  <a:pt x="146723" y="419100"/>
                  <a:pt x="139700" y="419100"/>
                </a:cubicBezTo>
                <a:cubicBezTo>
                  <a:pt x="132676" y="419100"/>
                  <a:pt x="127000" y="424776"/>
                  <a:pt x="127000" y="431800"/>
                </a:cubicBezTo>
                <a:close/>
                <a:moveTo>
                  <a:pt x="165100" y="393700"/>
                </a:moveTo>
                <a:cubicBezTo>
                  <a:pt x="165100" y="400723"/>
                  <a:pt x="170776" y="406400"/>
                  <a:pt x="177800" y="406400"/>
                </a:cubicBezTo>
                <a:cubicBezTo>
                  <a:pt x="184823" y="406400"/>
                  <a:pt x="190500" y="400723"/>
                  <a:pt x="190500" y="393700"/>
                </a:cubicBezTo>
                <a:cubicBezTo>
                  <a:pt x="190500" y="386676"/>
                  <a:pt x="184823" y="381000"/>
                  <a:pt x="177800" y="381000"/>
                </a:cubicBezTo>
                <a:cubicBezTo>
                  <a:pt x="170776" y="381000"/>
                  <a:pt x="165100" y="386676"/>
                  <a:pt x="165100" y="393700"/>
                </a:cubicBezTo>
                <a:close/>
                <a:moveTo>
                  <a:pt x="203200" y="355600"/>
                </a:moveTo>
                <a:cubicBezTo>
                  <a:pt x="203200" y="362623"/>
                  <a:pt x="208876" y="368300"/>
                  <a:pt x="215900" y="368300"/>
                </a:cubicBezTo>
                <a:cubicBezTo>
                  <a:pt x="222923" y="368300"/>
                  <a:pt x="228600" y="362623"/>
                  <a:pt x="228600" y="355600"/>
                </a:cubicBezTo>
                <a:cubicBezTo>
                  <a:pt x="228600" y="348576"/>
                  <a:pt x="222923" y="342900"/>
                  <a:pt x="215900" y="342900"/>
                </a:cubicBezTo>
                <a:cubicBezTo>
                  <a:pt x="208876" y="342900"/>
                  <a:pt x="203200" y="348576"/>
                  <a:pt x="203200" y="355600"/>
                </a:cubicBezTo>
                <a:close/>
                <a:moveTo>
                  <a:pt x="279400" y="355600"/>
                </a:moveTo>
                <a:cubicBezTo>
                  <a:pt x="279400" y="362623"/>
                  <a:pt x="285076" y="368300"/>
                  <a:pt x="292100" y="368300"/>
                </a:cubicBezTo>
                <a:cubicBezTo>
                  <a:pt x="299123" y="368300"/>
                  <a:pt x="304800" y="362623"/>
                  <a:pt x="304800" y="355600"/>
                </a:cubicBezTo>
                <a:cubicBezTo>
                  <a:pt x="304800" y="348576"/>
                  <a:pt x="299123" y="342900"/>
                  <a:pt x="292100" y="342900"/>
                </a:cubicBezTo>
                <a:cubicBezTo>
                  <a:pt x="285076" y="342900"/>
                  <a:pt x="279400" y="348576"/>
                  <a:pt x="279400" y="355600"/>
                </a:cubicBezTo>
                <a:close/>
                <a:moveTo>
                  <a:pt x="330200" y="381000"/>
                </a:moveTo>
                <a:cubicBezTo>
                  <a:pt x="323176" y="381000"/>
                  <a:pt x="317500" y="386676"/>
                  <a:pt x="317500" y="393700"/>
                </a:cubicBezTo>
                <a:cubicBezTo>
                  <a:pt x="317500" y="400723"/>
                  <a:pt x="323176" y="406400"/>
                  <a:pt x="330200" y="406400"/>
                </a:cubicBezTo>
                <a:cubicBezTo>
                  <a:pt x="337223" y="406400"/>
                  <a:pt x="342900" y="400723"/>
                  <a:pt x="342900" y="393700"/>
                </a:cubicBezTo>
                <a:cubicBezTo>
                  <a:pt x="342900" y="386676"/>
                  <a:pt x="337223" y="381000"/>
                  <a:pt x="330200" y="381000"/>
                </a:cubicBezTo>
                <a:close/>
                <a:moveTo>
                  <a:pt x="355600" y="431800"/>
                </a:moveTo>
                <a:cubicBezTo>
                  <a:pt x="355600" y="438823"/>
                  <a:pt x="361276" y="444500"/>
                  <a:pt x="368300" y="444500"/>
                </a:cubicBezTo>
                <a:cubicBezTo>
                  <a:pt x="375323" y="444500"/>
                  <a:pt x="381000" y="438823"/>
                  <a:pt x="381000" y="431800"/>
                </a:cubicBezTo>
                <a:cubicBezTo>
                  <a:pt x="381000" y="424776"/>
                  <a:pt x="375323" y="419100"/>
                  <a:pt x="368300" y="419100"/>
                </a:cubicBezTo>
                <a:cubicBezTo>
                  <a:pt x="361276" y="419100"/>
                  <a:pt x="355600" y="424776"/>
                  <a:pt x="355600" y="431800"/>
                </a:cubicBezTo>
                <a:close/>
                <a:moveTo>
                  <a:pt x="368300" y="355600"/>
                </a:moveTo>
                <a:cubicBezTo>
                  <a:pt x="361302" y="355600"/>
                  <a:pt x="355600" y="349910"/>
                  <a:pt x="355600" y="342900"/>
                </a:cubicBezTo>
                <a:cubicBezTo>
                  <a:pt x="355600" y="335889"/>
                  <a:pt x="361302" y="330200"/>
                  <a:pt x="368300" y="330200"/>
                </a:cubicBezTo>
                <a:cubicBezTo>
                  <a:pt x="375297" y="330200"/>
                  <a:pt x="381000" y="335889"/>
                  <a:pt x="381000" y="342900"/>
                </a:cubicBezTo>
                <a:cubicBezTo>
                  <a:pt x="381000" y="349910"/>
                  <a:pt x="375297" y="355600"/>
                  <a:pt x="368300" y="355600"/>
                </a:cubicBezTo>
                <a:close/>
                <a:moveTo>
                  <a:pt x="266700" y="254000"/>
                </a:moveTo>
                <a:cubicBezTo>
                  <a:pt x="259702" y="254000"/>
                  <a:pt x="254000" y="248310"/>
                  <a:pt x="254000" y="241300"/>
                </a:cubicBezTo>
                <a:cubicBezTo>
                  <a:pt x="254000" y="234289"/>
                  <a:pt x="259702" y="228600"/>
                  <a:pt x="266700" y="228600"/>
                </a:cubicBezTo>
                <a:cubicBezTo>
                  <a:pt x="273697" y="228600"/>
                  <a:pt x="279400" y="234289"/>
                  <a:pt x="279400" y="241300"/>
                </a:cubicBezTo>
                <a:cubicBezTo>
                  <a:pt x="279400" y="248310"/>
                  <a:pt x="273697" y="254000"/>
                  <a:pt x="266700" y="254000"/>
                </a:cubicBezTo>
                <a:close/>
                <a:moveTo>
                  <a:pt x="38100" y="482600"/>
                </a:moveTo>
                <a:cubicBezTo>
                  <a:pt x="31102" y="482600"/>
                  <a:pt x="25400" y="476910"/>
                  <a:pt x="25400" y="469900"/>
                </a:cubicBezTo>
                <a:cubicBezTo>
                  <a:pt x="25400" y="462889"/>
                  <a:pt x="31102" y="457200"/>
                  <a:pt x="38100" y="457200"/>
                </a:cubicBezTo>
                <a:cubicBezTo>
                  <a:pt x="45097" y="457200"/>
                  <a:pt x="50800" y="462889"/>
                  <a:pt x="50800" y="469900"/>
                </a:cubicBezTo>
                <a:cubicBezTo>
                  <a:pt x="50800" y="476910"/>
                  <a:pt x="45097" y="482600"/>
                  <a:pt x="38100" y="482600"/>
                </a:cubicBezTo>
                <a:close/>
                <a:moveTo>
                  <a:pt x="571500" y="127000"/>
                </a:moveTo>
                <a:cubicBezTo>
                  <a:pt x="578497" y="127000"/>
                  <a:pt x="584200" y="132689"/>
                  <a:pt x="584200" y="139700"/>
                </a:cubicBezTo>
                <a:cubicBezTo>
                  <a:pt x="584200" y="146710"/>
                  <a:pt x="578497" y="152400"/>
                  <a:pt x="571500" y="152400"/>
                </a:cubicBezTo>
                <a:cubicBezTo>
                  <a:pt x="564502" y="152400"/>
                  <a:pt x="558800" y="146710"/>
                  <a:pt x="558800" y="139700"/>
                </a:cubicBezTo>
                <a:cubicBezTo>
                  <a:pt x="558800" y="132689"/>
                  <a:pt x="564502" y="127000"/>
                  <a:pt x="571500" y="127000"/>
                </a:cubicBezTo>
                <a:close/>
                <a:moveTo>
                  <a:pt x="50800" y="50800"/>
                </a:moveTo>
                <a:lnTo>
                  <a:pt x="50800" y="25400"/>
                </a:lnTo>
                <a:lnTo>
                  <a:pt x="558800" y="25400"/>
                </a:lnTo>
                <a:lnTo>
                  <a:pt x="558800" y="50800"/>
                </a:lnTo>
                <a:close/>
                <a:moveTo>
                  <a:pt x="508000" y="279400"/>
                </a:moveTo>
                <a:cubicBezTo>
                  <a:pt x="508000" y="286423"/>
                  <a:pt x="513676" y="292100"/>
                  <a:pt x="520700" y="292100"/>
                </a:cubicBezTo>
                <a:cubicBezTo>
                  <a:pt x="527723" y="292100"/>
                  <a:pt x="533400" y="286423"/>
                  <a:pt x="533400" y="279400"/>
                </a:cubicBezTo>
                <a:cubicBezTo>
                  <a:pt x="533400" y="272376"/>
                  <a:pt x="527723" y="266700"/>
                  <a:pt x="520700" y="266700"/>
                </a:cubicBezTo>
                <a:cubicBezTo>
                  <a:pt x="513676" y="266700"/>
                  <a:pt x="508000" y="272376"/>
                  <a:pt x="508000" y="279400"/>
                </a:cubicBezTo>
                <a:close/>
              </a:path>
            </a:pathLst>
          </a:custGeom>
          <a:solidFill>
            <a:schemeClr val="tx2"/>
          </a:solidFill>
          <a:ln w="12700" cap="flat" cmpd="sng">
            <a:noFill/>
            <a:prstDash val="solid"/>
            <a:miter lim="800000"/>
          </a:ln>
        </p:spPr>
        <p:txBody>
          <a:bodyPr wrap="square" anchor="ctr">
            <a:spAutoFit/>
          </a:bodyPr>
          <a:lstStyle/>
          <a:p>
            <a:pPr algn="ctr"/>
            <a:endParaRPr lang="en-GB" sz="1080"/>
          </a:p>
        </p:txBody>
      </p:sp>
      <p:sp>
        <p:nvSpPr>
          <p:cNvPr id="23" name="15.8">
            <a:extLst>
              <a:ext uri="{FF2B5EF4-FFF2-40B4-BE49-F238E27FC236}">
                <a16:creationId xmlns:a16="http://schemas.microsoft.com/office/drawing/2014/main" id="{1E28F1D3-463E-B870-B6A6-F6EC84169651}"/>
              </a:ext>
            </a:extLst>
          </p:cNvPr>
          <p:cNvSpPr/>
          <p:nvPr/>
        </p:nvSpPr>
        <p:spPr>
          <a:xfrm>
            <a:off x="10800142" y="2513793"/>
            <a:ext cx="386118" cy="386118"/>
          </a:xfrm>
          <a:custGeom>
            <a:avLst/>
            <a:gdLst/>
            <a:ahLst/>
            <a:cxnLst/>
            <a:rect l="0" t="0" r="0" b="0"/>
            <a:pathLst>
              <a:path w="609600" h="609600">
                <a:moveTo>
                  <a:pt x="233451" y="69723"/>
                </a:moveTo>
                <a:cubicBezTo>
                  <a:pt x="235623" y="74295"/>
                  <a:pt x="240182" y="76974"/>
                  <a:pt x="244932" y="76974"/>
                </a:cubicBezTo>
                <a:cubicBezTo>
                  <a:pt x="246748" y="76974"/>
                  <a:pt x="248602" y="76580"/>
                  <a:pt x="250367" y="75755"/>
                </a:cubicBezTo>
                <a:cubicBezTo>
                  <a:pt x="256705" y="72745"/>
                  <a:pt x="259397" y="65176"/>
                  <a:pt x="256400" y="58839"/>
                </a:cubicBezTo>
                <a:lnTo>
                  <a:pt x="240068" y="24409"/>
                </a:lnTo>
                <a:cubicBezTo>
                  <a:pt x="237058" y="18072"/>
                  <a:pt x="229501" y="15392"/>
                  <a:pt x="223151" y="18376"/>
                </a:cubicBezTo>
                <a:cubicBezTo>
                  <a:pt x="216814" y="21374"/>
                  <a:pt x="214122" y="28955"/>
                  <a:pt x="217119" y="35293"/>
                </a:cubicBezTo>
                <a:close/>
                <a:moveTo>
                  <a:pt x="359219" y="75755"/>
                </a:moveTo>
                <a:cubicBezTo>
                  <a:pt x="360984" y="76580"/>
                  <a:pt x="362838" y="76974"/>
                  <a:pt x="364667" y="76974"/>
                </a:cubicBezTo>
                <a:cubicBezTo>
                  <a:pt x="369417" y="76974"/>
                  <a:pt x="373964" y="74295"/>
                  <a:pt x="376135" y="69723"/>
                </a:cubicBezTo>
                <a:lnTo>
                  <a:pt x="392468" y="35293"/>
                </a:lnTo>
                <a:cubicBezTo>
                  <a:pt x="395477" y="28955"/>
                  <a:pt x="392772" y="21374"/>
                  <a:pt x="386435" y="18376"/>
                </a:cubicBezTo>
                <a:cubicBezTo>
                  <a:pt x="380085" y="15392"/>
                  <a:pt x="372529" y="18072"/>
                  <a:pt x="369519" y="24409"/>
                </a:cubicBezTo>
                <a:lnTo>
                  <a:pt x="353199" y="58839"/>
                </a:lnTo>
                <a:cubicBezTo>
                  <a:pt x="350189" y="65176"/>
                  <a:pt x="352882" y="72745"/>
                  <a:pt x="359219" y="75755"/>
                </a:cubicBezTo>
                <a:close/>
                <a:moveTo>
                  <a:pt x="304800" y="63500"/>
                </a:moveTo>
                <a:cubicBezTo>
                  <a:pt x="311810" y="63500"/>
                  <a:pt x="317500" y="57823"/>
                  <a:pt x="317500" y="50800"/>
                </a:cubicBezTo>
                <a:lnTo>
                  <a:pt x="317500" y="12700"/>
                </a:lnTo>
                <a:cubicBezTo>
                  <a:pt x="317500" y="5676"/>
                  <a:pt x="311810" y="0"/>
                  <a:pt x="304800" y="0"/>
                </a:cubicBezTo>
                <a:cubicBezTo>
                  <a:pt x="297776" y="0"/>
                  <a:pt x="292100" y="5676"/>
                  <a:pt x="292100" y="12700"/>
                </a:cubicBezTo>
                <a:lnTo>
                  <a:pt x="292100" y="50800"/>
                </a:lnTo>
                <a:cubicBezTo>
                  <a:pt x="292100" y="57823"/>
                  <a:pt x="297776" y="63500"/>
                  <a:pt x="304800" y="63500"/>
                </a:cubicBezTo>
                <a:close/>
                <a:moveTo>
                  <a:pt x="596900" y="139700"/>
                </a:moveTo>
                <a:cubicBezTo>
                  <a:pt x="528993" y="139700"/>
                  <a:pt x="468274" y="143395"/>
                  <a:pt x="420281" y="150329"/>
                </a:cubicBezTo>
                <a:cubicBezTo>
                  <a:pt x="413931" y="140931"/>
                  <a:pt x="406552" y="132194"/>
                  <a:pt x="397967" y="124498"/>
                </a:cubicBezTo>
                <a:cubicBezTo>
                  <a:pt x="368414" y="98044"/>
                  <a:pt x="328688" y="85394"/>
                  <a:pt x="288937" y="89776"/>
                </a:cubicBezTo>
                <a:cubicBezTo>
                  <a:pt x="248005" y="94297"/>
                  <a:pt x="211848" y="117449"/>
                  <a:pt x="189344" y="150329"/>
                </a:cubicBezTo>
                <a:cubicBezTo>
                  <a:pt x="141350" y="143395"/>
                  <a:pt x="80619" y="139700"/>
                  <a:pt x="12700" y="139700"/>
                </a:cubicBezTo>
                <a:cubicBezTo>
                  <a:pt x="5676" y="139700"/>
                  <a:pt x="0" y="145376"/>
                  <a:pt x="0" y="152400"/>
                </a:cubicBezTo>
                <a:lnTo>
                  <a:pt x="0" y="596900"/>
                </a:lnTo>
                <a:cubicBezTo>
                  <a:pt x="0" y="603923"/>
                  <a:pt x="5676" y="609600"/>
                  <a:pt x="12700" y="609600"/>
                </a:cubicBezTo>
                <a:lnTo>
                  <a:pt x="596900" y="609600"/>
                </a:lnTo>
                <a:cubicBezTo>
                  <a:pt x="603910" y="609600"/>
                  <a:pt x="609600" y="603923"/>
                  <a:pt x="609600" y="596900"/>
                </a:cubicBezTo>
                <a:lnTo>
                  <a:pt x="609600" y="152400"/>
                </a:lnTo>
                <a:cubicBezTo>
                  <a:pt x="609600" y="145376"/>
                  <a:pt x="603910" y="139700"/>
                  <a:pt x="596900" y="139700"/>
                </a:cubicBezTo>
                <a:close/>
                <a:moveTo>
                  <a:pt x="584200" y="584200"/>
                </a:moveTo>
                <a:lnTo>
                  <a:pt x="354787" y="584200"/>
                </a:lnTo>
                <a:cubicBezTo>
                  <a:pt x="402297" y="568490"/>
                  <a:pt x="481698" y="559562"/>
                  <a:pt x="584200" y="558901"/>
                </a:cubicBezTo>
                <a:close/>
                <a:moveTo>
                  <a:pt x="25400" y="584200"/>
                </a:moveTo>
                <a:lnTo>
                  <a:pt x="25400" y="558901"/>
                </a:lnTo>
                <a:cubicBezTo>
                  <a:pt x="127888" y="559562"/>
                  <a:pt x="207289" y="568490"/>
                  <a:pt x="254800" y="584200"/>
                </a:cubicBezTo>
                <a:close/>
                <a:moveTo>
                  <a:pt x="191630" y="212293"/>
                </a:moveTo>
                <a:cubicBezTo>
                  <a:pt x="198615" y="161556"/>
                  <a:pt x="240715" y="120662"/>
                  <a:pt x="291719" y="115023"/>
                </a:cubicBezTo>
                <a:cubicBezTo>
                  <a:pt x="324840" y="111353"/>
                  <a:pt x="356501" y="121462"/>
                  <a:pt x="381025" y="143421"/>
                </a:cubicBezTo>
                <a:cubicBezTo>
                  <a:pt x="405218" y="165100"/>
                  <a:pt x="419100" y="196138"/>
                  <a:pt x="419100" y="228600"/>
                </a:cubicBezTo>
                <a:cubicBezTo>
                  <a:pt x="419100" y="265582"/>
                  <a:pt x="401015" y="300456"/>
                  <a:pt x="370751" y="321881"/>
                </a:cubicBezTo>
                <a:cubicBezTo>
                  <a:pt x="353313" y="334225"/>
                  <a:pt x="342900" y="353860"/>
                  <a:pt x="342900" y="374383"/>
                </a:cubicBezTo>
                <a:lnTo>
                  <a:pt x="342900" y="381000"/>
                </a:lnTo>
                <a:lnTo>
                  <a:pt x="317512" y="381000"/>
                </a:lnTo>
                <a:cubicBezTo>
                  <a:pt x="317690" y="329806"/>
                  <a:pt x="320078" y="318287"/>
                  <a:pt x="353047" y="274307"/>
                </a:cubicBezTo>
                <a:cubicBezTo>
                  <a:pt x="357263" y="268706"/>
                  <a:pt x="356133" y="260743"/>
                  <a:pt x="350520" y="256539"/>
                </a:cubicBezTo>
                <a:cubicBezTo>
                  <a:pt x="344893" y="252336"/>
                  <a:pt x="336943" y="253479"/>
                  <a:pt x="332739" y="259080"/>
                </a:cubicBezTo>
                <a:cubicBezTo>
                  <a:pt x="319646" y="276542"/>
                  <a:pt x="310807" y="289966"/>
                  <a:pt x="304800" y="302310"/>
                </a:cubicBezTo>
                <a:cubicBezTo>
                  <a:pt x="298780" y="289966"/>
                  <a:pt x="289940" y="276542"/>
                  <a:pt x="276847" y="259080"/>
                </a:cubicBezTo>
                <a:cubicBezTo>
                  <a:pt x="272656" y="253479"/>
                  <a:pt x="264706" y="252336"/>
                  <a:pt x="259079" y="256539"/>
                </a:cubicBezTo>
                <a:cubicBezTo>
                  <a:pt x="253466" y="260743"/>
                  <a:pt x="252323" y="268706"/>
                  <a:pt x="256539" y="274307"/>
                </a:cubicBezTo>
                <a:cubicBezTo>
                  <a:pt x="289521" y="318287"/>
                  <a:pt x="291909" y="329806"/>
                  <a:pt x="292074" y="381000"/>
                </a:cubicBezTo>
                <a:lnTo>
                  <a:pt x="266700" y="381000"/>
                </a:lnTo>
                <a:lnTo>
                  <a:pt x="266700" y="374345"/>
                </a:lnTo>
                <a:cubicBezTo>
                  <a:pt x="266700" y="353745"/>
                  <a:pt x="256387" y="334213"/>
                  <a:pt x="239140" y="322097"/>
                </a:cubicBezTo>
                <a:cubicBezTo>
                  <a:pt x="203911" y="297332"/>
                  <a:pt x="185699" y="255244"/>
                  <a:pt x="191630" y="212293"/>
                </a:cubicBezTo>
                <a:close/>
                <a:moveTo>
                  <a:pt x="584200" y="533438"/>
                </a:moveTo>
                <a:cubicBezTo>
                  <a:pt x="488416" y="534060"/>
                  <a:pt x="374319" y="541972"/>
                  <a:pt x="317500" y="572414"/>
                </a:cubicBezTo>
                <a:lnTo>
                  <a:pt x="317500" y="482600"/>
                </a:lnTo>
                <a:lnTo>
                  <a:pt x="355600" y="482600"/>
                </a:lnTo>
                <a:cubicBezTo>
                  <a:pt x="362610" y="482600"/>
                  <a:pt x="368300" y="476923"/>
                  <a:pt x="368300" y="469900"/>
                </a:cubicBezTo>
                <a:cubicBezTo>
                  <a:pt x="368300" y="462876"/>
                  <a:pt x="362610" y="457200"/>
                  <a:pt x="355600" y="457200"/>
                </a:cubicBezTo>
                <a:lnTo>
                  <a:pt x="254000" y="457200"/>
                </a:lnTo>
                <a:cubicBezTo>
                  <a:pt x="246976" y="457200"/>
                  <a:pt x="241300" y="462876"/>
                  <a:pt x="241300" y="469900"/>
                </a:cubicBezTo>
                <a:cubicBezTo>
                  <a:pt x="241300" y="476923"/>
                  <a:pt x="246976" y="482600"/>
                  <a:pt x="254000" y="482600"/>
                </a:cubicBezTo>
                <a:lnTo>
                  <a:pt x="292100" y="482600"/>
                </a:lnTo>
                <a:lnTo>
                  <a:pt x="292100" y="572414"/>
                </a:lnTo>
                <a:cubicBezTo>
                  <a:pt x="235280" y="541972"/>
                  <a:pt x="121170" y="534060"/>
                  <a:pt x="25400" y="533438"/>
                </a:cubicBezTo>
                <a:lnTo>
                  <a:pt x="25400" y="165150"/>
                </a:lnTo>
                <a:cubicBezTo>
                  <a:pt x="82550" y="165544"/>
                  <a:pt x="134073" y="168605"/>
                  <a:pt x="176187" y="174104"/>
                </a:cubicBezTo>
                <a:cubicBezTo>
                  <a:pt x="171488" y="185064"/>
                  <a:pt x="168122" y="196697"/>
                  <a:pt x="166458" y="208813"/>
                </a:cubicBezTo>
                <a:cubicBezTo>
                  <a:pt x="159232" y="261238"/>
                  <a:pt x="181483" y="312610"/>
                  <a:pt x="224536" y="342887"/>
                </a:cubicBezTo>
                <a:cubicBezTo>
                  <a:pt x="235038" y="350253"/>
                  <a:pt x="241300" y="362026"/>
                  <a:pt x="241300" y="374345"/>
                </a:cubicBezTo>
                <a:lnTo>
                  <a:pt x="241300" y="381000"/>
                </a:lnTo>
                <a:lnTo>
                  <a:pt x="228600" y="381000"/>
                </a:lnTo>
                <a:cubicBezTo>
                  <a:pt x="221576" y="381000"/>
                  <a:pt x="215900" y="386676"/>
                  <a:pt x="215900" y="393700"/>
                </a:cubicBezTo>
                <a:cubicBezTo>
                  <a:pt x="215900" y="400710"/>
                  <a:pt x="221576" y="406400"/>
                  <a:pt x="228600" y="406400"/>
                </a:cubicBezTo>
                <a:lnTo>
                  <a:pt x="381000" y="406400"/>
                </a:lnTo>
                <a:cubicBezTo>
                  <a:pt x="388010" y="406400"/>
                  <a:pt x="393700" y="400710"/>
                  <a:pt x="393700" y="393700"/>
                </a:cubicBezTo>
                <a:cubicBezTo>
                  <a:pt x="393700" y="386676"/>
                  <a:pt x="388010" y="381000"/>
                  <a:pt x="381000" y="381000"/>
                </a:cubicBezTo>
                <a:lnTo>
                  <a:pt x="368300" y="381000"/>
                </a:lnTo>
                <a:lnTo>
                  <a:pt x="368300" y="374383"/>
                </a:lnTo>
                <a:cubicBezTo>
                  <a:pt x="368300" y="362089"/>
                  <a:pt x="374700" y="350215"/>
                  <a:pt x="385419" y="342620"/>
                </a:cubicBezTo>
                <a:cubicBezTo>
                  <a:pt x="422414" y="316445"/>
                  <a:pt x="444500" y="273812"/>
                  <a:pt x="444500" y="228600"/>
                </a:cubicBezTo>
                <a:cubicBezTo>
                  <a:pt x="444500" y="209676"/>
                  <a:pt x="440537" y="191185"/>
                  <a:pt x="433285" y="174129"/>
                </a:cubicBezTo>
                <a:cubicBezTo>
                  <a:pt x="475424" y="168617"/>
                  <a:pt x="526986" y="165544"/>
                  <a:pt x="584200" y="165150"/>
                </a:cubicBezTo>
                <a:close/>
                <a:moveTo>
                  <a:pt x="262674" y="240639"/>
                </a:moveTo>
                <a:cubicBezTo>
                  <a:pt x="269341" y="242887"/>
                  <a:pt x="276529" y="239268"/>
                  <a:pt x="278739" y="232613"/>
                </a:cubicBezTo>
                <a:cubicBezTo>
                  <a:pt x="283629" y="217944"/>
                  <a:pt x="295401" y="212725"/>
                  <a:pt x="304800" y="212725"/>
                </a:cubicBezTo>
                <a:cubicBezTo>
                  <a:pt x="314185" y="212725"/>
                  <a:pt x="325958" y="217944"/>
                  <a:pt x="330847" y="232613"/>
                </a:cubicBezTo>
                <a:cubicBezTo>
                  <a:pt x="332625" y="237934"/>
                  <a:pt x="337578" y="241300"/>
                  <a:pt x="342900" y="241300"/>
                </a:cubicBezTo>
                <a:cubicBezTo>
                  <a:pt x="344220" y="241300"/>
                  <a:pt x="345579" y="241084"/>
                  <a:pt x="346913" y="240639"/>
                </a:cubicBezTo>
                <a:cubicBezTo>
                  <a:pt x="353568" y="238429"/>
                  <a:pt x="357162" y="231241"/>
                  <a:pt x="354939" y="224574"/>
                </a:cubicBezTo>
                <a:cubicBezTo>
                  <a:pt x="347395" y="201942"/>
                  <a:pt x="327710" y="187325"/>
                  <a:pt x="304800" y="187325"/>
                </a:cubicBezTo>
                <a:cubicBezTo>
                  <a:pt x="281876" y="187325"/>
                  <a:pt x="262191" y="201942"/>
                  <a:pt x="254647" y="224574"/>
                </a:cubicBezTo>
                <a:cubicBezTo>
                  <a:pt x="252425" y="231241"/>
                  <a:pt x="256019" y="238429"/>
                  <a:pt x="262674" y="240639"/>
                </a:cubicBezTo>
                <a:close/>
                <a:moveTo>
                  <a:pt x="355600" y="419100"/>
                </a:moveTo>
                <a:lnTo>
                  <a:pt x="254000" y="419100"/>
                </a:lnTo>
                <a:cubicBezTo>
                  <a:pt x="246976" y="419100"/>
                  <a:pt x="241300" y="424776"/>
                  <a:pt x="241300" y="431800"/>
                </a:cubicBezTo>
                <a:cubicBezTo>
                  <a:pt x="241300" y="438810"/>
                  <a:pt x="246976" y="444500"/>
                  <a:pt x="254000" y="444500"/>
                </a:cubicBezTo>
                <a:lnTo>
                  <a:pt x="355600" y="444500"/>
                </a:lnTo>
                <a:cubicBezTo>
                  <a:pt x="362610" y="444500"/>
                  <a:pt x="368300" y="438810"/>
                  <a:pt x="368300" y="431800"/>
                </a:cubicBezTo>
                <a:cubicBezTo>
                  <a:pt x="368300" y="424776"/>
                  <a:pt x="362610" y="419100"/>
                  <a:pt x="355600" y="419100"/>
                </a:cubicBezTo>
                <a:close/>
              </a:path>
            </a:pathLst>
          </a:custGeom>
          <a:solidFill>
            <a:schemeClr val="accent3"/>
          </a:solidFill>
          <a:ln w="12700" cap="flat" cmpd="sng">
            <a:noFill/>
            <a:prstDash val="solid"/>
            <a:miter lim="800000"/>
          </a:ln>
        </p:spPr>
        <p:txBody>
          <a:bodyPr wrap="square" anchor="ctr">
            <a:spAutoFit/>
          </a:bodyPr>
          <a:lstStyle/>
          <a:p>
            <a:pPr algn="ctr"/>
            <a:endParaRPr lang="en-GB" sz="108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D08F4B-69FC-D8D5-47E8-85B2D39E552C}"/>
              </a:ext>
            </a:extLst>
          </p:cNvPr>
          <p:cNvSpPr txBox="1"/>
          <p:nvPr/>
        </p:nvSpPr>
        <p:spPr>
          <a:xfrm>
            <a:off x="1340820" y="2608171"/>
            <a:ext cx="218390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Strategic appraisal too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7175DFC-6044-B832-84C5-3372C753C181}"/>
              </a:ext>
            </a:extLst>
          </p:cNvPr>
          <p:cNvSpPr txBox="1"/>
          <p:nvPr/>
        </p:nvSpPr>
        <p:spPr>
          <a:xfrm>
            <a:off x="6897109" y="2608171"/>
            <a:ext cx="29263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/>
              <a:t>Climate x health playbook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CDBF148-CFAF-212D-E006-68079E424CEA}"/>
              </a:ext>
            </a:extLst>
          </p:cNvPr>
          <p:cNvSpPr/>
          <p:nvPr/>
        </p:nvSpPr>
        <p:spPr>
          <a:xfrm>
            <a:off x="978421" y="2566935"/>
            <a:ext cx="287128" cy="2793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cs typeface="Arial" panose="020B0604020202020204" pitchFamily="34" charset="0"/>
              </a:rPr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F4C653D-AFA7-6533-B795-400B6A8F7018}"/>
              </a:ext>
            </a:extLst>
          </p:cNvPr>
          <p:cNvSpPr/>
          <p:nvPr/>
        </p:nvSpPr>
        <p:spPr>
          <a:xfrm>
            <a:off x="6514727" y="2566935"/>
            <a:ext cx="287128" cy="279366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cs typeface="Arial" panose="020B0604020202020204" pitchFamily="34" charset="0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B6E30E1-5859-695B-7935-08BC5B5AB1A6}"/>
              </a:ext>
            </a:extLst>
          </p:cNvPr>
          <p:cNvSpPr txBox="1"/>
          <p:nvPr/>
        </p:nvSpPr>
        <p:spPr>
          <a:xfrm>
            <a:off x="978420" y="3078956"/>
            <a:ext cx="4099945" cy="2323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Raise awareness </a:t>
            </a:r>
            <a:r>
              <a:rPr lang="en-US" sz="1400"/>
              <a:t>around climate-related health risks by quantifying the impacts of inaction</a:t>
            </a:r>
          </a:p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Understand the potential health benefits </a:t>
            </a:r>
            <a:r>
              <a:rPr lang="en-US" sz="1400"/>
              <a:t>of different types of interventions across scenarios</a:t>
            </a:r>
          </a:p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Build a business case for implementing interventions </a:t>
            </a:r>
            <a:r>
              <a:rPr lang="en-US" sz="1400"/>
              <a:t>that benefit the health of urban populations in a changing climate</a:t>
            </a:r>
            <a:endParaRPr lang="en-GB" sz="14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CD54BC-49A4-C771-CFE2-9B2DC37EAC08}"/>
              </a:ext>
            </a:extLst>
          </p:cNvPr>
          <p:cNvSpPr txBox="1"/>
          <p:nvPr/>
        </p:nvSpPr>
        <p:spPr>
          <a:xfrm>
            <a:off x="6514727" y="3078956"/>
            <a:ext cx="4099945" cy="273151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GB" sz="1400" b="1"/>
              <a:t>Integrate health into broader resilience planning </a:t>
            </a:r>
            <a:r>
              <a:rPr lang="en-GB" sz="1400"/>
              <a:t>based on health-specific guidance</a:t>
            </a:r>
            <a:r>
              <a:rPr lang="en-GB" sz="1400" baseline="30000"/>
              <a:t>1</a:t>
            </a:r>
            <a:endParaRPr lang="en-GB" sz="1400"/>
          </a:p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GB" sz="1400" b="1"/>
              <a:t>Make a compelling case for action, </a:t>
            </a:r>
            <a:r>
              <a:rPr lang="en-GB" sz="1400"/>
              <a:t>addressed to various audiences based on storytelling guidance </a:t>
            </a:r>
            <a:endParaRPr lang="en-GB" sz="1400">
              <a:ea typeface="Inter"/>
            </a:endParaRPr>
          </a:p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GB" sz="1400" b="1"/>
              <a:t>Draw inspiration from climate x health action in other cities</a:t>
            </a:r>
            <a:r>
              <a:rPr lang="en-GB" sz="1400"/>
              <a:t>, based on case studies</a:t>
            </a:r>
            <a:endParaRPr lang="en-GB" sz="1400">
              <a:ea typeface="Inter"/>
            </a:endParaRPr>
          </a:p>
          <a:p>
            <a:pPr marL="285750" indent="-285750" algn="l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GB" sz="1400" b="1"/>
              <a:t>Identify most relevant resources for your context </a:t>
            </a:r>
            <a:r>
              <a:rPr lang="en-GB" sz="1400"/>
              <a:t>from the climate x health evidence base</a:t>
            </a:r>
            <a:endParaRPr lang="en-GB" sz="1400">
              <a:ea typeface="Inter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93F8B20A-503D-F33C-6F32-8B5BABA78806}"/>
              </a:ext>
            </a:extLst>
          </p:cNvPr>
          <p:cNvSpPr txBox="1">
            <a:spLocks/>
          </p:cNvSpPr>
          <p:nvPr/>
        </p:nvSpPr>
        <p:spPr>
          <a:xfrm>
            <a:off x="556677" y="1528399"/>
            <a:ext cx="11183936" cy="2846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Oscine Trial" panose="020B0506040202020204" pitchFamily="34" charset="0"/>
                <a:ea typeface="+mj-ea"/>
                <a:cs typeface="Oscine Trial" panose="020B0506040202020204" pitchFamily="34" charset="0"/>
              </a:defRPr>
            </a:lvl1pPr>
          </a:lstStyle>
          <a:p>
            <a:r>
              <a:rPr lang="en-US" sz="1600" b="0">
                <a:latin typeface="+mn-lt"/>
              </a:rPr>
              <a:t>Proposed use cases to design for in the generalised tool</a:t>
            </a:r>
          </a:p>
        </p:txBody>
      </p:sp>
      <p:sp>
        <p:nvSpPr>
          <p:cNvPr id="39" name="2.Footnote">
            <a:extLst>
              <a:ext uri="{FF2B5EF4-FFF2-40B4-BE49-F238E27FC236}">
                <a16:creationId xmlns:a16="http://schemas.microsoft.com/office/drawing/2014/main" id="{57F5A6DE-0FFC-73A9-E602-614DB71CF78C}"/>
              </a:ext>
            </a:extLst>
          </p:cNvPr>
          <p:cNvSpPr txBox="1"/>
          <p:nvPr/>
        </p:nvSpPr>
        <p:spPr>
          <a:xfrm>
            <a:off x="688617" y="6526196"/>
            <a:ext cx="1075887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/>
              <a:t>1. Following the steps in the planning process e.g., on identifying entry points for action, assessing climate x health risks in a data-constrained environment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549404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8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EXPORT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I Template 16-9">
  <a:themeElements>
    <a:clrScheme name="Resilient Cities, Reimagining Health">
      <a:dk1>
        <a:srgbClr val="000000"/>
      </a:dk1>
      <a:lt1>
        <a:srgbClr val="FFFFFF"/>
      </a:lt1>
      <a:dk2>
        <a:srgbClr val="00227D"/>
      </a:dk2>
      <a:lt2>
        <a:srgbClr val="FFFFFF"/>
      </a:lt2>
      <a:accent1>
        <a:srgbClr val="00227D"/>
      </a:accent1>
      <a:accent2>
        <a:srgbClr val="630BA8"/>
      </a:accent2>
      <a:accent3>
        <a:srgbClr val="F15D3E"/>
      </a:accent3>
      <a:accent4>
        <a:srgbClr val="68D8A0"/>
      </a:accent4>
      <a:accent5>
        <a:srgbClr val="0093CC"/>
      </a:accent5>
      <a:accent6>
        <a:srgbClr val="D87B16"/>
      </a:accent6>
      <a:hlink>
        <a:srgbClr val="F05D3D"/>
      </a:hlink>
      <a:folHlink>
        <a:srgbClr val="620AA7"/>
      </a:folHlink>
    </a:clrScheme>
    <a:fontScheme name="RCRH">
      <a:majorFont>
        <a:latin typeface="Oscine Trial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Royal Blue">
      <a:srgbClr val="052379"/>
    </a:custClr>
    <a:custClr name="Midnight Blue">
      <a:srgbClr val="041732"/>
    </a:custClr>
    <a:custClr name="Sky Blue">
      <a:srgbClr val="0A97D9"/>
    </a:custClr>
    <a:custClr name="Bright Blue">
      <a:srgbClr val="26BDE2"/>
    </a:custClr>
    <a:custClr name="Kelly Green">
      <a:srgbClr val="4C9F38"/>
    </a:custClr>
    <a:custClr name="Lime Green">
      <a:srgbClr val="56C02B"/>
    </a:custClr>
    <a:custClr name="Dark Red">
      <a:srgbClr val="C5192D"/>
    </a:custClr>
    <a:custClr name="Magenta">
      <a:srgbClr val="DD1367"/>
    </a:custClr>
    <a:custClr name="Red Orange">
      <a:srgbClr val="FF3A21"/>
    </a:custClr>
    <a:custClr name=" Orange">
      <a:srgbClr val="FD6925"/>
    </a:custClr>
  </a:custClrLst>
  <a:extLst>
    <a:ext uri="{05A4C25C-085E-4340-85A3-A5531E510DB2}">
      <thm15:themeFamily xmlns:thm15="http://schemas.microsoft.com/office/thememl/2012/main" name="ResilientCitiesReimaginingHealth_TEMPLATE" id="{89735CC8-4400-4D36-9EB8-5E0F41C49185}" vid="{336ADA89-7CAF-4DE4-B22A-C221490DAF8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AEF46E36C26D4CA86E1DCCF475EED4" ma:contentTypeVersion="11" ma:contentTypeDescription="Create a new document." ma:contentTypeScope="" ma:versionID="4406d236782b5df9a9f99501e0ebcb23">
  <xsd:schema xmlns:xsd="http://www.w3.org/2001/XMLSchema" xmlns:xs="http://www.w3.org/2001/XMLSchema" xmlns:p="http://schemas.microsoft.com/office/2006/metadata/properties" xmlns:ns2="b757a113-5ff5-42a5-a1f5-1375b9f51e95" xmlns:ns3="a7e4cc0e-93b8-41e3-a7eb-806ad0f54efe" targetNamespace="http://schemas.microsoft.com/office/2006/metadata/properties" ma:root="true" ma:fieldsID="36513230011ee826b7c976add48f6131" ns2:_="" ns3:_="">
    <xsd:import namespace="b757a113-5ff5-42a5-a1f5-1375b9f51e95"/>
    <xsd:import namespace="a7e4cc0e-93b8-41e3-a7eb-806ad0f54e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57a113-5ff5-42a5-a1f5-1375b9f51e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6c02cdab-a20a-4b2b-96c7-fec703751d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4cc0e-93b8-41e3-a7eb-806ad0f54efe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03c92bba-363c-40c0-be11-838fdae0d668}" ma:internalName="TaxCatchAll" ma:showField="CatchAllData" ma:web="a7e4cc0e-93b8-41e3-a7eb-806ad0f54ef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7e4cc0e-93b8-41e3-a7eb-806ad0f54efe" xsi:nil="true"/>
    <lcf76f155ced4ddcb4097134ff3c332f xmlns="b757a113-5ff5-42a5-a1f5-1375b9f51e9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9F21FD-E0AC-4C68-A2DF-EC5478420CDF}">
  <ds:schemaRefs>
    <ds:schemaRef ds:uri="a7e4cc0e-93b8-41e3-a7eb-806ad0f54efe"/>
    <ds:schemaRef ds:uri="b757a113-5ff5-42a5-a1f5-1375b9f51e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8722CA0-BAD9-4337-955B-646F25CAAA0C}">
  <ds:schemaRefs>
    <ds:schemaRef ds:uri="a7e4cc0e-93b8-41e3-a7eb-806ad0f54efe"/>
    <ds:schemaRef ds:uri="b757a113-5ff5-42a5-a1f5-1375b9f51e9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85DDDEC-CAD6-4D90-881D-8F618A25D1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</TotalTime>
  <Words>708</Words>
  <Application>Microsoft Office PowerPoint</Application>
  <PresentationFormat>Widescreen</PresentationFormat>
  <Paragraphs>88</Paragraphs>
  <Slides>6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SMI Template 16-9</vt:lpstr>
      <vt:lpstr>Resilient Cities, Reimagining Health</vt:lpstr>
      <vt:lpstr>PowerPoint Presentation</vt:lpstr>
      <vt:lpstr>The programme has three workstreams</vt:lpstr>
      <vt:lpstr>We engaged two cities to build fit-for-purpose tools, and will continue this in 2026</vt:lpstr>
      <vt:lpstr>After a pilot phase of building city-specific tools, we are now designing widely usable decision-support tools</vt:lpstr>
      <vt:lpstr>The tools serve several use cases in urban decision-mak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 Soro</dc:creator>
  <cp:lastModifiedBy>Nelli Vanninen</cp:lastModifiedBy>
  <cp:revision>3</cp:revision>
  <dcterms:created xsi:type="dcterms:W3CDTF">2025-09-21T18:59:56Z</dcterms:created>
  <dcterms:modified xsi:type="dcterms:W3CDTF">2026-03-27T16:4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dbe1af3-6323-4f56-9271-8eead9599d8b_Enabled">
    <vt:lpwstr>true</vt:lpwstr>
  </property>
  <property fmtid="{D5CDD505-2E9C-101B-9397-08002B2CF9AE}" pid="3" name="MSIP_Label_0dbe1af3-6323-4f56-9271-8eead9599d8b_SetDate">
    <vt:lpwstr>2025-09-21T19:00:25Z</vt:lpwstr>
  </property>
  <property fmtid="{D5CDD505-2E9C-101B-9397-08002B2CF9AE}" pid="4" name="MSIP_Label_0dbe1af3-6323-4f56-9271-8eead9599d8b_Method">
    <vt:lpwstr>Privileged</vt:lpwstr>
  </property>
  <property fmtid="{D5CDD505-2E9C-101B-9397-08002B2CF9AE}" pid="5" name="MSIP_Label_0dbe1af3-6323-4f56-9271-8eead9599d8b_Name">
    <vt:lpwstr>Business Use Only</vt:lpwstr>
  </property>
  <property fmtid="{D5CDD505-2E9C-101B-9397-08002B2CF9AE}" pid="6" name="MSIP_Label_0dbe1af3-6323-4f56-9271-8eead9599d8b_SiteId">
    <vt:lpwstr>02af5f5e-dd71-4056-8090-3e7b436a65db</vt:lpwstr>
  </property>
  <property fmtid="{D5CDD505-2E9C-101B-9397-08002B2CF9AE}" pid="7" name="MSIP_Label_0dbe1af3-6323-4f56-9271-8eead9599d8b_ActionId">
    <vt:lpwstr>3ac04fc6-27ae-4761-8061-75e839e463d5</vt:lpwstr>
  </property>
  <property fmtid="{D5CDD505-2E9C-101B-9397-08002B2CF9AE}" pid="8" name="MSIP_Label_0dbe1af3-6323-4f56-9271-8eead9599d8b_ContentBits">
    <vt:lpwstr>0</vt:lpwstr>
  </property>
  <property fmtid="{D5CDD505-2E9C-101B-9397-08002B2CF9AE}" pid="9" name="MSIP_Label_0dbe1af3-6323-4f56-9271-8eead9599d8b_Tag">
    <vt:lpwstr>10, 0, 1, 1</vt:lpwstr>
  </property>
  <property fmtid="{D5CDD505-2E9C-101B-9397-08002B2CF9AE}" pid="10" name="ContentTypeId">
    <vt:lpwstr>0x01010031AEF46E36C26D4CA86E1DCCF475EED4</vt:lpwstr>
  </property>
  <property fmtid="{D5CDD505-2E9C-101B-9397-08002B2CF9AE}" pid="11" name="MediaServiceImageTags">
    <vt:lpwstr/>
  </property>
</Properties>
</file>